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8" r:id="rId5"/>
    <p:sldMasterId id="2147483735" r:id="rId6"/>
    <p:sldMasterId id="2147483773" r:id="rId7"/>
  </p:sldMasterIdLst>
  <p:notesMasterIdLst>
    <p:notesMasterId r:id="rId23"/>
  </p:notesMasterIdLst>
  <p:sldIdLst>
    <p:sldId id="2147483624" r:id="rId8"/>
    <p:sldId id="2147483625" r:id="rId9"/>
    <p:sldId id="2147483632" r:id="rId10"/>
    <p:sldId id="2147483633" r:id="rId11"/>
    <p:sldId id="2147483645" r:id="rId12"/>
    <p:sldId id="2147483635" r:id="rId13"/>
    <p:sldId id="2147483636" r:id="rId14"/>
    <p:sldId id="2147483626" r:id="rId15"/>
    <p:sldId id="2147483637" r:id="rId16"/>
    <p:sldId id="2147483628" r:id="rId17"/>
    <p:sldId id="2147483638" r:id="rId18"/>
    <p:sldId id="2147483639" r:id="rId19"/>
    <p:sldId id="2147483640" r:id="rId20"/>
    <p:sldId id="2147483643" r:id="rId21"/>
    <p:sldId id="214748364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185FCA0-6F7A-49AE-ADF3-0928E6FA77EF}">
          <p14:sldIdLst>
            <p14:sldId id="2147483624"/>
            <p14:sldId id="2147483625"/>
            <p14:sldId id="2147483632"/>
            <p14:sldId id="2147483633"/>
            <p14:sldId id="2147483645"/>
            <p14:sldId id="2147483635"/>
            <p14:sldId id="2147483636"/>
            <p14:sldId id="2147483626"/>
            <p14:sldId id="2147483637"/>
            <p14:sldId id="2147483628"/>
            <p14:sldId id="2147483638"/>
            <p14:sldId id="2147483639"/>
            <p14:sldId id="2147483640"/>
            <p14:sldId id="2147483643"/>
            <p14:sldId id="2147483642"/>
          </p14:sldIdLst>
        </p14:section>
        <p14:section name="Backup" id="{CE0D637F-2AF0-4C78-8F73-68CACCC69D7F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3E748C-6E5F-4A60-9DE6-9F3221512F4E}" name="Max Borgmann" initials="MB" userId="S::maximilian.borgmann@vertexinc.com::4a4fc073-f7b7-4223-98f4-065ed40f2eb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DBB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3EE3A3-D65C-F3C1-F0E1-940F3A56CDA3}" v="19" dt="2025-08-27T08:48:45.783"/>
    <p1510:client id="{5C003EC4-9ADB-97B8-74B8-AD351FD152D6}" v="7" dt="2025-08-27T06:58:06.271"/>
    <p1510:client id="{65A9256F-29D0-E6E5-0478-596C5DCA9AA6}" v="8" dt="2025-08-26T14:16:39.534"/>
    <p1510:client id="{6F6E9917-71EC-4523-9C3C-05032AB7B458}" v="466" dt="2025-08-27T09:31:11.195"/>
    <p1510:client id="{79743B06-5C5A-2180-BCD0-802CE4B41652}" v="147" dt="2025-08-27T10:00:14.382"/>
    <p1510:client id="{9F66EF1A-DF32-6380-BD86-5D57488CA122}" v="8" dt="2025-08-27T10:09:33.809"/>
    <p1510:client id="{F4274E3A-EB7C-423A-826E-A2ED1F57E95D}" v="52" dt="2025-08-26T09:52:37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 Pauli" userId="610ac62b-222a-4de8-b70c-7dd89aaf92e2" providerId="ADAL" clId="{6F6E9917-71EC-4523-9C3C-05032AB7B458}"/>
    <pc:docChg chg="undo custSel addSld delSld modSld sldOrd modSection">
      <pc:chgData name="Julian Pauli" userId="610ac62b-222a-4de8-b70c-7dd89aaf92e2" providerId="ADAL" clId="{6F6E9917-71EC-4523-9C3C-05032AB7B458}" dt="2025-08-27T09:31:11.197" v="576" actId="1035"/>
      <pc:docMkLst>
        <pc:docMk/>
      </pc:docMkLst>
      <pc:sldChg chg="modSp mod">
        <pc:chgData name="Julian Pauli" userId="610ac62b-222a-4de8-b70c-7dd89aaf92e2" providerId="ADAL" clId="{6F6E9917-71EC-4523-9C3C-05032AB7B458}" dt="2025-08-27T09:01:08.871" v="507" actId="20577"/>
        <pc:sldMkLst>
          <pc:docMk/>
          <pc:sldMk cId="1673991097" sldId="2147483624"/>
        </pc:sldMkLst>
        <pc:spChg chg="mod">
          <ac:chgData name="Julian Pauli" userId="610ac62b-222a-4de8-b70c-7dd89aaf92e2" providerId="ADAL" clId="{6F6E9917-71EC-4523-9C3C-05032AB7B458}" dt="2025-08-27T09:01:08.871" v="507" actId="20577"/>
          <ac:spMkLst>
            <pc:docMk/>
            <pc:sldMk cId="1673991097" sldId="2147483624"/>
            <ac:spMk id="3" creationId="{372CC323-9261-00E6-D7B4-DF172DCE0039}"/>
          </ac:spMkLst>
        </pc:spChg>
      </pc:sldChg>
      <pc:sldChg chg="modSp">
        <pc:chgData name="Julian Pauli" userId="610ac62b-222a-4de8-b70c-7dd89aaf92e2" providerId="ADAL" clId="{6F6E9917-71EC-4523-9C3C-05032AB7B458}" dt="2025-08-27T09:08:55.785" v="522" actId="20577"/>
        <pc:sldMkLst>
          <pc:docMk/>
          <pc:sldMk cId="2909774690" sldId="2147483625"/>
        </pc:sldMkLst>
        <pc:graphicFrameChg chg="mod">
          <ac:chgData name="Julian Pauli" userId="610ac62b-222a-4de8-b70c-7dd89aaf92e2" providerId="ADAL" clId="{6F6E9917-71EC-4523-9C3C-05032AB7B458}" dt="2025-08-27T09:08:55.785" v="522" actId="20577"/>
          <ac:graphicFrameMkLst>
            <pc:docMk/>
            <pc:sldMk cId="2909774690" sldId="2147483625"/>
            <ac:graphicFrameMk id="6" creationId="{4587100C-5076-E9C0-57FE-570ACA452B5D}"/>
          </ac:graphicFrameMkLst>
        </pc:graphicFrameChg>
      </pc:sldChg>
      <pc:sldChg chg="modSp mod modAnim">
        <pc:chgData name="Julian Pauli" userId="610ac62b-222a-4de8-b70c-7dd89aaf92e2" providerId="ADAL" clId="{6F6E9917-71EC-4523-9C3C-05032AB7B458}" dt="2025-08-27T09:15:12.171" v="542"/>
        <pc:sldMkLst>
          <pc:docMk/>
          <pc:sldMk cId="1490212131" sldId="2147483628"/>
        </pc:sldMkLst>
        <pc:spChg chg="mod">
          <ac:chgData name="Julian Pauli" userId="610ac62b-222a-4de8-b70c-7dd89aaf92e2" providerId="ADAL" clId="{6F6E9917-71EC-4523-9C3C-05032AB7B458}" dt="2025-08-27T07:02:19.663" v="140" actId="5793"/>
          <ac:spMkLst>
            <pc:docMk/>
            <pc:sldMk cId="1490212131" sldId="2147483628"/>
            <ac:spMk id="13" creationId="{AACA0CC7-7036-0BD8-818F-C6D5644D3420}"/>
          </ac:spMkLst>
        </pc:spChg>
      </pc:sldChg>
      <pc:sldChg chg="modSp mod">
        <pc:chgData name="Julian Pauli" userId="610ac62b-222a-4de8-b70c-7dd89aaf92e2" providerId="ADAL" clId="{6F6E9917-71EC-4523-9C3C-05032AB7B458}" dt="2025-08-27T08:50:21.771" v="450" actId="20577"/>
        <pc:sldMkLst>
          <pc:docMk/>
          <pc:sldMk cId="3322865270" sldId="2147483632"/>
        </pc:sldMkLst>
        <pc:spChg chg="mod">
          <ac:chgData name="Julian Pauli" userId="610ac62b-222a-4de8-b70c-7dd89aaf92e2" providerId="ADAL" clId="{6F6E9917-71EC-4523-9C3C-05032AB7B458}" dt="2025-08-27T08:50:21.771" v="450" actId="20577"/>
          <ac:spMkLst>
            <pc:docMk/>
            <pc:sldMk cId="3322865270" sldId="2147483632"/>
            <ac:spMk id="13" creationId="{268A0C15-C165-5588-9524-9528C1EBE761}"/>
          </ac:spMkLst>
        </pc:spChg>
      </pc:sldChg>
      <pc:sldChg chg="modSp mod modAnim">
        <pc:chgData name="Julian Pauli" userId="610ac62b-222a-4de8-b70c-7dd89aaf92e2" providerId="ADAL" clId="{6F6E9917-71EC-4523-9C3C-05032AB7B458}" dt="2025-08-27T09:02:09.039" v="511" actId="20577"/>
        <pc:sldMkLst>
          <pc:docMk/>
          <pc:sldMk cId="1601740068" sldId="2147483633"/>
        </pc:sldMkLst>
        <pc:spChg chg="mod">
          <ac:chgData name="Julian Pauli" userId="610ac62b-222a-4de8-b70c-7dd89aaf92e2" providerId="ADAL" clId="{6F6E9917-71EC-4523-9C3C-05032AB7B458}" dt="2025-08-27T08:50:17.211" v="449" actId="20577"/>
          <ac:spMkLst>
            <pc:docMk/>
            <pc:sldMk cId="1601740068" sldId="2147483633"/>
            <ac:spMk id="2" creationId="{9AC9D159-1B75-CE5A-FBA9-E8BB8DAA2149}"/>
          </ac:spMkLst>
        </pc:spChg>
        <pc:spChg chg="mod">
          <ac:chgData name="Julian Pauli" userId="610ac62b-222a-4de8-b70c-7dd89aaf92e2" providerId="ADAL" clId="{6F6E9917-71EC-4523-9C3C-05032AB7B458}" dt="2025-08-25T11:02:10.536" v="27" actId="14100"/>
          <ac:spMkLst>
            <pc:docMk/>
            <pc:sldMk cId="1601740068" sldId="2147483633"/>
            <ac:spMk id="12" creationId="{F43AC6DC-70C8-1D09-2BA9-08F5329A212E}"/>
          </ac:spMkLst>
        </pc:spChg>
        <pc:spChg chg="mod">
          <ac:chgData name="Julian Pauli" userId="610ac62b-222a-4de8-b70c-7dd89aaf92e2" providerId="ADAL" clId="{6F6E9917-71EC-4523-9C3C-05032AB7B458}" dt="2025-08-25T11:02:10.536" v="27" actId="14100"/>
          <ac:spMkLst>
            <pc:docMk/>
            <pc:sldMk cId="1601740068" sldId="2147483633"/>
            <ac:spMk id="15" creationId="{B3F291A0-41F6-B032-E181-B0D899D8B197}"/>
          </ac:spMkLst>
        </pc:spChg>
        <pc:spChg chg="mod">
          <ac:chgData name="Julian Pauli" userId="610ac62b-222a-4de8-b70c-7dd89aaf92e2" providerId="ADAL" clId="{6F6E9917-71EC-4523-9C3C-05032AB7B458}" dt="2025-08-27T09:02:09.039" v="511" actId="20577"/>
          <ac:spMkLst>
            <pc:docMk/>
            <pc:sldMk cId="1601740068" sldId="2147483633"/>
            <ac:spMk id="18" creationId="{7BC727C9-543C-6DCC-1204-17AB3DFB2CD5}"/>
          </ac:spMkLst>
        </pc:spChg>
        <pc:picChg chg="mod">
          <ac:chgData name="Julian Pauli" userId="610ac62b-222a-4de8-b70c-7dd89aaf92e2" providerId="ADAL" clId="{6F6E9917-71EC-4523-9C3C-05032AB7B458}" dt="2025-08-25T10:57:49.766" v="1" actId="14100"/>
          <ac:picMkLst>
            <pc:docMk/>
            <pc:sldMk cId="1601740068" sldId="2147483633"/>
            <ac:picMk id="5" creationId="{4120578E-A2A3-FF74-D2EE-70322AD80FA3}"/>
          </ac:picMkLst>
        </pc:picChg>
      </pc:sldChg>
      <pc:sldChg chg="add">
        <pc:chgData name="Julian Pauli" userId="610ac62b-222a-4de8-b70c-7dd89aaf92e2" providerId="ADAL" clId="{6F6E9917-71EC-4523-9C3C-05032AB7B458}" dt="2025-08-27T07:43:21.711" v="230"/>
        <pc:sldMkLst>
          <pc:docMk/>
          <pc:sldMk cId="252661881" sldId="2147483634"/>
        </pc:sldMkLst>
      </pc:sldChg>
      <pc:sldChg chg="del">
        <pc:chgData name="Julian Pauli" userId="610ac62b-222a-4de8-b70c-7dd89aaf92e2" providerId="ADAL" clId="{6F6E9917-71EC-4523-9C3C-05032AB7B458}" dt="2025-08-27T07:43:17.736" v="229" actId="2696"/>
        <pc:sldMkLst>
          <pc:docMk/>
          <pc:sldMk cId="1609923985" sldId="2147483634"/>
        </pc:sldMkLst>
      </pc:sldChg>
      <pc:sldChg chg="modSp mod modAnim">
        <pc:chgData name="Julian Pauli" userId="610ac62b-222a-4de8-b70c-7dd89aaf92e2" providerId="ADAL" clId="{6F6E9917-71EC-4523-9C3C-05032AB7B458}" dt="2025-08-27T09:02:28.936" v="515" actId="6549"/>
        <pc:sldMkLst>
          <pc:docMk/>
          <pc:sldMk cId="2989395584" sldId="2147483635"/>
        </pc:sldMkLst>
        <pc:spChg chg="mod">
          <ac:chgData name="Julian Pauli" userId="610ac62b-222a-4de8-b70c-7dd89aaf92e2" providerId="ADAL" clId="{6F6E9917-71EC-4523-9C3C-05032AB7B458}" dt="2025-08-27T09:02:28.936" v="515" actId="6549"/>
          <ac:spMkLst>
            <pc:docMk/>
            <pc:sldMk cId="2989395584" sldId="2147483635"/>
            <ac:spMk id="2" creationId="{A9A00EA5-1478-1716-5DC4-E85F6A247A4D}"/>
          </ac:spMkLst>
        </pc:spChg>
        <pc:spChg chg="mod">
          <ac:chgData name="Julian Pauli" userId="610ac62b-222a-4de8-b70c-7dd89aaf92e2" providerId="ADAL" clId="{6F6E9917-71EC-4523-9C3C-05032AB7B458}" dt="2025-08-27T08:57:09.484" v="497" actId="20577"/>
          <ac:spMkLst>
            <pc:docMk/>
            <pc:sldMk cId="2989395584" sldId="2147483635"/>
            <ac:spMk id="5" creationId="{BB5A7E5D-447A-1026-6CB6-E60EDD3077D8}"/>
          </ac:spMkLst>
        </pc:spChg>
      </pc:sldChg>
      <pc:sldChg chg="modSp mod modAnim">
        <pc:chgData name="Julian Pauli" userId="610ac62b-222a-4de8-b70c-7dd89aaf92e2" providerId="ADAL" clId="{6F6E9917-71EC-4523-9C3C-05032AB7B458}" dt="2025-08-27T09:13:44.645" v="538" actId="20577"/>
        <pc:sldMkLst>
          <pc:docMk/>
          <pc:sldMk cId="2494034384" sldId="2147483637"/>
        </pc:sldMkLst>
        <pc:spChg chg="mod">
          <ac:chgData name="Julian Pauli" userId="610ac62b-222a-4de8-b70c-7dd89aaf92e2" providerId="ADAL" clId="{6F6E9917-71EC-4523-9C3C-05032AB7B458}" dt="2025-08-27T08:53:46.979" v="453" actId="1076"/>
          <ac:spMkLst>
            <pc:docMk/>
            <pc:sldMk cId="2494034384" sldId="2147483637"/>
            <ac:spMk id="15" creationId="{C8E0E5EB-AE1E-4566-9D57-91BCB582B029}"/>
          </ac:spMkLst>
        </pc:spChg>
        <pc:spChg chg="mod">
          <ac:chgData name="Julian Pauli" userId="610ac62b-222a-4de8-b70c-7dd89aaf92e2" providerId="ADAL" clId="{6F6E9917-71EC-4523-9C3C-05032AB7B458}" dt="2025-08-27T08:57:54.995" v="499" actId="20577"/>
          <ac:spMkLst>
            <pc:docMk/>
            <pc:sldMk cId="2494034384" sldId="2147483637"/>
            <ac:spMk id="30" creationId="{CC4E2A36-40DE-4DBE-B4FD-9601BAEE9FBF}"/>
          </ac:spMkLst>
        </pc:spChg>
        <pc:spChg chg="mod">
          <ac:chgData name="Julian Pauli" userId="610ac62b-222a-4de8-b70c-7dd89aaf92e2" providerId="ADAL" clId="{6F6E9917-71EC-4523-9C3C-05032AB7B458}" dt="2025-08-27T08:53:23.719" v="451" actId="20577"/>
          <ac:spMkLst>
            <pc:docMk/>
            <pc:sldMk cId="2494034384" sldId="2147483637"/>
            <ac:spMk id="40" creationId="{F0453FD4-3009-4CAC-9F2C-2CB320A679F3}"/>
          </ac:spMkLst>
        </pc:spChg>
        <pc:spChg chg="mod">
          <ac:chgData name="Julian Pauli" userId="610ac62b-222a-4de8-b70c-7dd89aaf92e2" providerId="ADAL" clId="{6F6E9917-71EC-4523-9C3C-05032AB7B458}" dt="2025-08-27T09:13:44.645" v="538" actId="20577"/>
          <ac:spMkLst>
            <pc:docMk/>
            <pc:sldMk cId="2494034384" sldId="2147483637"/>
            <ac:spMk id="53" creationId="{A10810EC-3A78-B947-E4B9-7AFE6FC6F845}"/>
          </ac:spMkLst>
        </pc:spChg>
      </pc:sldChg>
      <pc:sldChg chg="modSp modAnim">
        <pc:chgData name="Julian Pauli" userId="610ac62b-222a-4de8-b70c-7dd89aaf92e2" providerId="ADAL" clId="{6F6E9917-71EC-4523-9C3C-05032AB7B458}" dt="2025-08-27T09:17:16.200" v="544" actId="20577"/>
        <pc:sldMkLst>
          <pc:docMk/>
          <pc:sldMk cId="2201849974" sldId="2147483638"/>
        </pc:sldMkLst>
        <pc:spChg chg="mod">
          <ac:chgData name="Julian Pauli" userId="610ac62b-222a-4de8-b70c-7dd89aaf92e2" providerId="ADAL" clId="{6F6E9917-71EC-4523-9C3C-05032AB7B458}" dt="2025-08-27T08:54:10.511" v="459" actId="20577"/>
          <ac:spMkLst>
            <pc:docMk/>
            <pc:sldMk cId="2201849974" sldId="2147483638"/>
            <ac:spMk id="17" creationId="{C983E1A8-4CA6-C476-55EA-6A7D3F33F9B6}"/>
          </ac:spMkLst>
        </pc:spChg>
        <pc:spChg chg="mod">
          <ac:chgData name="Julian Pauli" userId="610ac62b-222a-4de8-b70c-7dd89aaf92e2" providerId="ADAL" clId="{6F6E9917-71EC-4523-9C3C-05032AB7B458}" dt="2025-08-27T08:54:15.467" v="462" actId="5793"/>
          <ac:spMkLst>
            <pc:docMk/>
            <pc:sldMk cId="2201849974" sldId="2147483638"/>
            <ac:spMk id="25" creationId="{0F17C1C4-2C33-787C-4BE5-1B63FE407688}"/>
          </ac:spMkLst>
        </pc:spChg>
        <pc:spChg chg="mod">
          <ac:chgData name="Julian Pauli" userId="610ac62b-222a-4de8-b70c-7dd89aaf92e2" providerId="ADAL" clId="{6F6E9917-71EC-4523-9C3C-05032AB7B458}" dt="2025-08-27T08:03:00.328" v="336" actId="6549"/>
          <ac:spMkLst>
            <pc:docMk/>
            <pc:sldMk cId="2201849974" sldId="2147483638"/>
            <ac:spMk id="28" creationId="{69A00E8C-C786-F831-71FA-0E3CCF47653C}"/>
          </ac:spMkLst>
        </pc:spChg>
        <pc:spChg chg="mod">
          <ac:chgData name="Julian Pauli" userId="610ac62b-222a-4de8-b70c-7dd89aaf92e2" providerId="ADAL" clId="{6F6E9917-71EC-4523-9C3C-05032AB7B458}" dt="2025-08-27T08:06:44.154" v="363" actId="20577"/>
          <ac:spMkLst>
            <pc:docMk/>
            <pc:sldMk cId="2201849974" sldId="2147483638"/>
            <ac:spMk id="29" creationId="{01F8DB31-CE45-6836-1814-E64BEB34198C}"/>
          </ac:spMkLst>
        </pc:spChg>
        <pc:spChg chg="mod">
          <ac:chgData name="Julian Pauli" userId="610ac62b-222a-4de8-b70c-7dd89aaf92e2" providerId="ADAL" clId="{6F6E9917-71EC-4523-9C3C-05032AB7B458}" dt="2025-08-27T09:17:16.200" v="544" actId="20577"/>
          <ac:spMkLst>
            <pc:docMk/>
            <pc:sldMk cId="2201849974" sldId="2147483638"/>
            <ac:spMk id="105" creationId="{ABE97FF7-DEAE-0C5A-4D21-B7877F51131A}"/>
          </ac:spMkLst>
        </pc:spChg>
      </pc:sldChg>
      <pc:sldChg chg="modSp mod modAnim">
        <pc:chgData name="Julian Pauli" userId="610ac62b-222a-4de8-b70c-7dd89aaf92e2" providerId="ADAL" clId="{6F6E9917-71EC-4523-9C3C-05032AB7B458}" dt="2025-08-27T09:03:10.094" v="517" actId="20577"/>
        <pc:sldMkLst>
          <pc:docMk/>
          <pc:sldMk cId="611153107" sldId="2147483639"/>
        </pc:sldMkLst>
        <pc:spChg chg="mod">
          <ac:chgData name="Julian Pauli" userId="610ac62b-222a-4de8-b70c-7dd89aaf92e2" providerId="ADAL" clId="{6F6E9917-71EC-4523-9C3C-05032AB7B458}" dt="2025-08-27T07:53:33.518" v="311" actId="20577"/>
          <ac:spMkLst>
            <pc:docMk/>
            <pc:sldMk cId="611153107" sldId="2147483639"/>
            <ac:spMk id="2" creationId="{24085233-0833-9DA7-2FAC-91F7F096D377}"/>
          </ac:spMkLst>
        </pc:spChg>
        <pc:spChg chg="mod">
          <ac:chgData name="Julian Pauli" userId="610ac62b-222a-4de8-b70c-7dd89aaf92e2" providerId="ADAL" clId="{6F6E9917-71EC-4523-9C3C-05032AB7B458}" dt="2025-08-27T08:55:01.577" v="467" actId="20577"/>
          <ac:spMkLst>
            <pc:docMk/>
            <pc:sldMk cId="611153107" sldId="2147483639"/>
            <ac:spMk id="6" creationId="{42B757EF-542F-7759-F21E-3FF8E80CCB41}"/>
          </ac:spMkLst>
        </pc:spChg>
        <pc:spChg chg="mod">
          <ac:chgData name="Julian Pauli" userId="610ac62b-222a-4de8-b70c-7dd89aaf92e2" providerId="ADAL" clId="{6F6E9917-71EC-4523-9C3C-05032AB7B458}" dt="2025-08-27T08:58:45.325" v="500" actId="20577"/>
          <ac:spMkLst>
            <pc:docMk/>
            <pc:sldMk cId="611153107" sldId="2147483639"/>
            <ac:spMk id="10" creationId="{4F7C27AE-0729-DAFE-8258-589F2D21C895}"/>
          </ac:spMkLst>
        </pc:spChg>
        <pc:spChg chg="mod">
          <ac:chgData name="Julian Pauli" userId="610ac62b-222a-4de8-b70c-7dd89aaf92e2" providerId="ADAL" clId="{6F6E9917-71EC-4523-9C3C-05032AB7B458}" dt="2025-08-27T07:00:11.351" v="93"/>
          <ac:spMkLst>
            <pc:docMk/>
            <pc:sldMk cId="611153107" sldId="2147483639"/>
            <ac:spMk id="11" creationId="{3E1EB6AF-F14B-D193-011F-2E47278FCD78}"/>
          </ac:spMkLst>
        </pc:spChg>
        <pc:spChg chg="mod">
          <ac:chgData name="Julian Pauli" userId="610ac62b-222a-4de8-b70c-7dd89aaf92e2" providerId="ADAL" clId="{6F6E9917-71EC-4523-9C3C-05032AB7B458}" dt="2025-08-27T09:03:10.094" v="517" actId="20577"/>
          <ac:spMkLst>
            <pc:docMk/>
            <pc:sldMk cId="611153107" sldId="2147483639"/>
            <ac:spMk id="17" creationId="{62CB507F-5449-D0C2-0725-3882FACC2386}"/>
          </ac:spMkLst>
        </pc:spChg>
      </pc:sldChg>
      <pc:sldChg chg="modSp">
        <pc:chgData name="Julian Pauli" userId="610ac62b-222a-4de8-b70c-7dd89aaf92e2" providerId="ADAL" clId="{6F6E9917-71EC-4523-9C3C-05032AB7B458}" dt="2025-08-27T08:59:44.877" v="503" actId="20577"/>
        <pc:sldMkLst>
          <pc:docMk/>
          <pc:sldMk cId="2872419003" sldId="2147483640"/>
        </pc:sldMkLst>
        <pc:spChg chg="mod">
          <ac:chgData name="Julian Pauli" userId="610ac62b-222a-4de8-b70c-7dd89aaf92e2" providerId="ADAL" clId="{6F6E9917-71EC-4523-9C3C-05032AB7B458}" dt="2025-08-27T08:59:32.688" v="502" actId="20577"/>
          <ac:spMkLst>
            <pc:docMk/>
            <pc:sldMk cId="2872419003" sldId="2147483640"/>
            <ac:spMk id="2" creationId="{903C4E10-659D-23BC-DA9D-D26AA213AAA7}"/>
          </ac:spMkLst>
        </pc:spChg>
        <pc:spChg chg="mod">
          <ac:chgData name="Julian Pauli" userId="610ac62b-222a-4de8-b70c-7dd89aaf92e2" providerId="ADAL" clId="{6F6E9917-71EC-4523-9C3C-05032AB7B458}" dt="2025-08-27T08:59:44.877" v="503" actId="20577"/>
          <ac:spMkLst>
            <pc:docMk/>
            <pc:sldMk cId="2872419003" sldId="2147483640"/>
            <ac:spMk id="17" creationId="{9433E517-24AB-0C52-564F-0E102CF9CE1D}"/>
          </ac:spMkLst>
        </pc:spChg>
        <pc:spChg chg="mod">
          <ac:chgData name="Julian Pauli" userId="610ac62b-222a-4de8-b70c-7dd89aaf92e2" providerId="ADAL" clId="{6F6E9917-71EC-4523-9C3C-05032AB7B458}" dt="2025-08-27T08:59:26.815" v="501" actId="20577"/>
          <ac:spMkLst>
            <pc:docMk/>
            <pc:sldMk cId="2872419003" sldId="2147483640"/>
            <ac:spMk id="18" creationId="{58D479BF-C9CB-15AF-689A-C7BD5EC623C0}"/>
          </ac:spMkLst>
        </pc:spChg>
      </pc:sldChg>
      <pc:sldChg chg="modSp mod ord">
        <pc:chgData name="Julian Pauli" userId="610ac62b-222a-4de8-b70c-7dd89aaf92e2" providerId="ADAL" clId="{6F6E9917-71EC-4523-9C3C-05032AB7B458}" dt="2025-08-26T12:51:15.968" v="84"/>
        <pc:sldMkLst>
          <pc:docMk/>
          <pc:sldMk cId="1785723406" sldId="2147483641"/>
        </pc:sldMkLst>
        <pc:spChg chg="mod">
          <ac:chgData name="Julian Pauli" userId="610ac62b-222a-4de8-b70c-7dd89aaf92e2" providerId="ADAL" clId="{6F6E9917-71EC-4523-9C3C-05032AB7B458}" dt="2025-08-26T08:21:19.978" v="74" actId="20577"/>
          <ac:spMkLst>
            <pc:docMk/>
            <pc:sldMk cId="1785723406" sldId="2147483641"/>
            <ac:spMk id="2" creationId="{D2D84EBB-155D-A380-247E-CFFFE567415B}"/>
          </ac:spMkLst>
        </pc:spChg>
        <pc:picChg chg="mod">
          <ac:chgData name="Julian Pauli" userId="610ac62b-222a-4de8-b70c-7dd89aaf92e2" providerId="ADAL" clId="{6F6E9917-71EC-4523-9C3C-05032AB7B458}" dt="2025-08-25T13:53:51.854" v="49" actId="1076"/>
          <ac:picMkLst>
            <pc:docMk/>
            <pc:sldMk cId="1785723406" sldId="2147483641"/>
            <ac:picMk id="21" creationId="{C673AE0B-F283-504C-F073-E0C628638107}"/>
          </ac:picMkLst>
        </pc:picChg>
      </pc:sldChg>
      <pc:sldChg chg="modSp mod">
        <pc:chgData name="Julian Pauli" userId="610ac62b-222a-4de8-b70c-7dd89aaf92e2" providerId="ADAL" clId="{6F6E9917-71EC-4523-9C3C-05032AB7B458}" dt="2025-08-27T09:20:02.642" v="556" actId="20577"/>
        <pc:sldMkLst>
          <pc:docMk/>
          <pc:sldMk cId="1287421892" sldId="2147483642"/>
        </pc:sldMkLst>
        <pc:spChg chg="mod">
          <ac:chgData name="Julian Pauli" userId="610ac62b-222a-4de8-b70c-7dd89aaf92e2" providerId="ADAL" clId="{6F6E9917-71EC-4523-9C3C-05032AB7B458}" dt="2025-08-27T09:20:02.642" v="556" actId="20577"/>
          <ac:spMkLst>
            <pc:docMk/>
            <pc:sldMk cId="1287421892" sldId="2147483642"/>
            <ac:spMk id="3" creationId="{B2F8E6F3-F196-63C6-6697-7C81D16609A7}"/>
          </ac:spMkLst>
        </pc:spChg>
      </pc:sldChg>
      <pc:sldChg chg="modSp add mod ord">
        <pc:chgData name="Julian Pauli" userId="610ac62b-222a-4de8-b70c-7dd89aaf92e2" providerId="ADAL" clId="{6F6E9917-71EC-4523-9C3C-05032AB7B458}" dt="2025-08-27T09:31:11.197" v="576" actId="1035"/>
        <pc:sldMkLst>
          <pc:docMk/>
          <pc:sldMk cId="4151175056" sldId="2147483643"/>
        </pc:sldMkLst>
        <pc:spChg chg="mod">
          <ac:chgData name="Julian Pauli" userId="610ac62b-222a-4de8-b70c-7dd89aaf92e2" providerId="ADAL" clId="{6F6E9917-71EC-4523-9C3C-05032AB7B458}" dt="2025-08-27T09:31:11.197" v="576" actId="1035"/>
          <ac:spMkLst>
            <pc:docMk/>
            <pc:sldMk cId="4151175056" sldId="2147483643"/>
            <ac:spMk id="5" creationId="{0466A1CE-2AEB-83BF-6388-A4D7706B0D01}"/>
          </ac:spMkLst>
        </pc:spChg>
        <pc:spChg chg="mod">
          <ac:chgData name="Julian Pauli" userId="610ac62b-222a-4de8-b70c-7dd89aaf92e2" providerId="ADAL" clId="{6F6E9917-71EC-4523-9C3C-05032AB7B458}" dt="2025-08-27T09:29:16.079" v="561" actId="20577"/>
          <ac:spMkLst>
            <pc:docMk/>
            <pc:sldMk cId="4151175056" sldId="2147483643"/>
            <ac:spMk id="7" creationId="{4FFD8D3B-A85A-470E-2EE4-2DA7B802C956}"/>
          </ac:spMkLst>
        </pc:spChg>
        <pc:spChg chg="mod">
          <ac:chgData name="Julian Pauli" userId="610ac62b-222a-4de8-b70c-7dd89aaf92e2" providerId="ADAL" clId="{6F6E9917-71EC-4523-9C3C-05032AB7B458}" dt="2025-08-27T09:31:11.197" v="576" actId="1035"/>
          <ac:spMkLst>
            <pc:docMk/>
            <pc:sldMk cId="4151175056" sldId="2147483643"/>
            <ac:spMk id="8" creationId="{497BC57C-D717-48E0-D1C6-1C5D4DC6CBFF}"/>
          </ac:spMkLst>
        </pc:spChg>
        <pc:picChg chg="mod">
          <ac:chgData name="Julian Pauli" userId="610ac62b-222a-4de8-b70c-7dd89aaf92e2" providerId="ADAL" clId="{6F6E9917-71EC-4523-9C3C-05032AB7B458}" dt="2025-08-26T12:50:57.951" v="80" actId="14826"/>
          <ac:picMkLst>
            <pc:docMk/>
            <pc:sldMk cId="4151175056" sldId="2147483643"/>
            <ac:picMk id="17" creationId="{F96F2AB0-515C-8342-116B-F9545CF832F5}"/>
          </ac:picMkLst>
        </pc:picChg>
        <pc:picChg chg="mod">
          <ac:chgData name="Julian Pauli" userId="610ac62b-222a-4de8-b70c-7dd89aaf92e2" providerId="ADAL" clId="{6F6E9917-71EC-4523-9C3C-05032AB7B458}" dt="2025-08-27T09:19:03.673" v="547" actId="1076"/>
          <ac:picMkLst>
            <pc:docMk/>
            <pc:sldMk cId="4151175056" sldId="2147483643"/>
            <ac:picMk id="19" creationId="{FF797B49-6C62-A31F-4B82-1F6677115DDE}"/>
          </ac:picMkLst>
        </pc:picChg>
        <pc:picChg chg="mod">
          <ac:chgData name="Julian Pauli" userId="610ac62b-222a-4de8-b70c-7dd89aaf92e2" providerId="ADAL" clId="{6F6E9917-71EC-4523-9C3C-05032AB7B458}" dt="2025-08-26T12:50:15.665" v="78" actId="14826"/>
          <ac:picMkLst>
            <pc:docMk/>
            <pc:sldMk cId="4151175056" sldId="2147483643"/>
            <ac:picMk id="21" creationId="{A413B73F-9020-04DF-5DC2-A46E1A807B8E}"/>
          </ac:picMkLst>
        </pc:picChg>
      </pc:sldChg>
      <pc:sldChg chg="delSp modSp add mod">
        <pc:chgData name="Julian Pauli" userId="610ac62b-222a-4de8-b70c-7dd89aaf92e2" providerId="ADAL" clId="{6F6E9917-71EC-4523-9C3C-05032AB7B458}" dt="2025-08-27T07:42:15.338" v="227" actId="113"/>
        <pc:sldMkLst>
          <pc:docMk/>
          <pc:sldMk cId="3363521186" sldId="2147483644"/>
        </pc:sldMkLst>
        <pc:spChg chg="mod">
          <ac:chgData name="Julian Pauli" userId="610ac62b-222a-4de8-b70c-7dd89aaf92e2" providerId="ADAL" clId="{6F6E9917-71EC-4523-9C3C-05032AB7B458}" dt="2025-08-27T07:35:45.092" v="159" actId="122"/>
          <ac:spMkLst>
            <pc:docMk/>
            <pc:sldMk cId="3363521186" sldId="2147483644"/>
            <ac:spMk id="19" creationId="{830D7F25-CA7E-EE15-CB12-D3D28EF1B56F}"/>
          </ac:spMkLst>
        </pc:spChg>
        <pc:spChg chg="del">
          <ac:chgData name="Julian Pauli" userId="610ac62b-222a-4de8-b70c-7dd89aaf92e2" providerId="ADAL" clId="{6F6E9917-71EC-4523-9C3C-05032AB7B458}" dt="2025-08-27T07:35:20.264" v="148" actId="478"/>
          <ac:spMkLst>
            <pc:docMk/>
            <pc:sldMk cId="3363521186" sldId="2147483644"/>
            <ac:spMk id="20" creationId="{33052D68-56E4-8B62-850D-7AF4F8AD7561}"/>
          </ac:spMkLst>
        </pc:spChg>
        <pc:spChg chg="del">
          <ac:chgData name="Julian Pauli" userId="610ac62b-222a-4de8-b70c-7dd89aaf92e2" providerId="ADAL" clId="{6F6E9917-71EC-4523-9C3C-05032AB7B458}" dt="2025-08-27T07:35:26.088" v="150" actId="478"/>
          <ac:spMkLst>
            <pc:docMk/>
            <pc:sldMk cId="3363521186" sldId="2147483644"/>
            <ac:spMk id="21" creationId="{CFCEC088-22F0-29AE-1045-A453FA5BCB81}"/>
          </ac:spMkLst>
        </pc:spChg>
        <pc:spChg chg="mod">
          <ac:chgData name="Julian Pauli" userId="610ac62b-222a-4de8-b70c-7dd89aaf92e2" providerId="ADAL" clId="{6F6E9917-71EC-4523-9C3C-05032AB7B458}" dt="2025-08-27T07:42:15.338" v="227" actId="113"/>
          <ac:spMkLst>
            <pc:docMk/>
            <pc:sldMk cId="3363521186" sldId="2147483644"/>
            <ac:spMk id="22" creationId="{6E3E1B24-773C-FAC3-1487-5A3AE67532B6}"/>
          </ac:spMkLst>
        </pc:spChg>
        <pc:spChg chg="mod">
          <ac:chgData name="Julian Pauli" userId="610ac62b-222a-4de8-b70c-7dd89aaf92e2" providerId="ADAL" clId="{6F6E9917-71EC-4523-9C3C-05032AB7B458}" dt="2025-08-27T07:41:26.092" v="219" actId="20577"/>
          <ac:spMkLst>
            <pc:docMk/>
            <pc:sldMk cId="3363521186" sldId="2147483644"/>
            <ac:spMk id="23" creationId="{71874F11-6220-4671-82E1-AAEB06B15862}"/>
          </ac:spMkLst>
        </pc:spChg>
        <pc:spChg chg="mod">
          <ac:chgData name="Julian Pauli" userId="610ac62b-222a-4de8-b70c-7dd89aaf92e2" providerId="ADAL" clId="{6F6E9917-71EC-4523-9C3C-05032AB7B458}" dt="2025-08-27T07:42:00.544" v="225" actId="108"/>
          <ac:spMkLst>
            <pc:docMk/>
            <pc:sldMk cId="3363521186" sldId="2147483644"/>
            <ac:spMk id="24" creationId="{70E90D44-2224-1546-0975-D623F7C8875B}"/>
          </ac:spMkLst>
        </pc:spChg>
      </pc:sldChg>
      <pc:sldChg chg="modSp add mod">
        <pc:chgData name="Julian Pauli" userId="610ac62b-222a-4de8-b70c-7dd89aaf92e2" providerId="ADAL" clId="{6F6E9917-71EC-4523-9C3C-05032AB7B458}" dt="2025-08-27T08:56:23.657" v="479" actId="20577"/>
        <pc:sldMkLst>
          <pc:docMk/>
          <pc:sldMk cId="3817204234" sldId="2147483645"/>
        </pc:sldMkLst>
        <pc:spChg chg="mod">
          <ac:chgData name="Julian Pauli" userId="610ac62b-222a-4de8-b70c-7dd89aaf92e2" providerId="ADAL" clId="{6F6E9917-71EC-4523-9C3C-05032AB7B458}" dt="2025-08-27T08:55:59.153" v="472" actId="20577"/>
          <ac:spMkLst>
            <pc:docMk/>
            <pc:sldMk cId="3817204234" sldId="2147483645"/>
            <ac:spMk id="9" creationId="{312D1E71-72B4-3219-4157-8010B6090C01}"/>
          </ac:spMkLst>
        </pc:spChg>
        <pc:spChg chg="mod">
          <ac:chgData name="Julian Pauli" userId="610ac62b-222a-4de8-b70c-7dd89aaf92e2" providerId="ADAL" clId="{6F6E9917-71EC-4523-9C3C-05032AB7B458}" dt="2025-08-27T08:56:06.127" v="474" actId="20577"/>
          <ac:spMkLst>
            <pc:docMk/>
            <pc:sldMk cId="3817204234" sldId="2147483645"/>
            <ac:spMk id="11" creationId="{F364A992-4341-09ED-188F-8BA57DA65A01}"/>
          </ac:spMkLst>
        </pc:spChg>
        <pc:spChg chg="mod">
          <ac:chgData name="Julian Pauli" userId="610ac62b-222a-4de8-b70c-7dd89aaf92e2" providerId="ADAL" clId="{6F6E9917-71EC-4523-9C3C-05032AB7B458}" dt="2025-08-27T08:56:20.193" v="478" actId="20577"/>
          <ac:spMkLst>
            <pc:docMk/>
            <pc:sldMk cId="3817204234" sldId="2147483645"/>
            <ac:spMk id="13" creationId="{0865B286-B1BC-02D7-9D20-0E7D49B12DC2}"/>
          </ac:spMkLst>
        </pc:spChg>
        <pc:spChg chg="mod">
          <ac:chgData name="Julian Pauli" userId="610ac62b-222a-4de8-b70c-7dd89aaf92e2" providerId="ADAL" clId="{6F6E9917-71EC-4523-9C3C-05032AB7B458}" dt="2025-08-27T07:52:15.914" v="287" actId="20577"/>
          <ac:spMkLst>
            <pc:docMk/>
            <pc:sldMk cId="3817204234" sldId="2147483645"/>
            <ac:spMk id="19" creationId="{489B8F67-AA62-7FF1-F4E1-44C49F3BAAA5}"/>
          </ac:spMkLst>
        </pc:spChg>
        <pc:spChg chg="mod">
          <ac:chgData name="Julian Pauli" userId="610ac62b-222a-4de8-b70c-7dd89aaf92e2" providerId="ADAL" clId="{6F6E9917-71EC-4523-9C3C-05032AB7B458}" dt="2025-08-27T08:55:49.493" v="470" actId="20577"/>
          <ac:spMkLst>
            <pc:docMk/>
            <pc:sldMk cId="3817204234" sldId="2147483645"/>
            <ac:spMk id="22" creationId="{1C34C40E-76AA-7A62-98CA-1AFB9E8EF4AE}"/>
          </ac:spMkLst>
        </pc:spChg>
        <pc:spChg chg="mod">
          <ac:chgData name="Julian Pauli" userId="610ac62b-222a-4de8-b70c-7dd89aaf92e2" providerId="ADAL" clId="{6F6E9917-71EC-4523-9C3C-05032AB7B458}" dt="2025-08-27T07:51:33.399" v="283" actId="403"/>
          <ac:spMkLst>
            <pc:docMk/>
            <pc:sldMk cId="3817204234" sldId="2147483645"/>
            <ac:spMk id="23" creationId="{AC6FCE04-4139-D17B-9D72-773A632D7B89}"/>
          </ac:spMkLst>
        </pc:spChg>
        <pc:spChg chg="mod">
          <ac:chgData name="Julian Pauli" userId="610ac62b-222a-4de8-b70c-7dd89aaf92e2" providerId="ADAL" clId="{6F6E9917-71EC-4523-9C3C-05032AB7B458}" dt="2025-08-27T08:55:46.744" v="469" actId="20577"/>
          <ac:spMkLst>
            <pc:docMk/>
            <pc:sldMk cId="3817204234" sldId="2147483645"/>
            <ac:spMk id="24" creationId="{E196D864-CC5C-BCA1-C9EC-5A99AC05C666}"/>
          </ac:spMkLst>
        </pc:spChg>
        <pc:spChg chg="mod">
          <ac:chgData name="Julian Pauli" userId="610ac62b-222a-4de8-b70c-7dd89aaf92e2" providerId="ADAL" clId="{6F6E9917-71EC-4523-9C3C-05032AB7B458}" dt="2025-08-27T08:56:23.657" v="479" actId="20577"/>
          <ac:spMkLst>
            <pc:docMk/>
            <pc:sldMk cId="3817204234" sldId="2147483645"/>
            <ac:spMk id="25" creationId="{1AFCE6FF-A39B-D9A6-CB2F-909879620A9C}"/>
          </ac:spMkLst>
        </pc:spChg>
      </pc:sldChg>
    </pc:docChg>
  </pc:docChgLst>
  <pc:docChgLst>
    <pc:chgData name="Julian Pauli" userId="S::julian.pauli@vertexinc.com::610ac62b-222a-4de8-b70c-7dd89aaf92e2" providerId="AD" clId="Web-{5C003EC4-9ADB-97B8-74B8-AD351FD152D6}"/>
    <pc:docChg chg="modSld">
      <pc:chgData name="Julian Pauli" userId="S::julian.pauli@vertexinc.com::610ac62b-222a-4de8-b70c-7dd89aaf92e2" providerId="AD" clId="Web-{5C003EC4-9ADB-97B8-74B8-AD351FD152D6}" dt="2025-08-27T06:58:06.271" v="6" actId="20577"/>
      <pc:docMkLst>
        <pc:docMk/>
      </pc:docMkLst>
      <pc:sldChg chg="modSp">
        <pc:chgData name="Julian Pauli" userId="S::julian.pauli@vertexinc.com::610ac62b-222a-4de8-b70c-7dd89aaf92e2" providerId="AD" clId="Web-{5C003EC4-9ADB-97B8-74B8-AD351FD152D6}" dt="2025-08-27T06:58:06.271" v="6" actId="20577"/>
        <pc:sldMkLst>
          <pc:docMk/>
          <pc:sldMk cId="611153107" sldId="2147483639"/>
        </pc:sldMkLst>
        <pc:spChg chg="mod">
          <ac:chgData name="Julian Pauli" userId="S::julian.pauli@vertexinc.com::610ac62b-222a-4de8-b70c-7dd89aaf92e2" providerId="AD" clId="Web-{5C003EC4-9ADB-97B8-74B8-AD351FD152D6}" dt="2025-08-27T06:58:06.271" v="6" actId="20577"/>
          <ac:spMkLst>
            <pc:docMk/>
            <pc:sldMk cId="611153107" sldId="2147483639"/>
            <ac:spMk id="6" creationId="{42B757EF-542F-7759-F21E-3FF8E80CCB41}"/>
          </ac:spMkLst>
        </pc:spChg>
      </pc:sldChg>
    </pc:docChg>
  </pc:docChgLst>
  <pc:docChgLst>
    <pc:chgData name="Julian Pauli" userId="610ac62b-222a-4de8-b70c-7dd89aaf92e2" providerId="ADAL" clId="{4135F918-74C3-4CE1-8908-CC8514647C79}"/>
    <pc:docChg chg="undo custSel addSld delSld modSld sldOrd addSection delSection modSection">
      <pc:chgData name="Julian Pauli" userId="610ac62b-222a-4de8-b70c-7dd89aaf92e2" providerId="ADAL" clId="{4135F918-74C3-4CE1-8908-CC8514647C79}" dt="2025-07-31T08:49:49.442" v="2689" actId="478"/>
      <pc:docMkLst>
        <pc:docMk/>
      </pc:docMkLst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56"/>
        </pc:sldMkLst>
      </pc:sldChg>
      <pc:sldChg chg="modSp add mod">
        <pc:chgData name="Julian Pauli" userId="610ac62b-222a-4de8-b70c-7dd89aaf92e2" providerId="ADAL" clId="{4135F918-74C3-4CE1-8908-CC8514647C79}" dt="2025-07-23T08:53:19.090" v="944" actId="27636"/>
        <pc:sldMkLst>
          <pc:docMk/>
          <pc:sldMk cId="0" sldId="257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58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59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0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1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2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3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4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5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6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7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8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69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70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71"/>
        </pc:sldMkLst>
      </pc:sldChg>
      <pc:sldChg chg="add">
        <pc:chgData name="Julian Pauli" userId="610ac62b-222a-4de8-b70c-7dd89aaf92e2" providerId="ADAL" clId="{4135F918-74C3-4CE1-8908-CC8514647C79}" dt="2025-07-23T08:53:18.902" v="943"/>
        <pc:sldMkLst>
          <pc:docMk/>
          <pc:sldMk cId="0" sldId="272"/>
        </pc:sldMkLst>
      </pc:sldChg>
      <pc:sldChg chg="add">
        <pc:chgData name="Julian Pauli" userId="610ac62b-222a-4de8-b70c-7dd89aaf92e2" providerId="ADAL" clId="{4135F918-74C3-4CE1-8908-CC8514647C79}" dt="2025-07-21T10:04:39.734" v="80"/>
        <pc:sldMkLst>
          <pc:docMk/>
          <pc:sldMk cId="1572711708" sldId="275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0" sldId="277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2779136400" sldId="301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749778048" sldId="360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760296086" sldId="362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71014609" sldId="379"/>
        </pc:sldMkLst>
      </pc:sldChg>
      <pc:sldChg chg="add">
        <pc:chgData name="Julian Pauli" userId="610ac62b-222a-4de8-b70c-7dd89aaf92e2" providerId="ADAL" clId="{4135F918-74C3-4CE1-8908-CC8514647C79}" dt="2025-07-21T09:39:19.831" v="52"/>
        <pc:sldMkLst>
          <pc:docMk/>
          <pc:sldMk cId="2406964588" sldId="723"/>
        </pc:sldMkLst>
      </pc:sldChg>
      <pc:sldChg chg="add">
        <pc:chgData name="Julian Pauli" userId="610ac62b-222a-4de8-b70c-7dd89aaf92e2" providerId="ADAL" clId="{4135F918-74C3-4CE1-8908-CC8514647C79}" dt="2025-07-21T09:49:37.519" v="59"/>
        <pc:sldMkLst>
          <pc:docMk/>
          <pc:sldMk cId="2907039811" sldId="2146847872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590342395" sldId="2147308983"/>
        </pc:sldMkLst>
      </pc:sldChg>
      <pc:sldChg chg="addSp delSp modSp add mod ord modTransition modAnim modShow">
        <pc:chgData name="Julian Pauli" userId="610ac62b-222a-4de8-b70c-7dd89aaf92e2" providerId="ADAL" clId="{4135F918-74C3-4CE1-8908-CC8514647C79}" dt="2025-07-29T13:39:21.609" v="2397" actId="1035"/>
        <pc:sldMkLst>
          <pc:docMk/>
          <pc:sldMk cId="3388502211" sldId="2147376502"/>
        </pc:sldMkLst>
        <pc:spChg chg="add mod">
          <ac:chgData name="Julian Pauli" userId="610ac62b-222a-4de8-b70c-7dd89aaf92e2" providerId="ADAL" clId="{4135F918-74C3-4CE1-8908-CC8514647C79}" dt="2025-07-29T13:39:21.609" v="2397" actId="1035"/>
          <ac:spMkLst>
            <pc:docMk/>
            <pc:sldMk cId="3388502211" sldId="2147376502"/>
            <ac:spMk id="9" creationId="{14BC1636-91C9-8A1A-0104-E7E2730EB8CB}"/>
          </ac:spMkLst>
        </pc:spChg>
        <pc:spChg chg="add mod">
          <ac:chgData name="Julian Pauli" userId="610ac62b-222a-4de8-b70c-7dd89aaf92e2" providerId="ADAL" clId="{4135F918-74C3-4CE1-8908-CC8514647C79}" dt="2025-07-29T13:39:11.865" v="2388" actId="1076"/>
          <ac:spMkLst>
            <pc:docMk/>
            <pc:sldMk cId="3388502211" sldId="2147376502"/>
            <ac:spMk id="14" creationId="{3B3253E6-9D0D-6228-06F3-7015EA17507D}"/>
          </ac:spMkLst>
        </pc:spChg>
      </pc:sldChg>
      <pc:sldChg chg="modSp mod">
        <pc:chgData name="Julian Pauli" userId="610ac62b-222a-4de8-b70c-7dd89aaf92e2" providerId="ADAL" clId="{4135F918-74C3-4CE1-8908-CC8514647C79}" dt="2025-07-21T09:31:52.161" v="47" actId="20577"/>
        <pc:sldMkLst>
          <pc:docMk/>
          <pc:sldMk cId="4140062320" sldId="2147376554"/>
        </pc:sldMkLst>
      </pc:sldChg>
      <pc:sldChg chg="add">
        <pc:chgData name="Julian Pauli" userId="610ac62b-222a-4de8-b70c-7dd89aaf92e2" providerId="ADAL" clId="{4135F918-74C3-4CE1-8908-CC8514647C79}" dt="2025-07-21T09:52:13.100" v="65"/>
        <pc:sldMkLst>
          <pc:docMk/>
          <pc:sldMk cId="2957967029" sldId="2147470642"/>
        </pc:sldMkLst>
      </pc:sldChg>
      <pc:sldChg chg="add">
        <pc:chgData name="Julian Pauli" userId="610ac62b-222a-4de8-b70c-7dd89aaf92e2" providerId="ADAL" clId="{4135F918-74C3-4CE1-8908-CC8514647C79}" dt="2025-07-21T09:49:37.519" v="59"/>
        <pc:sldMkLst>
          <pc:docMk/>
          <pc:sldMk cId="1721135071" sldId="2147470705"/>
        </pc:sldMkLst>
      </pc:sldChg>
      <pc:sldChg chg="add">
        <pc:chgData name="Julian Pauli" userId="610ac62b-222a-4de8-b70c-7dd89aaf92e2" providerId="ADAL" clId="{4135F918-74C3-4CE1-8908-CC8514647C79}" dt="2025-07-21T09:59:51.960" v="79"/>
        <pc:sldMkLst>
          <pc:docMk/>
          <pc:sldMk cId="3206074745" sldId="2147470717"/>
        </pc:sldMkLst>
      </pc:sldChg>
      <pc:sldChg chg="add">
        <pc:chgData name="Julian Pauli" userId="610ac62b-222a-4de8-b70c-7dd89aaf92e2" providerId="ADAL" clId="{4135F918-74C3-4CE1-8908-CC8514647C79}" dt="2025-07-21T09:45:34.113" v="57"/>
        <pc:sldMkLst>
          <pc:docMk/>
          <pc:sldMk cId="1296210091" sldId="2147471672"/>
        </pc:sldMkLst>
      </pc:sldChg>
      <pc:sldChg chg="add">
        <pc:chgData name="Julian Pauli" userId="610ac62b-222a-4de8-b70c-7dd89aaf92e2" providerId="ADAL" clId="{4135F918-74C3-4CE1-8908-CC8514647C79}" dt="2025-07-21T09:48:25.648" v="58"/>
        <pc:sldMkLst>
          <pc:docMk/>
          <pc:sldMk cId="345478050" sldId="2147471703"/>
        </pc:sldMkLst>
      </pc:sldChg>
      <pc:sldChg chg="add">
        <pc:chgData name="Julian Pauli" userId="610ac62b-222a-4de8-b70c-7dd89aaf92e2" providerId="ADAL" clId="{4135F918-74C3-4CE1-8908-CC8514647C79}" dt="2025-07-21T09:39:19.831" v="52"/>
        <pc:sldMkLst>
          <pc:docMk/>
          <pc:sldMk cId="4244597180" sldId="2147471798"/>
        </pc:sldMkLst>
      </pc:sldChg>
      <pc:sldChg chg="add">
        <pc:chgData name="Julian Pauli" userId="610ac62b-222a-4de8-b70c-7dd89aaf92e2" providerId="ADAL" clId="{4135F918-74C3-4CE1-8908-CC8514647C79}" dt="2025-07-21T09:43:17.651" v="56"/>
        <pc:sldMkLst>
          <pc:docMk/>
          <pc:sldMk cId="2142536338" sldId="2147471848"/>
        </pc:sldMkLst>
      </pc:sldChg>
      <pc:sldChg chg="add">
        <pc:chgData name="Julian Pauli" userId="610ac62b-222a-4de8-b70c-7dd89aaf92e2" providerId="ADAL" clId="{4135F918-74C3-4CE1-8908-CC8514647C79}" dt="2025-07-21T09:34:21.735" v="51"/>
        <pc:sldMkLst>
          <pc:docMk/>
          <pc:sldMk cId="3035890507" sldId="2147481841"/>
        </pc:sldMkLst>
      </pc:sldChg>
      <pc:sldChg chg="add">
        <pc:chgData name="Julian Pauli" userId="610ac62b-222a-4de8-b70c-7dd89aaf92e2" providerId="ADAL" clId="{4135F918-74C3-4CE1-8908-CC8514647C79}" dt="2025-07-21T09:51:28.326" v="63"/>
        <pc:sldMkLst>
          <pc:docMk/>
          <pc:sldMk cId="455249334" sldId="2147481864"/>
        </pc:sldMkLst>
      </pc:sldChg>
      <pc:sldChg chg="add">
        <pc:chgData name="Julian Pauli" userId="610ac62b-222a-4de8-b70c-7dd89aaf92e2" providerId="ADAL" clId="{4135F918-74C3-4CE1-8908-CC8514647C79}" dt="2025-07-21T09:50:04.784" v="60"/>
        <pc:sldMkLst>
          <pc:docMk/>
          <pc:sldMk cId="1951560452" sldId="2147481865"/>
        </pc:sldMkLst>
      </pc:sldChg>
      <pc:sldChg chg="add">
        <pc:chgData name="Julian Pauli" userId="610ac62b-222a-4de8-b70c-7dd89aaf92e2" providerId="ADAL" clId="{4135F918-74C3-4CE1-8908-CC8514647C79}" dt="2025-07-21T09:50:22.905" v="61"/>
        <pc:sldMkLst>
          <pc:docMk/>
          <pc:sldMk cId="3122359035" sldId="2147481866"/>
        </pc:sldMkLst>
      </pc:sldChg>
      <pc:sldChg chg="add">
        <pc:chgData name="Julian Pauli" userId="610ac62b-222a-4de8-b70c-7dd89aaf92e2" providerId="ADAL" clId="{4135F918-74C3-4CE1-8908-CC8514647C79}" dt="2025-07-21T09:45:34.113" v="57"/>
        <pc:sldMkLst>
          <pc:docMk/>
          <pc:sldMk cId="4218092451" sldId="2147481891"/>
        </pc:sldMkLst>
      </pc:sldChg>
      <pc:sldChg chg="add">
        <pc:chgData name="Julian Pauli" userId="610ac62b-222a-4de8-b70c-7dd89aaf92e2" providerId="ADAL" clId="{4135F918-74C3-4CE1-8908-CC8514647C79}" dt="2025-07-21T09:41:38.387" v="54"/>
        <pc:sldMkLst>
          <pc:docMk/>
          <pc:sldMk cId="2159407638" sldId="2147481923"/>
        </pc:sldMkLst>
      </pc:sldChg>
      <pc:sldChg chg="add ord modAnim">
        <pc:chgData name="Julian Pauli" userId="610ac62b-222a-4de8-b70c-7dd89aaf92e2" providerId="ADAL" clId="{4135F918-74C3-4CE1-8908-CC8514647C79}" dt="2025-07-31T08:37:08.109" v="2552"/>
        <pc:sldMkLst>
          <pc:docMk/>
          <pc:sldMk cId="3236188298" sldId="2147482002"/>
        </pc:sldMkLst>
      </pc:sldChg>
      <pc:sldChg chg="add mod ord modTransition modShow">
        <pc:chgData name="Julian Pauli" userId="610ac62b-222a-4de8-b70c-7dd89aaf92e2" providerId="ADAL" clId="{4135F918-74C3-4CE1-8908-CC8514647C79}" dt="2025-07-25T11:13:10.211" v="1612"/>
        <pc:sldMkLst>
          <pc:docMk/>
          <pc:sldMk cId="2776194714" sldId="2147482114"/>
        </pc:sldMkLst>
      </pc:sldChg>
      <pc:sldChg chg="addSp modSp add ord modTransition modAnim">
        <pc:chgData name="Julian Pauli" userId="610ac62b-222a-4de8-b70c-7dd89aaf92e2" providerId="ADAL" clId="{4135F918-74C3-4CE1-8908-CC8514647C79}" dt="2025-07-25T11:15:09.583" v="1646"/>
        <pc:sldMkLst>
          <pc:docMk/>
          <pc:sldMk cId="2127920530" sldId="2147482148"/>
        </pc:sldMkLst>
      </pc:sldChg>
      <pc:sldChg chg="add ord">
        <pc:chgData name="Julian Pauli" userId="610ac62b-222a-4de8-b70c-7dd89aaf92e2" providerId="ADAL" clId="{4135F918-74C3-4CE1-8908-CC8514647C79}" dt="2025-07-25T09:38:48.949" v="1422"/>
        <pc:sldMkLst>
          <pc:docMk/>
          <pc:sldMk cId="1192991094" sldId="2147482185"/>
        </pc:sldMkLst>
      </pc:sldChg>
      <pc:sldChg chg="delSp modSp add mod ord modTransition modShow">
        <pc:chgData name="Julian Pauli" userId="610ac62b-222a-4de8-b70c-7dd89aaf92e2" providerId="ADAL" clId="{4135F918-74C3-4CE1-8908-CC8514647C79}" dt="2025-07-23T08:01:43.078" v="674" actId="729"/>
        <pc:sldMkLst>
          <pc:docMk/>
          <pc:sldMk cId="2966870512" sldId="2147482224"/>
        </pc:sldMkLst>
      </pc:sldChg>
      <pc:sldChg chg="add">
        <pc:chgData name="Julian Pauli" userId="610ac62b-222a-4de8-b70c-7dd89aaf92e2" providerId="ADAL" clId="{4135F918-74C3-4CE1-8908-CC8514647C79}" dt="2025-07-21T09:56:50.426" v="75"/>
        <pc:sldMkLst>
          <pc:docMk/>
          <pc:sldMk cId="4105000777" sldId="2147482225"/>
        </pc:sldMkLst>
      </pc:sldChg>
      <pc:sldChg chg="add">
        <pc:chgData name="Julian Pauli" userId="610ac62b-222a-4de8-b70c-7dd89aaf92e2" providerId="ADAL" clId="{4135F918-74C3-4CE1-8908-CC8514647C79}" dt="2025-07-21T09:56:50.426" v="75"/>
        <pc:sldMkLst>
          <pc:docMk/>
          <pc:sldMk cId="3202923383" sldId="2147482226"/>
        </pc:sldMkLst>
      </pc:sldChg>
      <pc:sldChg chg="add">
        <pc:chgData name="Julian Pauli" userId="610ac62b-222a-4de8-b70c-7dd89aaf92e2" providerId="ADAL" clId="{4135F918-74C3-4CE1-8908-CC8514647C79}" dt="2025-07-21T09:53:53.092" v="68"/>
        <pc:sldMkLst>
          <pc:docMk/>
          <pc:sldMk cId="1720172404" sldId="2147482227"/>
        </pc:sldMkLst>
      </pc:sldChg>
      <pc:sldChg chg="add">
        <pc:chgData name="Julian Pauli" userId="610ac62b-222a-4de8-b70c-7dd89aaf92e2" providerId="ADAL" clId="{4135F918-74C3-4CE1-8908-CC8514647C79}" dt="2025-07-21T09:55:19.795" v="71"/>
        <pc:sldMkLst>
          <pc:docMk/>
          <pc:sldMk cId="198497064" sldId="2147482228"/>
        </pc:sldMkLst>
      </pc:sldChg>
      <pc:sldChg chg="add">
        <pc:chgData name="Julian Pauli" userId="610ac62b-222a-4de8-b70c-7dd89aaf92e2" providerId="ADAL" clId="{4135F918-74C3-4CE1-8908-CC8514647C79}" dt="2025-07-21T09:54:31.560" v="69"/>
        <pc:sldMkLst>
          <pc:docMk/>
          <pc:sldMk cId="1969122044" sldId="2147482230"/>
        </pc:sldMkLst>
      </pc:sldChg>
      <pc:sldChg chg="add mod ord modTransition modShow">
        <pc:chgData name="Julian Pauli" userId="610ac62b-222a-4de8-b70c-7dd89aaf92e2" providerId="ADAL" clId="{4135F918-74C3-4CE1-8908-CC8514647C79}" dt="2025-07-30T11:19:15.563" v="2454" actId="729"/>
        <pc:sldMkLst>
          <pc:docMk/>
          <pc:sldMk cId="1206165113" sldId="2147482231"/>
        </pc:sldMkLst>
      </pc:sldChg>
      <pc:sldChg chg="add">
        <pc:chgData name="Julian Pauli" userId="610ac62b-222a-4de8-b70c-7dd89aaf92e2" providerId="ADAL" clId="{4135F918-74C3-4CE1-8908-CC8514647C79}" dt="2025-07-21T09:55:02.592" v="70"/>
        <pc:sldMkLst>
          <pc:docMk/>
          <pc:sldMk cId="2851535843" sldId="2147482233"/>
        </pc:sldMkLst>
      </pc:sldChg>
      <pc:sldChg chg="add">
        <pc:chgData name="Julian Pauli" userId="610ac62b-222a-4de8-b70c-7dd89aaf92e2" providerId="ADAL" clId="{4135F918-74C3-4CE1-8908-CC8514647C79}" dt="2025-07-21T09:55:02.592" v="70"/>
        <pc:sldMkLst>
          <pc:docMk/>
          <pc:sldMk cId="2354940921" sldId="2147482234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828738974" sldId="2147482242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553985866" sldId="2147482298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666492794" sldId="2147482299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2034418358" sldId="2147482326"/>
        </pc:sldMkLst>
      </pc:sldChg>
      <pc:sldChg chg="add">
        <pc:chgData name="Julian Pauli" userId="610ac62b-222a-4de8-b70c-7dd89aaf92e2" providerId="ADAL" clId="{4135F918-74C3-4CE1-8908-CC8514647C79}" dt="2025-07-21T09:56:02.618" v="73"/>
        <pc:sldMkLst>
          <pc:docMk/>
          <pc:sldMk cId="3857530344" sldId="2147482346"/>
        </pc:sldMkLst>
      </pc:sldChg>
      <pc:sldChg chg="add">
        <pc:chgData name="Julian Pauli" userId="610ac62b-222a-4de8-b70c-7dd89aaf92e2" providerId="ADAL" clId="{4135F918-74C3-4CE1-8908-CC8514647C79}" dt="2025-07-21T09:52:52.821" v="66"/>
        <pc:sldMkLst>
          <pc:docMk/>
          <pc:sldMk cId="598344581" sldId="2147482349"/>
        </pc:sldMkLst>
      </pc:sldChg>
      <pc:sldChg chg="add">
        <pc:chgData name="Julian Pauli" userId="610ac62b-222a-4de8-b70c-7dd89aaf92e2" providerId="ADAL" clId="{4135F918-74C3-4CE1-8908-CC8514647C79}" dt="2025-07-21T09:49:37.519" v="59"/>
        <pc:sldMkLst>
          <pc:docMk/>
          <pc:sldMk cId="21051559" sldId="2147482365"/>
        </pc:sldMkLst>
      </pc:sldChg>
      <pc:sldChg chg="add">
        <pc:chgData name="Julian Pauli" userId="610ac62b-222a-4de8-b70c-7dd89aaf92e2" providerId="ADAL" clId="{4135F918-74C3-4CE1-8908-CC8514647C79}" dt="2025-07-21T09:54:31.560" v="69"/>
        <pc:sldMkLst>
          <pc:docMk/>
          <pc:sldMk cId="2580755079" sldId="2147482398"/>
        </pc:sldMkLst>
      </pc:sldChg>
      <pc:sldChg chg="add">
        <pc:chgData name="Julian Pauli" userId="610ac62b-222a-4de8-b70c-7dd89aaf92e2" providerId="ADAL" clId="{4135F918-74C3-4CE1-8908-CC8514647C79}" dt="2025-07-21T09:54:31.560" v="69"/>
        <pc:sldMkLst>
          <pc:docMk/>
          <pc:sldMk cId="2480257432" sldId="2147482399"/>
        </pc:sldMkLst>
      </pc:sldChg>
      <pc:sldChg chg="addSp delSp modSp add mod ord modTransition modAnim modShow">
        <pc:chgData name="Julian Pauli" userId="610ac62b-222a-4de8-b70c-7dd89aaf92e2" providerId="ADAL" clId="{4135F918-74C3-4CE1-8908-CC8514647C79}" dt="2025-07-23T08:06:51.398" v="770" actId="729"/>
        <pc:sldMkLst>
          <pc:docMk/>
          <pc:sldMk cId="2422830266" sldId="2147482402"/>
        </pc:sldMkLst>
      </pc:sldChg>
      <pc:sldChg chg="add">
        <pc:chgData name="Julian Pauli" userId="610ac62b-222a-4de8-b70c-7dd89aaf92e2" providerId="ADAL" clId="{4135F918-74C3-4CE1-8908-CC8514647C79}" dt="2025-07-21T09:56:25.794" v="74"/>
        <pc:sldMkLst>
          <pc:docMk/>
          <pc:sldMk cId="3892274612" sldId="2147482417"/>
        </pc:sldMkLst>
      </pc:sldChg>
      <pc:sldChg chg="add">
        <pc:chgData name="Julian Pauli" userId="610ac62b-222a-4de8-b70c-7dd89aaf92e2" providerId="ADAL" clId="{4135F918-74C3-4CE1-8908-CC8514647C79}" dt="2025-07-21T09:56:25.794" v="74"/>
        <pc:sldMkLst>
          <pc:docMk/>
          <pc:sldMk cId="3718477618" sldId="2147482418"/>
        </pc:sldMkLst>
      </pc:sldChg>
      <pc:sldChg chg="add">
        <pc:chgData name="Julian Pauli" userId="610ac62b-222a-4de8-b70c-7dd89aaf92e2" providerId="ADAL" clId="{4135F918-74C3-4CE1-8908-CC8514647C79}" dt="2025-07-21T09:56:25.794" v="74"/>
        <pc:sldMkLst>
          <pc:docMk/>
          <pc:sldMk cId="102847418" sldId="2147482419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2871673278" sldId="2147482421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433445784" sldId="2147482425"/>
        </pc:sldMkLst>
      </pc:sldChg>
      <pc:sldChg chg="add">
        <pc:chgData name="Julian Pauli" userId="610ac62b-222a-4de8-b70c-7dd89aaf92e2" providerId="ADAL" clId="{4135F918-74C3-4CE1-8908-CC8514647C79}" dt="2025-07-21T09:57:02.055" v="76"/>
        <pc:sldMkLst>
          <pc:docMk/>
          <pc:sldMk cId="951371670" sldId="2147482437"/>
        </pc:sldMkLst>
      </pc:sldChg>
      <pc:sldChg chg="add">
        <pc:chgData name="Julian Pauli" userId="610ac62b-222a-4de8-b70c-7dd89aaf92e2" providerId="ADAL" clId="{4135F918-74C3-4CE1-8908-CC8514647C79}" dt="2025-07-21T09:55:42.167" v="72"/>
        <pc:sldMkLst>
          <pc:docMk/>
          <pc:sldMk cId="3972530347" sldId="2147482447"/>
        </pc:sldMkLst>
      </pc:sldChg>
      <pc:sldChg chg="add">
        <pc:chgData name="Julian Pauli" userId="610ac62b-222a-4de8-b70c-7dd89aaf92e2" providerId="ADAL" clId="{4135F918-74C3-4CE1-8908-CC8514647C79}" dt="2025-07-21T09:57:11.900" v="77"/>
        <pc:sldMkLst>
          <pc:docMk/>
          <pc:sldMk cId="2277455864" sldId="2147482468"/>
        </pc:sldMkLst>
      </pc:sldChg>
      <pc:sldChg chg="add">
        <pc:chgData name="Julian Pauli" userId="610ac62b-222a-4de8-b70c-7dd89aaf92e2" providerId="ADAL" clId="{4135F918-74C3-4CE1-8908-CC8514647C79}" dt="2025-07-21T09:57:42.884" v="78"/>
        <pc:sldMkLst>
          <pc:docMk/>
          <pc:sldMk cId="1502390935" sldId="2147482473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771620047" sldId="2147482474"/>
        </pc:sldMkLst>
      </pc:sldChg>
      <pc:sldChg chg="add">
        <pc:chgData name="Julian Pauli" userId="610ac62b-222a-4de8-b70c-7dd89aaf92e2" providerId="ADAL" clId="{4135F918-74C3-4CE1-8908-CC8514647C79}" dt="2025-07-21T09:32:05.562" v="48"/>
        <pc:sldMkLst>
          <pc:docMk/>
          <pc:sldMk cId="87554073" sldId="2147482486"/>
        </pc:sldMkLst>
      </pc:sldChg>
      <pc:sldChg chg="add">
        <pc:chgData name="Julian Pauli" userId="610ac62b-222a-4de8-b70c-7dd89aaf92e2" providerId="ADAL" clId="{4135F918-74C3-4CE1-8908-CC8514647C79}" dt="2025-07-21T09:51:51.335" v="64"/>
        <pc:sldMkLst>
          <pc:docMk/>
          <pc:sldMk cId="284054952" sldId="2147482510"/>
        </pc:sldMkLst>
      </pc:sldChg>
      <pc:sldChg chg="add">
        <pc:chgData name="Julian Pauli" userId="610ac62b-222a-4de8-b70c-7dd89aaf92e2" providerId="ADAL" clId="{4135F918-74C3-4CE1-8908-CC8514647C79}" dt="2025-07-21T09:51:04.979" v="62"/>
        <pc:sldMkLst>
          <pc:docMk/>
          <pc:sldMk cId="2948650605" sldId="2147482512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3256458758" sldId="2147483474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3089338421" sldId="2147483479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064324547" sldId="2147483480"/>
        </pc:sldMkLst>
      </pc:sldChg>
      <pc:sldChg chg="add">
        <pc:chgData name="Julian Pauli" userId="610ac62b-222a-4de8-b70c-7dd89aaf92e2" providerId="ADAL" clId="{4135F918-74C3-4CE1-8908-CC8514647C79}" dt="2025-07-25T11:20:20.398" v="1648"/>
        <pc:sldMkLst>
          <pc:docMk/>
          <pc:sldMk cId="2641479769" sldId="2147483483"/>
        </pc:sldMkLst>
      </pc:sldChg>
      <pc:sldChg chg="addSp delSp modSp add mod ord modAnim modShow">
        <pc:chgData name="Julian Pauli" userId="610ac62b-222a-4de8-b70c-7dd89aaf92e2" providerId="ADAL" clId="{4135F918-74C3-4CE1-8908-CC8514647C79}" dt="2025-07-29T08:55:27.166" v="2110" actId="729"/>
        <pc:sldMkLst>
          <pc:docMk/>
          <pc:sldMk cId="414493101" sldId="2147483486"/>
        </pc:sldMkLst>
      </pc:sldChg>
      <pc:sldChg chg="new">
        <pc:chgData name="Julian Pauli" userId="610ac62b-222a-4de8-b70c-7dd89aaf92e2" providerId="ADAL" clId="{4135F918-74C3-4CE1-8908-CC8514647C79}" dt="2025-07-21T09:32:07.640" v="49" actId="680"/>
        <pc:sldMkLst>
          <pc:docMk/>
          <pc:sldMk cId="1271722362" sldId="2147483489"/>
        </pc:sldMkLst>
      </pc:sldChg>
      <pc:sldChg chg="modSp add mod ord modTransition">
        <pc:chgData name="Julian Pauli" userId="610ac62b-222a-4de8-b70c-7dd89aaf92e2" providerId="ADAL" clId="{4135F918-74C3-4CE1-8908-CC8514647C79}" dt="2025-07-31T08:38:36.882" v="2558" actId="6549"/>
        <pc:sldMkLst>
          <pc:docMk/>
          <pc:sldMk cId="2177105932" sldId="2147483512"/>
        </pc:sldMkLst>
        <pc:spChg chg="mod">
          <ac:chgData name="Julian Pauli" userId="610ac62b-222a-4de8-b70c-7dd89aaf92e2" providerId="ADAL" clId="{4135F918-74C3-4CE1-8908-CC8514647C79}" dt="2025-07-31T08:38:23.027" v="2554" actId="6549"/>
          <ac:spMkLst>
            <pc:docMk/>
            <pc:sldMk cId="2177105932" sldId="2147483512"/>
            <ac:spMk id="8" creationId="{AF3E971E-CC81-58EE-531F-7F7DD1BE9A40}"/>
          </ac:spMkLst>
        </pc:spChg>
        <pc:spChg chg="mod">
          <ac:chgData name="Julian Pauli" userId="610ac62b-222a-4de8-b70c-7dd89aaf92e2" providerId="ADAL" clId="{4135F918-74C3-4CE1-8908-CC8514647C79}" dt="2025-07-31T08:38:26.393" v="2555" actId="6549"/>
          <ac:spMkLst>
            <pc:docMk/>
            <pc:sldMk cId="2177105932" sldId="2147483512"/>
            <ac:spMk id="11" creationId="{4FA510DF-4820-C147-895C-061970618DF7}"/>
          </ac:spMkLst>
        </pc:spChg>
        <pc:spChg chg="mod">
          <ac:chgData name="Julian Pauli" userId="610ac62b-222a-4de8-b70c-7dd89aaf92e2" providerId="ADAL" clId="{4135F918-74C3-4CE1-8908-CC8514647C79}" dt="2025-07-31T08:38:30.670" v="2556" actId="6549"/>
          <ac:spMkLst>
            <pc:docMk/>
            <pc:sldMk cId="2177105932" sldId="2147483512"/>
            <ac:spMk id="13" creationId="{D20EE406-DAAF-57BD-F571-6EF01741CDDF}"/>
          </ac:spMkLst>
        </pc:spChg>
        <pc:spChg chg="mod">
          <ac:chgData name="Julian Pauli" userId="610ac62b-222a-4de8-b70c-7dd89aaf92e2" providerId="ADAL" clId="{4135F918-74C3-4CE1-8908-CC8514647C79}" dt="2025-07-31T08:38:36.882" v="2558" actId="6549"/>
          <ac:spMkLst>
            <pc:docMk/>
            <pc:sldMk cId="2177105932" sldId="2147483512"/>
            <ac:spMk id="20" creationId="{5A1FDA1D-9BD4-963C-0384-7E0C129CA1C1}"/>
          </ac:spMkLst>
        </pc:spChg>
        <pc:spChg chg="mod">
          <ac:chgData name="Julian Pauli" userId="610ac62b-222a-4de8-b70c-7dd89aaf92e2" providerId="ADAL" clId="{4135F918-74C3-4CE1-8908-CC8514647C79}" dt="2025-07-31T08:38:33.540" v="2557" actId="6549"/>
          <ac:spMkLst>
            <pc:docMk/>
            <pc:sldMk cId="2177105932" sldId="2147483512"/>
            <ac:spMk id="27" creationId="{11227C41-593C-2AFC-0A3F-708785DE9423}"/>
          </ac:spMkLst>
        </pc:spChg>
      </pc:sldChg>
      <pc:sldChg chg="add">
        <pc:chgData name="Julian Pauli" userId="610ac62b-222a-4de8-b70c-7dd89aaf92e2" providerId="ADAL" clId="{4135F918-74C3-4CE1-8908-CC8514647C79}" dt="2025-07-21T10:04:45.249" v="81"/>
        <pc:sldMkLst>
          <pc:docMk/>
          <pc:sldMk cId="2976669984" sldId="2147483513"/>
        </pc:sldMkLst>
      </pc:sldChg>
      <pc:sldChg chg="addSp modSp new mod ord">
        <pc:chgData name="Julian Pauli" userId="610ac62b-222a-4de8-b70c-7dd89aaf92e2" providerId="ADAL" clId="{4135F918-74C3-4CE1-8908-CC8514647C79}" dt="2025-07-21T10:57:38.726" v="90" actId="1076"/>
        <pc:sldMkLst>
          <pc:docMk/>
          <pc:sldMk cId="2109995941" sldId="2147483514"/>
        </pc:sldMkLst>
      </pc:sldChg>
      <pc:sldChg chg="add">
        <pc:chgData name="Julian Pauli" userId="610ac62b-222a-4de8-b70c-7dd89aaf92e2" providerId="ADAL" clId="{4135F918-74C3-4CE1-8908-CC8514647C79}" dt="2025-07-21T11:37:47.670" v="91"/>
        <pc:sldMkLst>
          <pc:docMk/>
          <pc:sldMk cId="2507289835" sldId="2147483515"/>
        </pc:sldMkLst>
      </pc:sldChg>
      <pc:sldChg chg="addSp modSp new del mod">
        <pc:chgData name="Julian Pauli" userId="610ac62b-222a-4de8-b70c-7dd89aaf92e2" providerId="ADAL" clId="{4135F918-74C3-4CE1-8908-CC8514647C79}" dt="2025-07-23T08:09:07.881" v="782" actId="47"/>
        <pc:sldMkLst>
          <pc:docMk/>
          <pc:sldMk cId="379365638" sldId="2147483516"/>
        </pc:sldMkLst>
      </pc:sldChg>
      <pc:sldChg chg="addSp modSp new mod">
        <pc:chgData name="Julian Pauli" userId="610ac62b-222a-4de8-b70c-7dd89aaf92e2" providerId="ADAL" clId="{4135F918-74C3-4CE1-8908-CC8514647C79}" dt="2025-07-21T12:14:36.727" v="100" actId="1076"/>
        <pc:sldMkLst>
          <pc:docMk/>
          <pc:sldMk cId="2341472340" sldId="2147483517"/>
        </pc:sldMkLst>
      </pc:sldChg>
      <pc:sldChg chg="addSp modSp new mod ord">
        <pc:chgData name="Julian Pauli" userId="610ac62b-222a-4de8-b70c-7dd89aaf92e2" providerId="ADAL" clId="{4135F918-74C3-4CE1-8908-CC8514647C79}" dt="2025-07-24T07:04:38.419" v="953" actId="27636"/>
        <pc:sldMkLst>
          <pc:docMk/>
          <pc:sldMk cId="2276872456" sldId="2147483518"/>
        </pc:sldMkLst>
      </pc:sldChg>
      <pc:sldChg chg="addSp delSp modSp new mod">
        <pc:chgData name="Julian Pauli" userId="610ac62b-222a-4de8-b70c-7dd89aaf92e2" providerId="ADAL" clId="{4135F918-74C3-4CE1-8908-CC8514647C79}" dt="2025-07-23T07:11:11.865" v="441" actId="20577"/>
        <pc:sldMkLst>
          <pc:docMk/>
          <pc:sldMk cId="1705694584" sldId="2147483519"/>
        </pc:sldMkLst>
      </pc:sldChg>
      <pc:sldChg chg="addSp modSp new mod">
        <pc:chgData name="Julian Pauli" userId="610ac62b-222a-4de8-b70c-7dd89aaf92e2" providerId="ADAL" clId="{4135F918-74C3-4CE1-8908-CC8514647C79}" dt="2025-07-21T13:01:19.308" v="391" actId="1076"/>
        <pc:sldMkLst>
          <pc:docMk/>
          <pc:sldMk cId="2107673721" sldId="2147483520"/>
        </pc:sldMkLst>
      </pc:sldChg>
      <pc:sldChg chg="addSp delSp modSp add mod">
        <pc:chgData name="Julian Pauli" userId="610ac62b-222a-4de8-b70c-7dd89aaf92e2" providerId="ADAL" clId="{4135F918-74C3-4CE1-8908-CC8514647C79}" dt="2025-07-23T07:35:13.135" v="551" actId="20577"/>
        <pc:sldMkLst>
          <pc:docMk/>
          <pc:sldMk cId="4192230647" sldId="2147483521"/>
        </pc:sldMkLst>
      </pc:sldChg>
      <pc:sldChg chg="addSp modSp new mod modTransition modAnim">
        <pc:chgData name="Julian Pauli" userId="610ac62b-222a-4de8-b70c-7dd89aaf92e2" providerId="ADAL" clId="{4135F918-74C3-4CE1-8908-CC8514647C79}" dt="2025-07-29T09:12:53.640" v="2200" actId="20577"/>
        <pc:sldMkLst>
          <pc:docMk/>
          <pc:sldMk cId="2243603326" sldId="2147483522"/>
        </pc:sldMkLst>
        <pc:spChg chg="add mod">
          <ac:chgData name="Julian Pauli" userId="610ac62b-222a-4de8-b70c-7dd89aaf92e2" providerId="ADAL" clId="{4135F918-74C3-4CE1-8908-CC8514647C79}" dt="2025-07-29T09:12:53.640" v="2200" actId="20577"/>
          <ac:spMkLst>
            <pc:docMk/>
            <pc:sldMk cId="2243603326" sldId="2147483522"/>
            <ac:spMk id="12" creationId="{5D0AC1F4-A254-17B5-5CCF-B4C7E6B9CC44}"/>
          </ac:spMkLst>
        </pc:spChg>
      </pc:sldChg>
      <pc:sldChg chg="addSp delSp modSp new mod modTransition delAnim modAnim">
        <pc:chgData name="Julian Pauli" userId="610ac62b-222a-4de8-b70c-7dd89aaf92e2" providerId="ADAL" clId="{4135F918-74C3-4CE1-8908-CC8514647C79}" dt="2025-07-31T08:49:49.442" v="2689" actId="478"/>
        <pc:sldMkLst>
          <pc:docMk/>
          <pc:sldMk cId="96721266" sldId="2147483523"/>
        </pc:sldMkLst>
        <pc:spChg chg="add mod">
          <ac:chgData name="Julian Pauli" userId="610ac62b-222a-4de8-b70c-7dd89aaf92e2" providerId="ADAL" clId="{4135F918-74C3-4CE1-8908-CC8514647C79}" dt="2025-07-31T08:45:28.473" v="2636" actId="255"/>
          <ac:spMkLst>
            <pc:docMk/>
            <pc:sldMk cId="96721266" sldId="2147483523"/>
            <ac:spMk id="9" creationId="{98A41547-2B67-1B74-02BA-36FEEEC17D93}"/>
          </ac:spMkLst>
        </pc:spChg>
        <pc:spChg chg="add mod">
          <ac:chgData name="Julian Pauli" userId="610ac62b-222a-4de8-b70c-7dd89aaf92e2" providerId="ADAL" clId="{4135F918-74C3-4CE1-8908-CC8514647C79}" dt="2025-07-31T08:46:18.603" v="2645" actId="403"/>
          <ac:spMkLst>
            <pc:docMk/>
            <pc:sldMk cId="96721266" sldId="2147483523"/>
            <ac:spMk id="11" creationId="{B31CE8BF-7AE3-2819-FE65-081E188CE9D7}"/>
          </ac:spMkLst>
        </pc:spChg>
        <pc:spChg chg="add mod">
          <ac:chgData name="Julian Pauli" userId="610ac62b-222a-4de8-b70c-7dd89aaf92e2" providerId="ADAL" clId="{4135F918-74C3-4CE1-8908-CC8514647C79}" dt="2025-07-31T08:48:22.317" v="2670" actId="20578"/>
          <ac:spMkLst>
            <pc:docMk/>
            <pc:sldMk cId="96721266" sldId="2147483523"/>
            <ac:spMk id="13" creationId="{26DEDB58-2AA9-D334-94AE-9EE5B2AB38F3}"/>
          </ac:spMkLst>
        </pc:spChg>
        <pc:spChg chg="add mod">
          <ac:chgData name="Julian Pauli" userId="610ac62b-222a-4de8-b70c-7dd89aaf92e2" providerId="ADAL" clId="{4135F918-74C3-4CE1-8908-CC8514647C79}" dt="2025-07-31T08:43:43.267" v="2602" actId="108"/>
          <ac:spMkLst>
            <pc:docMk/>
            <pc:sldMk cId="96721266" sldId="2147483523"/>
            <ac:spMk id="22" creationId="{0CE971E6-3B2D-3E59-4C94-84F39A1A2103}"/>
          </ac:spMkLst>
        </pc:spChg>
        <pc:spChg chg="add mod">
          <ac:chgData name="Julian Pauli" userId="610ac62b-222a-4de8-b70c-7dd89aaf92e2" providerId="ADAL" clId="{4135F918-74C3-4CE1-8908-CC8514647C79}" dt="2025-07-31T08:43:33.618" v="2600"/>
          <ac:spMkLst>
            <pc:docMk/>
            <pc:sldMk cId="96721266" sldId="2147483523"/>
            <ac:spMk id="23" creationId="{8DFFF25A-FA2E-822B-CB0B-B728B8AAECEE}"/>
          </ac:spMkLst>
        </pc:spChg>
        <pc:spChg chg="add mod">
          <ac:chgData name="Julian Pauli" userId="610ac62b-222a-4de8-b70c-7dd89aaf92e2" providerId="ADAL" clId="{4135F918-74C3-4CE1-8908-CC8514647C79}" dt="2025-07-31T08:42:37.938" v="2594" actId="20577"/>
          <ac:spMkLst>
            <pc:docMk/>
            <pc:sldMk cId="96721266" sldId="2147483523"/>
            <ac:spMk id="24" creationId="{C1F8DCB9-4314-FFE6-D474-D1ABB15A3594}"/>
          </ac:spMkLst>
        </pc:spChg>
        <pc:spChg chg="add mod">
          <ac:chgData name="Julian Pauli" userId="610ac62b-222a-4de8-b70c-7dd89aaf92e2" providerId="ADAL" clId="{4135F918-74C3-4CE1-8908-CC8514647C79}" dt="2025-07-31T08:49:42.805" v="2688" actId="20577"/>
          <ac:spMkLst>
            <pc:docMk/>
            <pc:sldMk cId="96721266" sldId="2147483523"/>
            <ac:spMk id="25" creationId="{FAE9AB1C-938E-A93B-FDFB-62A64052A4DE}"/>
          </ac:spMkLst>
        </pc:spChg>
      </pc:sldChg>
      <pc:sldChg chg="addSp modSp new mod ord modTransition">
        <pc:chgData name="Julian Pauli" userId="610ac62b-222a-4de8-b70c-7dd89aaf92e2" providerId="ADAL" clId="{4135F918-74C3-4CE1-8908-CC8514647C79}" dt="2025-07-29T13:46:58.035" v="2452" actId="20577"/>
        <pc:sldMkLst>
          <pc:docMk/>
          <pc:sldMk cId="4188476466" sldId="2147483524"/>
        </pc:sldMkLst>
      </pc:sldChg>
      <pc:sldChg chg="add ord modAnim">
        <pc:chgData name="Julian Pauli" userId="610ac62b-222a-4de8-b70c-7dd89aaf92e2" providerId="ADAL" clId="{4135F918-74C3-4CE1-8908-CC8514647C79}" dt="2025-07-23T08:06:21.451" v="769"/>
        <pc:sldMkLst>
          <pc:docMk/>
          <pc:sldMk cId="2843648878" sldId="2147483525"/>
        </pc:sldMkLst>
      </pc:sldChg>
      <pc:sldChg chg="new del">
        <pc:chgData name="Julian Pauli" userId="610ac62b-222a-4de8-b70c-7dd89aaf92e2" providerId="ADAL" clId="{4135F918-74C3-4CE1-8908-CC8514647C79}" dt="2025-07-23T08:08:41.639" v="773" actId="47"/>
        <pc:sldMkLst>
          <pc:docMk/>
          <pc:sldMk cId="656275437" sldId="2147483526"/>
        </pc:sldMkLst>
      </pc:sldChg>
      <pc:sldChg chg="addSp modSp new mod ord modShow">
        <pc:chgData name="Julian Pauli" userId="610ac62b-222a-4de8-b70c-7dd89aaf92e2" providerId="ADAL" clId="{4135F918-74C3-4CE1-8908-CC8514647C79}" dt="2025-07-23T08:08:58.378" v="781" actId="729"/>
        <pc:sldMkLst>
          <pc:docMk/>
          <pc:sldMk cId="2185421232" sldId="2147483527"/>
        </pc:sldMkLst>
      </pc:sldChg>
      <pc:sldChg chg="addSp delSp modSp add mod modShow">
        <pc:chgData name="Julian Pauli" userId="610ac62b-222a-4de8-b70c-7dd89aaf92e2" providerId="ADAL" clId="{4135F918-74C3-4CE1-8908-CC8514647C79}" dt="2025-07-25T09:41:28.098" v="1452" actId="729"/>
        <pc:sldMkLst>
          <pc:docMk/>
          <pc:sldMk cId="539561129" sldId="2147483528"/>
        </pc:sldMkLst>
      </pc:sldChg>
      <pc:sldChg chg="modSp new mod">
        <pc:chgData name="Julian Pauli" userId="610ac62b-222a-4de8-b70c-7dd89aaf92e2" providerId="ADAL" clId="{4135F918-74C3-4CE1-8908-CC8514647C79}" dt="2025-07-23T08:53:16.024" v="942" actId="20577"/>
        <pc:sldMkLst>
          <pc:docMk/>
          <pc:sldMk cId="3941885776" sldId="2147483529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0"/>
        </pc:sldMkLst>
      </pc:sldChg>
      <pc:sldChg chg="modSp add mod">
        <pc:chgData name="Julian Pauli" userId="610ac62b-222a-4de8-b70c-7dd89aaf92e2" providerId="ADAL" clId="{4135F918-74C3-4CE1-8908-CC8514647C79}" dt="2025-07-23T08:55:09.399" v="946" actId="27636"/>
        <pc:sldMkLst>
          <pc:docMk/>
          <pc:sldMk cId="0" sldId="2147483531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2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3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4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5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6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7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8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39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0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1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2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3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4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5"/>
        </pc:sldMkLst>
      </pc:sldChg>
      <pc:sldChg chg="add">
        <pc:chgData name="Julian Pauli" userId="610ac62b-222a-4de8-b70c-7dd89aaf92e2" providerId="ADAL" clId="{4135F918-74C3-4CE1-8908-CC8514647C79}" dt="2025-07-23T08:55:09.311" v="945"/>
        <pc:sldMkLst>
          <pc:docMk/>
          <pc:sldMk cId="0" sldId="2147483546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0" sldId="2147483547"/>
        </pc:sldMkLst>
      </pc:sldChg>
      <pc:sldChg chg="add">
        <pc:chgData name="Julian Pauli" userId="610ac62b-222a-4de8-b70c-7dd89aaf92e2" providerId="ADAL" clId="{4135F918-74C3-4CE1-8908-CC8514647C79}" dt="2025-07-25T08:41:23.715" v="954"/>
        <pc:sldMkLst>
          <pc:docMk/>
          <pc:sldMk cId="1200628038" sldId="2147483548"/>
        </pc:sldMkLst>
      </pc:sldChg>
      <pc:sldChg chg="addSp delSp modSp new del mod ord modShow">
        <pc:chgData name="Julian Pauli" userId="610ac62b-222a-4de8-b70c-7dd89aaf92e2" providerId="ADAL" clId="{4135F918-74C3-4CE1-8908-CC8514647C79}" dt="2025-07-25T11:20:30.501" v="1649" actId="47"/>
        <pc:sldMkLst>
          <pc:docMk/>
          <pc:sldMk cId="689876403" sldId="2147483549"/>
        </pc:sldMkLst>
      </pc:sldChg>
      <pc:sldChg chg="addSp delSp modSp add mod modTransition modAnim">
        <pc:chgData name="Julian Pauli" userId="610ac62b-222a-4de8-b70c-7dd89aaf92e2" providerId="ADAL" clId="{4135F918-74C3-4CE1-8908-CC8514647C79}" dt="2025-07-31T08:39:44.768" v="2571" actId="20577"/>
        <pc:sldMkLst>
          <pc:docMk/>
          <pc:sldMk cId="98186882" sldId="2147483550"/>
        </pc:sldMkLst>
        <pc:spChg chg="mod topLvl">
          <ac:chgData name="Julian Pauli" userId="610ac62b-222a-4de8-b70c-7dd89aaf92e2" providerId="ADAL" clId="{4135F918-74C3-4CE1-8908-CC8514647C79}" dt="2025-07-31T08:39:44.768" v="2571" actId="20577"/>
          <ac:spMkLst>
            <pc:docMk/>
            <pc:sldMk cId="98186882" sldId="2147483550"/>
            <ac:spMk id="19" creationId="{B114CD5A-F0B4-DD09-4A3E-9B9E7F40855A}"/>
          </ac:spMkLst>
        </pc:spChg>
      </pc:sldChg>
      <pc:sldChg chg="addSp delSp modSp add del mod ord modTransition modShow">
        <pc:chgData name="Julian Pauli" userId="610ac62b-222a-4de8-b70c-7dd89aaf92e2" providerId="ADAL" clId="{4135F918-74C3-4CE1-8908-CC8514647C79}" dt="2025-07-29T09:10:12.079" v="2196" actId="47"/>
        <pc:sldMkLst>
          <pc:docMk/>
          <pc:sldMk cId="2213871652" sldId="2147483551"/>
        </pc:sldMkLst>
      </pc:sldChg>
      <pc:sldChg chg="add del mod ord modShow">
        <pc:chgData name="Julian Pauli" userId="610ac62b-222a-4de8-b70c-7dd89aaf92e2" providerId="ADAL" clId="{4135F918-74C3-4CE1-8908-CC8514647C79}" dt="2025-07-25T09:40:03.645" v="1432" actId="47"/>
        <pc:sldMkLst>
          <pc:docMk/>
          <pc:sldMk cId="783759956" sldId="2147483552"/>
        </pc:sldMkLst>
      </pc:sldChg>
      <pc:sldChg chg="modSp add modTransition">
        <pc:chgData name="Julian Pauli" userId="610ac62b-222a-4de8-b70c-7dd89aaf92e2" providerId="ADAL" clId="{4135F918-74C3-4CE1-8908-CC8514647C79}" dt="2025-07-25T11:13:10.211" v="1612"/>
        <pc:sldMkLst>
          <pc:docMk/>
          <pc:sldMk cId="3031947959" sldId="2147483553"/>
        </pc:sldMkLst>
      </pc:sldChg>
      <pc:sldChg chg="modSp new mod">
        <pc:chgData name="Julian Pauli" userId="610ac62b-222a-4de8-b70c-7dd89aaf92e2" providerId="ADAL" clId="{4135F918-74C3-4CE1-8908-CC8514647C79}" dt="2025-07-29T13:46:39.633" v="2436" actId="20577"/>
        <pc:sldMkLst>
          <pc:docMk/>
          <pc:sldMk cId="964437742" sldId="2147483554"/>
        </pc:sldMkLst>
      </pc:sldChg>
      <pc:sldChg chg="delSp modSp add mod modShow">
        <pc:chgData name="Julian Pauli" userId="610ac62b-222a-4de8-b70c-7dd89aaf92e2" providerId="ADAL" clId="{4135F918-74C3-4CE1-8908-CC8514647C79}" dt="2025-07-29T08:32:18.828" v="1891" actId="729"/>
        <pc:sldMkLst>
          <pc:docMk/>
          <pc:sldMk cId="2814291626" sldId="2147483555"/>
        </pc:sldMkLst>
      </pc:sldChg>
      <pc:sldChg chg="addSp modSp new del mod modTransition modShow">
        <pc:chgData name="Julian Pauli" userId="610ac62b-222a-4de8-b70c-7dd89aaf92e2" providerId="ADAL" clId="{4135F918-74C3-4CE1-8908-CC8514647C79}" dt="2025-07-29T09:14:50.516" v="2204" actId="47"/>
        <pc:sldMkLst>
          <pc:docMk/>
          <pc:sldMk cId="3541431790" sldId="2147483556"/>
        </pc:sldMkLst>
      </pc:sldChg>
      <pc:sldChg chg="addSp delSp modSp new del mod">
        <pc:chgData name="Julian Pauli" userId="610ac62b-222a-4de8-b70c-7dd89aaf92e2" providerId="ADAL" clId="{4135F918-74C3-4CE1-8908-CC8514647C79}" dt="2025-07-29T08:21:12.087" v="1676" actId="27022"/>
        <pc:sldMkLst>
          <pc:docMk/>
          <pc:sldMk cId="1171992770" sldId="2147483557"/>
        </pc:sldMkLst>
      </pc:sldChg>
      <pc:sldChg chg="addSp delSp modSp add mod modTransition delAnim modAnim modShow">
        <pc:chgData name="Julian Pauli" userId="610ac62b-222a-4de8-b70c-7dd89aaf92e2" providerId="ADAL" clId="{4135F918-74C3-4CE1-8908-CC8514647C79}" dt="2025-07-29T08:55:27.166" v="2110" actId="729"/>
        <pc:sldMkLst>
          <pc:docMk/>
          <pc:sldMk cId="1835234060" sldId="2147483557"/>
        </pc:sldMkLst>
      </pc:sldChg>
      <pc:sldChg chg="delSp modSp add del mod modAnim">
        <pc:chgData name="Julian Pauli" userId="610ac62b-222a-4de8-b70c-7dd89aaf92e2" providerId="ADAL" clId="{4135F918-74C3-4CE1-8908-CC8514647C79}" dt="2025-07-29T08:30:59.764" v="1889" actId="47"/>
        <pc:sldMkLst>
          <pc:docMk/>
          <pc:sldMk cId="778957692" sldId="2147483558"/>
        </pc:sldMkLst>
      </pc:sldChg>
      <pc:sldChg chg="addSp delSp modSp add del mod ord modTransition modAnim modShow">
        <pc:chgData name="Julian Pauli" userId="610ac62b-222a-4de8-b70c-7dd89aaf92e2" providerId="ADAL" clId="{4135F918-74C3-4CE1-8908-CC8514647C79}" dt="2025-07-29T10:48:59.729" v="2384" actId="47"/>
        <pc:sldMkLst>
          <pc:docMk/>
          <pc:sldMk cId="460871237" sldId="2147483559"/>
        </pc:sldMkLst>
      </pc:sldChg>
      <pc:sldChg chg="addSp delSp modSp add mod modTransition delAnim modAnim modShow">
        <pc:chgData name="Julian Pauli" userId="610ac62b-222a-4de8-b70c-7dd89aaf92e2" providerId="ADAL" clId="{4135F918-74C3-4CE1-8908-CC8514647C79}" dt="2025-07-29T08:55:27.166" v="2110" actId="729"/>
        <pc:sldMkLst>
          <pc:docMk/>
          <pc:sldMk cId="1682598981" sldId="2147483560"/>
        </pc:sldMkLst>
        <pc:spChg chg="add mod">
          <ac:chgData name="Julian Pauli" userId="610ac62b-222a-4de8-b70c-7dd89aaf92e2" providerId="ADAL" clId="{4135F918-74C3-4CE1-8908-CC8514647C79}" dt="2025-07-29T08:43:23.271" v="2039"/>
          <ac:spMkLst>
            <pc:docMk/>
            <pc:sldMk cId="1682598981" sldId="2147483560"/>
            <ac:spMk id="42" creationId="{C5C30F4D-16B2-8393-3C18-35A5DDBD2FE8}"/>
          </ac:spMkLst>
        </pc:spChg>
        <pc:spChg chg="add mod">
          <ac:chgData name="Julian Pauli" userId="610ac62b-222a-4de8-b70c-7dd89aaf92e2" providerId="ADAL" clId="{4135F918-74C3-4CE1-8908-CC8514647C79}" dt="2025-07-29T08:43:23.271" v="2039"/>
          <ac:spMkLst>
            <pc:docMk/>
            <pc:sldMk cId="1682598981" sldId="2147483560"/>
            <ac:spMk id="43" creationId="{397BEF4E-D8CB-B97D-DAD1-868587342BB4}"/>
          </ac:spMkLst>
        </pc:spChg>
        <pc:spChg chg="add mod">
          <ac:chgData name="Julian Pauli" userId="610ac62b-222a-4de8-b70c-7dd89aaf92e2" providerId="ADAL" clId="{4135F918-74C3-4CE1-8908-CC8514647C79}" dt="2025-07-29T08:43:23.271" v="2039"/>
          <ac:spMkLst>
            <pc:docMk/>
            <pc:sldMk cId="1682598981" sldId="2147483560"/>
            <ac:spMk id="44" creationId="{8DB274E8-4D36-CDE7-35F4-793711CDAC21}"/>
          </ac:spMkLst>
        </pc:spChg>
        <pc:spChg chg="mod">
          <ac:chgData name="Julian Pauli" userId="610ac62b-222a-4de8-b70c-7dd89aaf92e2" providerId="ADAL" clId="{4135F918-74C3-4CE1-8908-CC8514647C79}" dt="2025-07-29T08:43:23.271" v="2039"/>
          <ac:spMkLst>
            <pc:docMk/>
            <pc:sldMk cId="1682598981" sldId="2147483560"/>
            <ac:spMk id="46" creationId="{D528489C-0AB7-FDCE-7EBB-109C14771640}"/>
          </ac:spMkLst>
        </pc:spChg>
      </pc:sldChg>
      <pc:sldChg chg="addSp delSp modSp add del mod modTransition delAnim modAnim modShow">
        <pc:chgData name="Julian Pauli" userId="610ac62b-222a-4de8-b70c-7dd89aaf92e2" providerId="ADAL" clId="{4135F918-74C3-4CE1-8908-CC8514647C79}" dt="2025-07-29T09:10:05.686" v="2195" actId="47"/>
        <pc:sldMkLst>
          <pc:docMk/>
          <pc:sldMk cId="1639681187" sldId="2147483561"/>
        </pc:sldMkLst>
      </pc:sldChg>
      <pc:sldChg chg="addSp delSp modSp add mod ord delAnim modAnim modShow">
        <pc:chgData name="Julian Pauli" userId="610ac62b-222a-4de8-b70c-7dd89aaf92e2" providerId="ADAL" clId="{4135F918-74C3-4CE1-8908-CC8514647C79}" dt="2025-07-29T09:53:18.154" v="2377"/>
        <pc:sldMkLst>
          <pc:docMk/>
          <pc:sldMk cId="392164052" sldId="2147483562"/>
        </pc:sldMkLst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0" creationId="{5AEDBA96-4DF3-6973-1713-557EBF763858}"/>
          </ac:spMkLst>
        </pc:spChg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1" creationId="{740599AC-8F89-4B9F-CF9A-1CCC4ABBE540}"/>
          </ac:spMkLst>
        </pc:spChg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2" creationId="{3F9CFF9F-4AB9-11C9-32BE-DDEBEC8A9F6F}"/>
          </ac:spMkLst>
        </pc:spChg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7" creationId="{6F24F714-3DC4-87FD-E697-02E0701214F1}"/>
          </ac:spMkLst>
        </pc:spChg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8" creationId="{2F0D14F5-08C0-378E-B3F0-9BB1B6F5A439}"/>
          </ac:spMkLst>
        </pc:spChg>
        <pc:spChg chg="mod">
          <ac:chgData name="Julian Pauli" userId="610ac62b-222a-4de8-b70c-7dd89aaf92e2" providerId="ADAL" clId="{4135F918-74C3-4CE1-8908-CC8514647C79}" dt="2025-07-29T08:59:18.416" v="2140" actId="1037"/>
          <ac:spMkLst>
            <pc:docMk/>
            <pc:sldMk cId="392164052" sldId="2147483562"/>
            <ac:spMk id="19" creationId="{CC90C65D-2652-E944-8566-8159976F94B5}"/>
          </ac:spMkLst>
        </pc:spChg>
      </pc:sldChg>
      <pc:sldChg chg="delSp add mod modAnim modShow">
        <pc:chgData name="Julian Pauli" userId="610ac62b-222a-4de8-b70c-7dd89aaf92e2" providerId="ADAL" clId="{4135F918-74C3-4CE1-8908-CC8514647C79}" dt="2025-07-29T08:55:27.166" v="2110" actId="729"/>
        <pc:sldMkLst>
          <pc:docMk/>
          <pc:sldMk cId="3118624984" sldId="2147483563"/>
        </pc:sldMkLst>
      </pc:sldChg>
      <pc:sldChg chg="add mod modAnim modShow">
        <pc:chgData name="Julian Pauli" userId="610ac62b-222a-4de8-b70c-7dd89aaf92e2" providerId="ADAL" clId="{4135F918-74C3-4CE1-8908-CC8514647C79}" dt="2025-07-29T09:21:58.409" v="2360" actId="729"/>
        <pc:sldMkLst>
          <pc:docMk/>
          <pc:sldMk cId="1701524443" sldId="2147483564"/>
        </pc:sldMkLst>
      </pc:sldChg>
      <pc:sldChg chg="delSp add mod ord modShow">
        <pc:chgData name="Julian Pauli" userId="610ac62b-222a-4de8-b70c-7dd89aaf92e2" providerId="ADAL" clId="{4135F918-74C3-4CE1-8908-CC8514647C79}" dt="2025-07-31T08:36:25.541" v="2549" actId="729"/>
        <pc:sldMkLst>
          <pc:docMk/>
          <pc:sldMk cId="3452130621" sldId="2147483565"/>
        </pc:sldMkLst>
      </pc:sldChg>
      <pc:sldChg chg="add mod ord modShow">
        <pc:chgData name="Julian Pauli" userId="610ac62b-222a-4de8-b70c-7dd89aaf92e2" providerId="ADAL" clId="{4135F918-74C3-4CE1-8908-CC8514647C79}" dt="2025-07-29T09:14:43.884" v="2203" actId="729"/>
        <pc:sldMkLst>
          <pc:docMk/>
          <pc:sldMk cId="1104952442" sldId="2147483566"/>
        </pc:sldMkLst>
      </pc:sldChg>
      <pc:sldChg chg="addSp delSp modSp new mod modTransition delAnim modAnim modShow">
        <pc:chgData name="Julian Pauli" userId="610ac62b-222a-4de8-b70c-7dd89aaf92e2" providerId="ADAL" clId="{4135F918-74C3-4CE1-8908-CC8514647C79}" dt="2025-07-31T08:36:25.541" v="2549" actId="729"/>
        <pc:sldMkLst>
          <pc:docMk/>
          <pc:sldMk cId="4071125635" sldId="2147483567"/>
        </pc:sldMkLst>
      </pc:sldChg>
      <pc:sldChg chg="delSp add mod ord modTransition modShow">
        <pc:chgData name="Julian Pauli" userId="610ac62b-222a-4de8-b70c-7dd89aaf92e2" providerId="ADAL" clId="{4135F918-74C3-4CE1-8908-CC8514647C79}" dt="2025-07-31T08:36:25.541" v="2549" actId="729"/>
        <pc:sldMkLst>
          <pc:docMk/>
          <pc:sldMk cId="3903365006" sldId="2147483568"/>
        </pc:sldMkLst>
      </pc:sldChg>
      <pc:sldChg chg="delSp modSp add mod ord modTransition modShow">
        <pc:chgData name="Julian Pauli" userId="610ac62b-222a-4de8-b70c-7dd89aaf92e2" providerId="ADAL" clId="{4135F918-74C3-4CE1-8908-CC8514647C79}" dt="2025-07-31T08:36:25.541" v="2549" actId="729"/>
        <pc:sldMkLst>
          <pc:docMk/>
          <pc:sldMk cId="1833630641" sldId="2147483569"/>
        </pc:sldMkLst>
      </pc:sldChg>
      <pc:sldChg chg="addSp delSp modSp add mod delAnim modAnim">
        <pc:chgData name="Julian Pauli" userId="610ac62b-222a-4de8-b70c-7dd89aaf92e2" providerId="ADAL" clId="{4135F918-74C3-4CE1-8908-CC8514647C79}" dt="2025-07-29T09:22:44.699" v="2363"/>
        <pc:sldMkLst>
          <pc:docMk/>
          <pc:sldMk cId="1608907843" sldId="2147483570"/>
        </pc:sldMkLst>
      </pc:sldChg>
      <pc:sldChg chg="addSp modSp new del mod">
        <pc:chgData name="Julian Pauli" userId="610ac62b-222a-4de8-b70c-7dd89aaf92e2" providerId="ADAL" clId="{4135F918-74C3-4CE1-8908-CC8514647C79}" dt="2025-07-29T09:25:13.351" v="2367" actId="47"/>
        <pc:sldMkLst>
          <pc:docMk/>
          <pc:sldMk cId="2905429201" sldId="2147483571"/>
        </pc:sldMkLst>
      </pc:sldChg>
      <pc:sldChg chg="addSp modSp new del mod modShow">
        <pc:chgData name="Julian Pauli" userId="610ac62b-222a-4de8-b70c-7dd89aaf92e2" providerId="ADAL" clId="{4135F918-74C3-4CE1-8908-CC8514647C79}" dt="2025-07-30T11:23:46.383" v="2499" actId="47"/>
        <pc:sldMkLst>
          <pc:docMk/>
          <pc:sldMk cId="3853136646" sldId="2147483572"/>
        </pc:sldMkLst>
      </pc:sldChg>
      <pc:sldChg chg="addSp delSp modSp add mod">
        <pc:chgData name="Julian Pauli" userId="610ac62b-222a-4de8-b70c-7dd89aaf92e2" providerId="ADAL" clId="{4135F918-74C3-4CE1-8908-CC8514647C79}" dt="2025-07-31T08:35:10.802" v="2512" actId="14100"/>
        <pc:sldMkLst>
          <pc:docMk/>
          <pc:sldMk cId="1673978823" sldId="2147483573"/>
        </pc:sldMkLst>
      </pc:sldChg>
      <pc:sldChg chg="modSp add mod">
        <pc:chgData name="Julian Pauli" userId="610ac62b-222a-4de8-b70c-7dd89aaf92e2" providerId="ADAL" clId="{4135F918-74C3-4CE1-8908-CC8514647C79}" dt="2025-07-30T11:21:52.607" v="2498" actId="13926"/>
        <pc:sldMkLst>
          <pc:docMk/>
          <pc:sldMk cId="625415661" sldId="2147483600"/>
        </pc:sldMkLst>
        <pc:spChg chg="mod">
          <ac:chgData name="Julian Pauli" userId="610ac62b-222a-4de8-b70c-7dd89aaf92e2" providerId="ADAL" clId="{4135F918-74C3-4CE1-8908-CC8514647C79}" dt="2025-07-30T11:21:50.653" v="2497" actId="13926"/>
          <ac:spMkLst>
            <pc:docMk/>
            <pc:sldMk cId="625415661" sldId="2147483600"/>
            <ac:spMk id="89" creationId="{094013C4-640A-F42B-7D0E-EFF6721450FB}"/>
          </ac:spMkLst>
        </pc:spChg>
      </pc:sldChg>
      <pc:sldChg chg="add">
        <pc:chgData name="Julian Pauli" userId="610ac62b-222a-4de8-b70c-7dd89aaf92e2" providerId="ADAL" clId="{4135F918-74C3-4CE1-8908-CC8514647C79}" dt="2025-07-30T11:21:42.483" v="2495"/>
        <pc:sldMkLst>
          <pc:docMk/>
          <pc:sldMk cId="2883481005" sldId="2147483601"/>
        </pc:sldMkLst>
      </pc:sldChg>
      <pc:sldChg chg="add modAnim">
        <pc:chgData name="Julian Pauli" userId="610ac62b-222a-4de8-b70c-7dd89aaf92e2" providerId="ADAL" clId="{4135F918-74C3-4CE1-8908-CC8514647C79}" dt="2025-07-31T08:36:33.626" v="2551"/>
        <pc:sldMkLst>
          <pc:docMk/>
          <pc:sldMk cId="853041227" sldId="2147483602"/>
        </pc:sldMkLst>
      </pc:sldChg>
      <pc:sldChg chg="add ord modAnim">
        <pc:chgData name="Julian Pauli" userId="610ac62b-222a-4de8-b70c-7dd89aaf92e2" providerId="ADAL" clId="{4135F918-74C3-4CE1-8908-CC8514647C79}" dt="2025-07-31T08:36:30.134" v="2550"/>
        <pc:sldMkLst>
          <pc:docMk/>
          <pc:sldMk cId="1713765351" sldId="2147483603"/>
        </pc:sldMkLst>
      </pc:sldChg>
      <pc:sldChg chg="delSp modSp add mod">
        <pc:chgData name="Julian Pauli" userId="610ac62b-222a-4de8-b70c-7dd89aaf92e2" providerId="ADAL" clId="{4135F918-74C3-4CE1-8908-CC8514647C79}" dt="2025-07-31T08:35:27.325" v="2548" actId="1037"/>
        <pc:sldMkLst>
          <pc:docMk/>
          <pc:sldMk cId="4266279863" sldId="2147483604"/>
        </pc:sldMkLst>
      </pc:sldChg>
      <pc:sldChg chg="add mod modShow">
        <pc:chgData name="Julian Pauli" userId="610ac62b-222a-4de8-b70c-7dd89aaf92e2" providerId="ADAL" clId="{4135F918-74C3-4CE1-8908-CC8514647C79}" dt="2025-07-31T08:38:42.737" v="2559" actId="729"/>
        <pc:sldMkLst>
          <pc:docMk/>
          <pc:sldMk cId="3052960002" sldId="2147483605"/>
        </pc:sldMkLst>
      </pc:sldChg>
    </pc:docChg>
  </pc:docChgLst>
  <pc:docChgLst>
    <pc:chgData name="Julian Pauli" userId="610ac62b-222a-4de8-b70c-7dd89aaf92e2" providerId="ADAL" clId="{233B4F75-62BD-436E-90A8-36D467025E2C}"/>
    <pc:docChg chg="undo custSel addSld delSld modSld sldOrd modSection">
      <pc:chgData name="Julian Pauli" userId="610ac62b-222a-4de8-b70c-7dd89aaf92e2" providerId="ADAL" clId="{233B4F75-62BD-436E-90A8-36D467025E2C}" dt="2025-08-20T08:30:16.410" v="284" actId="20577"/>
      <pc:docMkLst>
        <pc:docMk/>
      </pc:docMkLst>
      <pc:sldChg chg="delSp mod">
        <pc:chgData name="Julian Pauli" userId="610ac62b-222a-4de8-b70c-7dd89aaf92e2" providerId="ADAL" clId="{233B4F75-62BD-436E-90A8-36D467025E2C}" dt="2025-08-20T07:57:38.372" v="245" actId="478"/>
        <pc:sldMkLst>
          <pc:docMk/>
          <pc:sldMk cId="3388502211" sldId="2147376502"/>
        </pc:sldMkLst>
      </pc:sldChg>
      <pc:sldChg chg="modSp mod">
        <pc:chgData name="Julian Pauli" userId="610ac62b-222a-4de8-b70c-7dd89aaf92e2" providerId="ADAL" clId="{233B4F75-62BD-436E-90A8-36D467025E2C}" dt="2025-08-19T09:17:00.676" v="152" actId="20577"/>
        <pc:sldMkLst>
          <pc:docMk/>
          <pc:sldMk cId="4140062320" sldId="2147376554"/>
        </pc:sldMkLst>
        <pc:spChg chg="mod">
          <ac:chgData name="Julian Pauli" userId="610ac62b-222a-4de8-b70c-7dd89aaf92e2" providerId="ADAL" clId="{233B4F75-62BD-436E-90A8-36D467025E2C}" dt="2025-08-19T09:17:00.676" v="152" actId="20577"/>
          <ac:spMkLst>
            <pc:docMk/>
            <pc:sldMk cId="4140062320" sldId="2147376554"/>
            <ac:spMk id="3" creationId="{372CC323-9261-00E6-D7B4-DF172DCE0039}"/>
          </ac:spMkLst>
        </pc:spChg>
      </pc:sldChg>
      <pc:sldChg chg="del">
        <pc:chgData name="Julian Pauli" userId="610ac62b-222a-4de8-b70c-7dd89aaf92e2" providerId="ADAL" clId="{233B4F75-62BD-436E-90A8-36D467025E2C}" dt="2025-08-19T09:13:29.497" v="150" actId="2696"/>
        <pc:sldMkLst>
          <pc:docMk/>
          <pc:sldMk cId="2276872456" sldId="2147483518"/>
        </pc:sldMkLst>
      </pc:sldChg>
      <pc:sldChg chg="add">
        <pc:chgData name="Julian Pauli" userId="610ac62b-222a-4de8-b70c-7dd89aaf92e2" providerId="ADAL" clId="{233B4F75-62BD-436E-90A8-36D467025E2C}" dt="2025-08-19T09:13:35.223" v="151"/>
        <pc:sldMkLst>
          <pc:docMk/>
          <pc:sldMk cId="2660373480" sldId="2147483518"/>
        </pc:sldMkLst>
      </pc:sldChg>
      <pc:sldChg chg="mod modShow">
        <pc:chgData name="Julian Pauli" userId="610ac62b-222a-4de8-b70c-7dd89aaf92e2" providerId="ADAL" clId="{233B4F75-62BD-436E-90A8-36D467025E2C}" dt="2025-08-19T09:21:56.730" v="238" actId="729"/>
        <pc:sldMkLst>
          <pc:docMk/>
          <pc:sldMk cId="2243603326" sldId="2147483522"/>
        </pc:sldMkLst>
      </pc:sldChg>
      <pc:sldChg chg="modSp mod">
        <pc:chgData name="Julian Pauli" userId="610ac62b-222a-4de8-b70c-7dd89aaf92e2" providerId="ADAL" clId="{233B4F75-62BD-436E-90A8-36D467025E2C}" dt="2025-08-20T08:13:14.225" v="261" actId="20577"/>
        <pc:sldMkLst>
          <pc:docMk/>
          <pc:sldMk cId="96721266" sldId="2147483523"/>
        </pc:sldMkLst>
        <pc:spChg chg="mod">
          <ac:chgData name="Julian Pauli" userId="610ac62b-222a-4de8-b70c-7dd89aaf92e2" providerId="ADAL" clId="{233B4F75-62BD-436E-90A8-36D467025E2C}" dt="2025-08-20T08:13:03.266" v="255" actId="20577"/>
          <ac:spMkLst>
            <pc:docMk/>
            <pc:sldMk cId="96721266" sldId="2147483523"/>
            <ac:spMk id="2" creationId="{7AB0196D-B329-77FE-1828-4A3014AE102D}"/>
          </ac:spMkLst>
        </pc:spChg>
        <pc:spChg chg="mod">
          <ac:chgData name="Julian Pauli" userId="610ac62b-222a-4de8-b70c-7dd89aaf92e2" providerId="ADAL" clId="{233B4F75-62BD-436E-90A8-36D467025E2C}" dt="2025-08-20T08:13:07.717" v="257" actId="20577"/>
          <ac:spMkLst>
            <pc:docMk/>
            <pc:sldMk cId="96721266" sldId="2147483523"/>
            <ac:spMk id="22" creationId="{0CE971E6-3B2D-3E59-4C94-84F39A1A2103}"/>
          </ac:spMkLst>
        </pc:spChg>
        <pc:spChg chg="mod">
          <ac:chgData name="Julian Pauli" userId="610ac62b-222a-4de8-b70c-7dd89aaf92e2" providerId="ADAL" clId="{233B4F75-62BD-436E-90A8-36D467025E2C}" dt="2025-08-20T08:13:11.477" v="259" actId="20577"/>
          <ac:spMkLst>
            <pc:docMk/>
            <pc:sldMk cId="96721266" sldId="2147483523"/>
            <ac:spMk id="23" creationId="{8DFFF25A-FA2E-822B-CB0B-B728B8AAECEE}"/>
          </ac:spMkLst>
        </pc:spChg>
        <pc:spChg chg="mod">
          <ac:chgData name="Julian Pauli" userId="610ac62b-222a-4de8-b70c-7dd89aaf92e2" providerId="ADAL" clId="{233B4F75-62BD-436E-90A8-36D467025E2C}" dt="2025-08-20T08:13:14.225" v="261" actId="20577"/>
          <ac:spMkLst>
            <pc:docMk/>
            <pc:sldMk cId="96721266" sldId="2147483523"/>
            <ac:spMk id="24" creationId="{C1F8DCB9-4314-FFE6-D474-D1ABB15A3594}"/>
          </ac:spMkLst>
        </pc:spChg>
      </pc:sldChg>
      <pc:sldChg chg="delSp modSp mod modAnim">
        <pc:chgData name="Julian Pauli" userId="610ac62b-222a-4de8-b70c-7dd89aaf92e2" providerId="ADAL" clId="{233B4F75-62BD-436E-90A8-36D467025E2C}" dt="2025-08-19T09:08:06.750" v="148" actId="207"/>
        <pc:sldMkLst>
          <pc:docMk/>
          <pc:sldMk cId="4188476466" sldId="2147483524"/>
        </pc:sldMkLst>
        <pc:spChg chg="mod topLvl">
          <ac:chgData name="Julian Pauli" userId="610ac62b-222a-4de8-b70c-7dd89aaf92e2" providerId="ADAL" clId="{233B4F75-62BD-436E-90A8-36D467025E2C}" dt="2025-08-19T09:07:20.878" v="143" actId="165"/>
          <ac:spMkLst>
            <pc:docMk/>
            <pc:sldMk cId="4188476466" sldId="2147483524"/>
            <ac:spMk id="6" creationId="{42B757EF-542F-7759-F21E-3FF8E80CCB41}"/>
          </ac:spMkLst>
        </pc:spChg>
        <pc:spChg chg="mod topLvl">
          <ac:chgData name="Julian Pauli" userId="610ac62b-222a-4de8-b70c-7dd89aaf92e2" providerId="ADAL" clId="{233B4F75-62BD-436E-90A8-36D467025E2C}" dt="2025-08-19T09:07:20.878" v="143" actId="165"/>
          <ac:spMkLst>
            <pc:docMk/>
            <pc:sldMk cId="4188476466" sldId="2147483524"/>
            <ac:spMk id="8" creationId="{895B4A38-3700-2FE2-E9FC-8DFD3A1FAB00}"/>
          </ac:spMkLst>
        </pc:spChg>
        <pc:spChg chg="mod topLvl">
          <ac:chgData name="Julian Pauli" userId="610ac62b-222a-4de8-b70c-7dd89aaf92e2" providerId="ADAL" clId="{233B4F75-62BD-436E-90A8-36D467025E2C}" dt="2025-08-19T09:08:06.750" v="148" actId="207"/>
          <ac:spMkLst>
            <pc:docMk/>
            <pc:sldMk cId="4188476466" sldId="2147483524"/>
            <ac:spMk id="10" creationId="{4F7C27AE-0729-DAFE-8258-589F2D21C895}"/>
          </ac:spMkLst>
        </pc:spChg>
        <pc:spChg chg="mod topLvl">
          <ac:chgData name="Julian Pauli" userId="610ac62b-222a-4de8-b70c-7dd89aaf92e2" providerId="ADAL" clId="{233B4F75-62BD-436E-90A8-36D467025E2C}" dt="2025-08-19T09:07:20.878" v="143" actId="165"/>
          <ac:spMkLst>
            <pc:docMk/>
            <pc:sldMk cId="4188476466" sldId="2147483524"/>
            <ac:spMk id="11" creationId="{3E1EB6AF-F14B-D193-011F-2E47278FCD78}"/>
          </ac:spMkLst>
        </pc:spChg>
        <pc:spChg chg="mod topLvl">
          <ac:chgData name="Julian Pauli" userId="610ac62b-222a-4de8-b70c-7dd89aaf92e2" providerId="ADAL" clId="{233B4F75-62BD-436E-90A8-36D467025E2C}" dt="2025-08-19T09:07:20.878" v="143" actId="165"/>
          <ac:spMkLst>
            <pc:docMk/>
            <pc:sldMk cId="4188476466" sldId="2147483524"/>
            <ac:spMk id="12" creationId="{7F548F60-75BF-6C40-817C-CBCCAC65AD05}"/>
          </ac:spMkLst>
        </pc:spChg>
        <pc:spChg chg="mod topLvl">
          <ac:chgData name="Julian Pauli" userId="610ac62b-222a-4de8-b70c-7dd89aaf92e2" providerId="ADAL" clId="{233B4F75-62BD-436E-90A8-36D467025E2C}" dt="2025-08-19T09:08:06.750" v="148" actId="207"/>
          <ac:spMkLst>
            <pc:docMk/>
            <pc:sldMk cId="4188476466" sldId="2147483524"/>
            <ac:spMk id="13" creationId="{56498FE2-3FFA-EFE8-0863-2DC87DCDE533}"/>
          </ac:spMkLst>
        </pc:spChg>
        <pc:spChg chg="mod topLvl">
          <ac:chgData name="Julian Pauli" userId="610ac62b-222a-4de8-b70c-7dd89aaf92e2" providerId="ADAL" clId="{233B4F75-62BD-436E-90A8-36D467025E2C}" dt="2025-08-19T09:07:20.878" v="143" actId="165"/>
          <ac:spMkLst>
            <pc:docMk/>
            <pc:sldMk cId="4188476466" sldId="2147483524"/>
            <ac:spMk id="17" creationId="{62CB507F-5449-D0C2-0725-3882FACC2386}"/>
          </ac:spMkLst>
        </pc:spChg>
        <pc:spChg chg="mod topLvl">
          <ac:chgData name="Julian Pauli" userId="610ac62b-222a-4de8-b70c-7dd89aaf92e2" providerId="ADAL" clId="{233B4F75-62BD-436E-90A8-36D467025E2C}" dt="2025-08-19T09:08:06.750" v="148" actId="207"/>
          <ac:spMkLst>
            <pc:docMk/>
            <pc:sldMk cId="4188476466" sldId="2147483524"/>
            <ac:spMk id="18" creationId="{06EEA16C-4D77-8005-6608-818B7661ECBC}"/>
          </ac:spMkLst>
        </pc:spChg>
      </pc:sldChg>
      <pc:sldChg chg="delSp modSp mod">
        <pc:chgData name="Julian Pauli" userId="610ac62b-222a-4de8-b70c-7dd89aaf92e2" providerId="ADAL" clId="{233B4F75-62BD-436E-90A8-36D467025E2C}" dt="2025-08-20T07:57:44.441" v="248" actId="478"/>
        <pc:sldMkLst>
          <pc:docMk/>
          <pc:sldMk cId="2843648878" sldId="2147483525"/>
        </pc:sldMkLst>
        <pc:spChg chg="mod">
          <ac:chgData name="Julian Pauli" userId="610ac62b-222a-4de8-b70c-7dd89aaf92e2" providerId="ADAL" clId="{233B4F75-62BD-436E-90A8-36D467025E2C}" dt="2025-08-20T07:57:42.184" v="247" actId="1076"/>
          <ac:spMkLst>
            <pc:docMk/>
            <pc:sldMk cId="2843648878" sldId="2147483525"/>
            <ac:spMk id="5" creationId="{BB5A7E5D-447A-1026-6CB6-E60EDD3077D8}"/>
          </ac:spMkLst>
        </pc:spChg>
      </pc:sldChg>
      <pc:sldChg chg="add">
        <pc:chgData name="Julian Pauli" userId="610ac62b-222a-4de8-b70c-7dd89aaf92e2" providerId="ADAL" clId="{233B4F75-62BD-436E-90A8-36D467025E2C}" dt="2025-08-19T09:13:35.223" v="151"/>
        <pc:sldMkLst>
          <pc:docMk/>
          <pc:sldMk cId="1920243654" sldId="2147483527"/>
        </pc:sldMkLst>
      </pc:sldChg>
      <pc:sldChg chg="del">
        <pc:chgData name="Julian Pauli" userId="610ac62b-222a-4de8-b70c-7dd89aaf92e2" providerId="ADAL" clId="{233B4F75-62BD-436E-90A8-36D467025E2C}" dt="2025-08-19T09:13:29.497" v="150" actId="2696"/>
        <pc:sldMkLst>
          <pc:docMk/>
          <pc:sldMk cId="2185421232" sldId="2147483527"/>
        </pc:sldMkLst>
      </pc:sldChg>
      <pc:sldChg chg="modSp mod">
        <pc:chgData name="Julian Pauli" userId="610ac62b-222a-4de8-b70c-7dd89aaf92e2" providerId="ADAL" clId="{233B4F75-62BD-436E-90A8-36D467025E2C}" dt="2025-08-20T08:30:16.410" v="284" actId="20577"/>
        <pc:sldMkLst>
          <pc:docMk/>
          <pc:sldMk cId="98186882" sldId="2147483550"/>
        </pc:sldMkLst>
        <pc:spChg chg="mod">
          <ac:chgData name="Julian Pauli" userId="610ac62b-222a-4de8-b70c-7dd89aaf92e2" providerId="ADAL" clId="{233B4F75-62BD-436E-90A8-36D467025E2C}" dt="2025-08-20T08:10:32.584" v="251" actId="20577"/>
          <ac:spMkLst>
            <pc:docMk/>
            <pc:sldMk cId="98186882" sldId="2147483550"/>
            <ac:spMk id="2" creationId="{9AC9D159-1B75-CE5A-FBA9-E8BB8DAA2149}"/>
          </ac:spMkLst>
        </pc:spChg>
        <pc:spChg chg="mod">
          <ac:chgData name="Julian Pauli" userId="610ac62b-222a-4de8-b70c-7dd89aaf92e2" providerId="ADAL" clId="{233B4F75-62BD-436E-90A8-36D467025E2C}" dt="2025-08-20T08:30:16.410" v="284" actId="20577"/>
          <ac:spMkLst>
            <pc:docMk/>
            <pc:sldMk cId="98186882" sldId="2147483550"/>
            <ac:spMk id="14" creationId="{75C3F0E0-2A97-395B-2AE7-0478A6DA2818}"/>
          </ac:spMkLst>
        </pc:spChg>
        <pc:spChg chg="mod">
          <ac:chgData name="Julian Pauli" userId="610ac62b-222a-4de8-b70c-7dd89aaf92e2" providerId="ADAL" clId="{233B4F75-62BD-436E-90A8-36D467025E2C}" dt="2025-08-19T09:08:22.975" v="149" actId="207"/>
          <ac:spMkLst>
            <pc:docMk/>
            <pc:sldMk cId="98186882" sldId="2147483550"/>
            <ac:spMk id="17" creationId="{AC7EB96E-367C-9A76-40BE-08112D4195E4}"/>
          </ac:spMkLst>
        </pc:spChg>
        <pc:spChg chg="mod">
          <ac:chgData name="Julian Pauli" userId="610ac62b-222a-4de8-b70c-7dd89aaf92e2" providerId="ADAL" clId="{233B4F75-62BD-436E-90A8-36D467025E2C}" dt="2025-08-20T08:11:32.267" v="252" actId="13926"/>
          <ac:spMkLst>
            <pc:docMk/>
            <pc:sldMk cId="98186882" sldId="2147483550"/>
            <ac:spMk id="18" creationId="{7BC727C9-543C-6DCC-1204-17AB3DFB2CD5}"/>
          </ac:spMkLst>
        </pc:spChg>
        <pc:spChg chg="mod">
          <ac:chgData name="Julian Pauli" userId="610ac62b-222a-4de8-b70c-7dd89aaf92e2" providerId="ADAL" clId="{233B4F75-62BD-436E-90A8-36D467025E2C}" dt="2025-08-19T09:08:22.975" v="149" actId="207"/>
          <ac:spMkLst>
            <pc:docMk/>
            <pc:sldMk cId="98186882" sldId="2147483550"/>
            <ac:spMk id="19" creationId="{B114CD5A-F0B4-DD09-4A3E-9B9E7F40855A}"/>
          </ac:spMkLst>
        </pc:spChg>
      </pc:sldChg>
      <pc:sldChg chg="delSp mod">
        <pc:chgData name="Julian Pauli" userId="610ac62b-222a-4de8-b70c-7dd89aaf92e2" providerId="ADAL" clId="{233B4F75-62BD-436E-90A8-36D467025E2C}" dt="2025-08-20T07:58:01.400" v="250" actId="478"/>
        <pc:sldMkLst>
          <pc:docMk/>
          <pc:sldMk cId="3031947959" sldId="2147483553"/>
        </pc:sldMkLst>
      </pc:sldChg>
      <pc:sldChg chg="addSp delSp modSp mod ord delAnim modAnim">
        <pc:chgData name="Julian Pauli" userId="610ac62b-222a-4de8-b70c-7dd89aaf92e2" providerId="ADAL" clId="{233B4F75-62BD-436E-90A8-36D467025E2C}" dt="2025-08-19T09:05:59.625" v="134" actId="6549"/>
        <pc:sldMkLst>
          <pc:docMk/>
          <pc:sldMk cId="625415661" sldId="2147483600"/>
        </pc:sldMkLst>
        <pc:spChg chg="mod">
          <ac:chgData name="Julian Pauli" userId="610ac62b-222a-4de8-b70c-7dd89aaf92e2" providerId="ADAL" clId="{233B4F75-62BD-436E-90A8-36D467025E2C}" dt="2025-08-19T08:53:22.031" v="18"/>
          <ac:spMkLst>
            <pc:docMk/>
            <pc:sldMk cId="625415661" sldId="2147483600"/>
            <ac:spMk id="24" creationId="{8D30A6C3-AC2D-0602-8035-BC5D2EB3354E}"/>
          </ac:spMkLst>
        </pc:spChg>
        <pc:spChg chg="mod topLvl">
          <ac:chgData name="Julian Pauli" userId="610ac62b-222a-4de8-b70c-7dd89aaf92e2" providerId="ADAL" clId="{233B4F75-62BD-436E-90A8-36D467025E2C}" dt="2025-08-19T08:55:35.074" v="118" actId="122"/>
          <ac:spMkLst>
            <pc:docMk/>
            <pc:sldMk cId="625415661" sldId="2147483600"/>
            <ac:spMk id="26" creationId="{68ACDCAB-A0FC-A21B-E0F5-333AE6E358CD}"/>
          </ac:spMkLst>
        </pc:spChg>
        <pc:spChg chg="mod topLvl">
          <ac:chgData name="Julian Pauli" userId="610ac62b-222a-4de8-b70c-7dd89aaf92e2" providerId="ADAL" clId="{233B4F75-62BD-436E-90A8-36D467025E2C}" dt="2025-08-19T08:55:00.946" v="109" actId="165"/>
          <ac:spMkLst>
            <pc:docMk/>
            <pc:sldMk cId="625415661" sldId="2147483600"/>
            <ac:spMk id="28" creationId="{C21FDC91-EFDE-09B5-CB46-6D6BD3A176FF}"/>
          </ac:spMkLst>
        </pc:spChg>
        <pc:spChg chg="mod topLvl">
          <ac:chgData name="Julian Pauli" userId="610ac62b-222a-4de8-b70c-7dd89aaf92e2" providerId="ADAL" clId="{233B4F75-62BD-436E-90A8-36D467025E2C}" dt="2025-08-19T08:55:00.946" v="109" actId="165"/>
          <ac:spMkLst>
            <pc:docMk/>
            <pc:sldMk cId="625415661" sldId="2147483600"/>
            <ac:spMk id="30" creationId="{4D943C56-9FF8-A8CE-645C-37F16261F8CC}"/>
          </ac:spMkLst>
        </pc:spChg>
        <pc:spChg chg="mod">
          <ac:chgData name="Julian Pauli" userId="610ac62b-222a-4de8-b70c-7dd89aaf92e2" providerId="ADAL" clId="{233B4F75-62BD-436E-90A8-36D467025E2C}" dt="2025-08-19T08:53:22.031" v="18"/>
          <ac:spMkLst>
            <pc:docMk/>
            <pc:sldMk cId="625415661" sldId="2147483600"/>
            <ac:spMk id="32" creationId="{94450435-D682-BD48-BFEF-192696AC4AF1}"/>
          </ac:spMkLst>
        </pc:spChg>
        <pc:spChg chg="mod">
          <ac:chgData name="Julian Pauli" userId="610ac62b-222a-4de8-b70c-7dd89aaf92e2" providerId="ADAL" clId="{233B4F75-62BD-436E-90A8-36D467025E2C}" dt="2025-08-19T08:53:22.031" v="18"/>
          <ac:spMkLst>
            <pc:docMk/>
            <pc:sldMk cId="625415661" sldId="2147483600"/>
            <ac:spMk id="36" creationId="{347E4B98-05F3-62D0-1101-925FEB4FBA56}"/>
          </ac:spMkLst>
        </pc:spChg>
        <pc:spChg chg="mod">
          <ac:chgData name="Julian Pauli" userId="610ac62b-222a-4de8-b70c-7dd89aaf92e2" providerId="ADAL" clId="{233B4F75-62BD-436E-90A8-36D467025E2C}" dt="2025-08-19T09:05:55.233" v="132" actId="6549"/>
          <ac:spMkLst>
            <pc:docMk/>
            <pc:sldMk cId="625415661" sldId="2147483600"/>
            <ac:spMk id="38" creationId="{346028BE-D5D8-0385-B5B9-A997991D3E22}"/>
          </ac:spMkLst>
        </pc:spChg>
        <pc:spChg chg="mod topLvl">
          <ac:chgData name="Julian Pauli" userId="610ac62b-222a-4de8-b70c-7dd89aaf92e2" providerId="ADAL" clId="{233B4F75-62BD-436E-90A8-36D467025E2C}" dt="2025-08-19T09:05:57.211" v="133" actId="6549"/>
          <ac:spMkLst>
            <pc:docMk/>
            <pc:sldMk cId="625415661" sldId="2147483600"/>
            <ac:spMk id="40" creationId="{D9386165-5D2F-E7A0-0776-6F0A2213E184}"/>
          </ac:spMkLst>
        </pc:spChg>
        <pc:spChg chg="mod topLvl">
          <ac:chgData name="Julian Pauli" userId="610ac62b-222a-4de8-b70c-7dd89aaf92e2" providerId="ADAL" clId="{233B4F75-62BD-436E-90A8-36D467025E2C}" dt="2025-08-19T09:05:59.625" v="134" actId="6549"/>
          <ac:spMkLst>
            <pc:docMk/>
            <pc:sldMk cId="625415661" sldId="2147483600"/>
            <ac:spMk id="43" creationId="{C26DBD82-2F9F-7523-4BDB-D6CEAC21EDF4}"/>
          </ac:spMkLst>
        </pc:spChg>
        <pc:spChg chg="mod topLvl">
          <ac:chgData name="Julian Pauli" userId="610ac62b-222a-4de8-b70c-7dd89aaf92e2" providerId="ADAL" clId="{233B4F75-62BD-436E-90A8-36D467025E2C}" dt="2025-08-19T08:55:00.946" v="109" actId="165"/>
          <ac:spMkLst>
            <pc:docMk/>
            <pc:sldMk cId="625415661" sldId="2147483600"/>
            <ac:spMk id="47" creationId="{AB525CB5-23D6-5589-9C2A-8BE75BF7F0BA}"/>
          </ac:spMkLst>
        </pc:spChg>
        <pc:spChg chg="mod">
          <ac:chgData name="Julian Pauli" userId="610ac62b-222a-4de8-b70c-7dd89aaf92e2" providerId="ADAL" clId="{233B4F75-62BD-436E-90A8-36D467025E2C}" dt="2025-08-19T08:55:25.561" v="115" actId="14100"/>
          <ac:spMkLst>
            <pc:docMk/>
            <pc:sldMk cId="625415661" sldId="2147483600"/>
            <ac:spMk id="49" creationId="{F2DB3EB8-5EE7-A050-ACAE-52BD5B9CEA36}"/>
          </ac:spMkLst>
        </pc:spChg>
        <pc:spChg chg="mod">
          <ac:chgData name="Julian Pauli" userId="610ac62b-222a-4de8-b70c-7dd89aaf92e2" providerId="ADAL" clId="{233B4F75-62BD-436E-90A8-36D467025E2C}" dt="2025-08-19T09:05:01.812" v="123"/>
          <ac:spMkLst>
            <pc:docMk/>
            <pc:sldMk cId="625415661" sldId="2147483600"/>
            <ac:spMk id="52" creationId="{7D26B989-ECAB-D5FA-EBE5-38B22C61AFD5}"/>
          </ac:spMkLst>
        </pc:spChg>
        <pc:spChg chg="mod">
          <ac:chgData name="Julian Pauli" userId="610ac62b-222a-4de8-b70c-7dd89aaf92e2" providerId="ADAL" clId="{233B4F75-62BD-436E-90A8-36D467025E2C}" dt="2025-08-19T09:05:13.241" v="124"/>
          <ac:spMkLst>
            <pc:docMk/>
            <pc:sldMk cId="625415661" sldId="2147483600"/>
            <ac:spMk id="54" creationId="{052473A7-037A-BF7C-4394-045DEBE02B39}"/>
          </ac:spMkLst>
        </pc:spChg>
        <pc:spChg chg="mod">
          <ac:chgData name="Julian Pauli" userId="610ac62b-222a-4de8-b70c-7dd89aaf92e2" providerId="ADAL" clId="{233B4F75-62BD-436E-90A8-36D467025E2C}" dt="2025-08-19T08:53:39.774" v="43"/>
          <ac:spMkLst>
            <pc:docMk/>
            <pc:sldMk cId="625415661" sldId="2147483600"/>
            <ac:spMk id="57" creationId="{080A25EB-3DDD-074B-EB67-E0638EB7B42B}"/>
          </ac:spMkLst>
        </pc:spChg>
        <pc:spChg chg="mod">
          <ac:chgData name="Julian Pauli" userId="610ac62b-222a-4de8-b70c-7dd89aaf92e2" providerId="ADAL" clId="{233B4F75-62BD-436E-90A8-36D467025E2C}" dt="2025-08-19T09:05:21.600" v="125"/>
          <ac:spMkLst>
            <pc:docMk/>
            <pc:sldMk cId="625415661" sldId="2147483600"/>
            <ac:spMk id="59" creationId="{00BD80C5-0D3D-123A-2D6C-89B94BBAD7CD}"/>
          </ac:spMkLst>
        </pc:spChg>
        <pc:spChg chg="mod topLvl">
          <ac:chgData name="Julian Pauli" userId="610ac62b-222a-4de8-b70c-7dd89aaf92e2" providerId="ADAL" clId="{233B4F75-62BD-436E-90A8-36D467025E2C}" dt="2025-08-19T09:05:37.078" v="126" actId="6549"/>
          <ac:spMkLst>
            <pc:docMk/>
            <pc:sldMk cId="625415661" sldId="2147483600"/>
            <ac:spMk id="61" creationId="{39FEF64E-E846-47C7-B4EB-CCEBEDE0026A}"/>
          </ac:spMkLst>
        </pc:spChg>
        <pc:spChg chg="mod">
          <ac:chgData name="Julian Pauli" userId="610ac62b-222a-4de8-b70c-7dd89aaf92e2" providerId="ADAL" clId="{233B4F75-62BD-436E-90A8-36D467025E2C}" dt="2025-08-19T09:05:39.238" v="127" actId="6549"/>
          <ac:spMkLst>
            <pc:docMk/>
            <pc:sldMk cId="625415661" sldId="2147483600"/>
            <ac:spMk id="63" creationId="{5416285D-ECA7-C944-651A-D9BF3D1AE66D}"/>
          </ac:spMkLst>
        </pc:spChg>
        <pc:spChg chg="mod topLvl">
          <ac:chgData name="Julian Pauli" userId="610ac62b-222a-4de8-b70c-7dd89aaf92e2" providerId="ADAL" clId="{233B4F75-62BD-436E-90A8-36D467025E2C}" dt="2025-08-19T09:05:41.079" v="128" actId="6549"/>
          <ac:spMkLst>
            <pc:docMk/>
            <pc:sldMk cId="625415661" sldId="2147483600"/>
            <ac:spMk id="66" creationId="{6E44BAF9-DEE6-C521-DC22-C52128AAEF88}"/>
          </ac:spMkLst>
        </pc:spChg>
        <pc:spChg chg="mod">
          <ac:chgData name="Julian Pauli" userId="610ac62b-222a-4de8-b70c-7dd89aaf92e2" providerId="ADAL" clId="{233B4F75-62BD-436E-90A8-36D467025E2C}" dt="2025-08-19T08:55:20.121" v="113" actId="122"/>
          <ac:spMkLst>
            <pc:docMk/>
            <pc:sldMk cId="625415661" sldId="2147483600"/>
            <ac:spMk id="89" creationId="{094013C4-640A-F42B-7D0E-EFF6721450FB}"/>
          </ac:spMkLst>
        </pc:spChg>
        <pc:spChg chg="mod topLvl">
          <ac:chgData name="Julian Pauli" userId="610ac62b-222a-4de8-b70c-7dd89aaf92e2" providerId="ADAL" clId="{233B4F75-62BD-436E-90A8-36D467025E2C}" dt="2025-08-19T08:55:00.946" v="109" actId="165"/>
          <ac:spMkLst>
            <pc:docMk/>
            <pc:sldMk cId="625415661" sldId="2147483600"/>
            <ac:spMk id="99" creationId="{AA1BFF28-876F-8B7E-2C36-50CAB6FC31BF}"/>
          </ac:spMkLst>
        </pc:spChg>
        <pc:spChg chg="mod">
          <ac:chgData name="Julian Pauli" userId="610ac62b-222a-4de8-b70c-7dd89aaf92e2" providerId="ADAL" clId="{233B4F75-62BD-436E-90A8-36D467025E2C}" dt="2025-08-19T09:05:49.068" v="129" actId="6549"/>
          <ac:spMkLst>
            <pc:docMk/>
            <pc:sldMk cId="625415661" sldId="2147483600"/>
            <ac:spMk id="102" creationId="{5A3F6C5C-63E5-3044-CA48-AA4156D66E62}"/>
          </ac:spMkLst>
        </pc:spChg>
        <pc:spChg chg="mod topLvl">
          <ac:chgData name="Julian Pauli" userId="610ac62b-222a-4de8-b70c-7dd89aaf92e2" providerId="ADAL" clId="{233B4F75-62BD-436E-90A8-36D467025E2C}" dt="2025-08-19T09:05:50.515" v="130" actId="6549"/>
          <ac:spMkLst>
            <pc:docMk/>
            <pc:sldMk cId="625415661" sldId="2147483600"/>
            <ac:spMk id="103" creationId="{D34B304F-20F3-0C5D-75C1-2A59CEE0285B}"/>
          </ac:spMkLst>
        </pc:spChg>
        <pc:spChg chg="mod">
          <ac:chgData name="Julian Pauli" userId="610ac62b-222a-4de8-b70c-7dd89aaf92e2" providerId="ADAL" clId="{233B4F75-62BD-436E-90A8-36D467025E2C}" dt="2025-08-19T09:05:53.059" v="131" actId="6549"/>
          <ac:spMkLst>
            <pc:docMk/>
            <pc:sldMk cId="625415661" sldId="2147483600"/>
            <ac:spMk id="104" creationId="{D268F7E3-8B78-A1FB-5518-AA5AB2BCA925}"/>
          </ac:spMkLst>
        </pc:spChg>
      </pc:sldChg>
      <pc:sldChg chg="delSp mod">
        <pc:chgData name="Julian Pauli" userId="610ac62b-222a-4de8-b70c-7dd89aaf92e2" providerId="ADAL" clId="{233B4F75-62BD-436E-90A8-36D467025E2C}" dt="2025-08-20T07:57:50.688" v="249" actId="478"/>
        <pc:sldMkLst>
          <pc:docMk/>
          <pc:sldMk cId="998881100" sldId="2147483612"/>
        </pc:sldMkLst>
      </pc:sldChg>
      <pc:sldChg chg="del">
        <pc:chgData name="Julian Pauli" userId="610ac62b-222a-4de8-b70c-7dd89aaf92e2" providerId="ADAL" clId="{233B4F75-62BD-436E-90A8-36D467025E2C}" dt="2025-08-19T08:56:19.021" v="121" actId="2696"/>
        <pc:sldMkLst>
          <pc:docMk/>
          <pc:sldMk cId="717673155" sldId="2147483616"/>
        </pc:sldMkLst>
      </pc:sldChg>
      <pc:sldChg chg="add">
        <pc:chgData name="Julian Pauli" userId="610ac62b-222a-4de8-b70c-7dd89aaf92e2" providerId="ADAL" clId="{233B4F75-62BD-436E-90A8-36D467025E2C}" dt="2025-08-19T08:56:23.038" v="122"/>
        <pc:sldMkLst>
          <pc:docMk/>
          <pc:sldMk cId="3411215443" sldId="2147483616"/>
        </pc:sldMkLst>
      </pc:sldChg>
      <pc:sldChg chg="add ord">
        <pc:chgData name="Julian Pauli" userId="610ac62b-222a-4de8-b70c-7dd89aaf92e2" providerId="ADAL" clId="{233B4F75-62BD-436E-90A8-36D467025E2C}" dt="2025-08-19T08:55:55.277" v="120"/>
        <pc:sldMkLst>
          <pc:docMk/>
          <pc:sldMk cId="1672766892" sldId="2147483621"/>
        </pc:sldMkLst>
      </pc:sldChg>
      <pc:sldChg chg="addSp delSp modSp add mod addAnim delAnim modAnim">
        <pc:chgData name="Julian Pauli" userId="610ac62b-222a-4de8-b70c-7dd89aaf92e2" providerId="ADAL" clId="{233B4F75-62BD-436E-90A8-36D467025E2C}" dt="2025-08-20T07:56:47.466" v="244" actId="1076"/>
        <pc:sldMkLst>
          <pc:docMk/>
          <pc:sldMk cId="791470673" sldId="2147483622"/>
        </pc:sldMkLst>
        <pc:spChg chg="add mod">
          <ac:chgData name="Julian Pauli" userId="610ac62b-222a-4de8-b70c-7dd89aaf92e2" providerId="ADAL" clId="{233B4F75-62BD-436E-90A8-36D467025E2C}" dt="2025-08-20T07:56:39.937" v="243" actId="14100"/>
          <ac:spMkLst>
            <pc:docMk/>
            <pc:sldMk cId="791470673" sldId="2147483622"/>
            <ac:spMk id="4" creationId="{3EB92594-5EB3-494F-66CF-7B09B4772128}"/>
          </ac:spMkLst>
        </pc:spChg>
        <pc:spChg chg="add mod">
          <ac:chgData name="Julian Pauli" userId="610ac62b-222a-4de8-b70c-7dd89aaf92e2" providerId="ADAL" clId="{233B4F75-62BD-436E-90A8-36D467025E2C}" dt="2025-08-20T07:56:47.466" v="244" actId="1076"/>
          <ac:spMkLst>
            <pc:docMk/>
            <pc:sldMk cId="791470673" sldId="2147483622"/>
            <ac:spMk id="8" creationId="{F21D8052-6DF3-E17A-3618-5B721AE5ABB5}"/>
          </ac:spMkLst>
        </pc:spChg>
        <pc:spChg chg="add mod">
          <ac:chgData name="Julian Pauli" userId="610ac62b-222a-4de8-b70c-7dd89aaf92e2" providerId="ADAL" clId="{233B4F75-62BD-436E-90A8-36D467025E2C}" dt="2025-08-20T07:56:39.937" v="243" actId="14100"/>
          <ac:spMkLst>
            <pc:docMk/>
            <pc:sldMk cId="791470673" sldId="2147483622"/>
            <ac:spMk id="13" creationId="{084E93E8-ECD9-158C-87D9-B9524AF1C4BF}"/>
          </ac:spMkLst>
        </pc:spChg>
      </pc:sldChg>
      <pc:sldChg chg="add del">
        <pc:chgData name="Julian Pauli" userId="610ac62b-222a-4de8-b70c-7dd89aaf92e2" providerId="ADAL" clId="{233B4F75-62BD-436E-90A8-36D467025E2C}" dt="2025-08-19T08:53:16.730" v="17"/>
        <pc:sldMkLst>
          <pc:docMk/>
          <pc:sldMk cId="3529768871" sldId="2147483622"/>
        </pc:sldMkLst>
      </pc:sldChg>
      <pc:sldChg chg="modSp new mod">
        <pc:chgData name="Julian Pauli" userId="610ac62b-222a-4de8-b70c-7dd89aaf92e2" providerId="ADAL" clId="{233B4F75-62BD-436E-90A8-36D467025E2C}" dt="2025-08-20T08:18:38.689" v="283" actId="20577"/>
        <pc:sldMkLst>
          <pc:docMk/>
          <pc:sldMk cId="2036780516" sldId="2147483623"/>
        </pc:sldMkLst>
        <pc:spChg chg="mod">
          <ac:chgData name="Julian Pauli" userId="610ac62b-222a-4de8-b70c-7dd89aaf92e2" providerId="ADAL" clId="{233B4F75-62BD-436E-90A8-36D467025E2C}" dt="2025-08-20T08:18:38.689" v="283" actId="20577"/>
          <ac:spMkLst>
            <pc:docMk/>
            <pc:sldMk cId="2036780516" sldId="2147483623"/>
            <ac:spMk id="2" creationId="{47B2599F-FB48-9AFF-E364-FDD12AA7D1DC}"/>
          </ac:spMkLst>
        </pc:spChg>
      </pc:sldChg>
    </pc:docChg>
  </pc:docChgLst>
  <pc:docChgLst>
    <pc:chgData name="Amelie Heyden" userId="S::amelie.heyden@vertexinc.com::3239f032-7e5a-45d0-aca8-489331d21bb1" providerId="AD" clId="Web-{3D3EE3A3-D65C-F3C1-F0E1-940F3A56CDA3}"/>
    <pc:docChg chg="modSld">
      <pc:chgData name="Amelie Heyden" userId="S::amelie.heyden@vertexinc.com::3239f032-7e5a-45d0-aca8-489331d21bb1" providerId="AD" clId="Web-{3D3EE3A3-D65C-F3C1-F0E1-940F3A56CDA3}" dt="2025-08-27T08:48:45.783" v="13" actId="20577"/>
      <pc:docMkLst>
        <pc:docMk/>
      </pc:docMkLst>
      <pc:sldChg chg="modSp">
        <pc:chgData name="Amelie Heyden" userId="S::amelie.heyden@vertexinc.com::3239f032-7e5a-45d0-aca8-489331d21bb1" providerId="AD" clId="Web-{3D3EE3A3-D65C-F3C1-F0E1-940F3A56CDA3}" dt="2025-08-27T08:42:46.459" v="4" actId="20577"/>
        <pc:sldMkLst>
          <pc:docMk/>
          <pc:sldMk cId="3322865270" sldId="2147483632"/>
        </pc:sldMkLst>
        <pc:spChg chg="mod">
          <ac:chgData name="Amelie Heyden" userId="S::amelie.heyden@vertexinc.com::3239f032-7e5a-45d0-aca8-489331d21bb1" providerId="AD" clId="Web-{3D3EE3A3-D65C-F3C1-F0E1-940F3A56CDA3}" dt="2025-08-27T08:42:46.459" v="4" actId="20577"/>
          <ac:spMkLst>
            <pc:docMk/>
            <pc:sldMk cId="3322865270" sldId="2147483632"/>
            <ac:spMk id="13" creationId="{268A0C15-C165-5588-9524-9528C1EBE761}"/>
          </ac:spMkLst>
        </pc:spChg>
      </pc:sldChg>
      <pc:sldChg chg="modSp">
        <pc:chgData name="Amelie Heyden" userId="S::amelie.heyden@vertexinc.com::3239f032-7e5a-45d0-aca8-489331d21bb1" providerId="AD" clId="Web-{3D3EE3A3-D65C-F3C1-F0E1-940F3A56CDA3}" dt="2025-08-27T08:43:52.383" v="6" actId="20577"/>
        <pc:sldMkLst>
          <pc:docMk/>
          <pc:sldMk cId="1601740068" sldId="2147483633"/>
        </pc:sldMkLst>
        <pc:spChg chg="mod">
          <ac:chgData name="Amelie Heyden" userId="S::amelie.heyden@vertexinc.com::3239f032-7e5a-45d0-aca8-489331d21bb1" providerId="AD" clId="Web-{3D3EE3A3-D65C-F3C1-F0E1-940F3A56CDA3}" dt="2025-08-27T08:43:52.383" v="6" actId="20577"/>
          <ac:spMkLst>
            <pc:docMk/>
            <pc:sldMk cId="1601740068" sldId="2147483633"/>
            <ac:spMk id="2" creationId="{9AC9D159-1B75-CE5A-FBA9-E8BB8DAA2149}"/>
          </ac:spMkLst>
        </pc:spChg>
      </pc:sldChg>
      <pc:sldChg chg="modSp">
        <pc:chgData name="Amelie Heyden" userId="S::amelie.heyden@vertexinc.com::3239f032-7e5a-45d0-aca8-489331d21bb1" providerId="AD" clId="Web-{3D3EE3A3-D65C-F3C1-F0E1-940F3A56CDA3}" dt="2025-08-27T08:48:45.783" v="13" actId="20577"/>
        <pc:sldMkLst>
          <pc:docMk/>
          <pc:sldMk cId="2201849974" sldId="2147483638"/>
        </pc:sldMkLst>
        <pc:spChg chg="mod">
          <ac:chgData name="Amelie Heyden" userId="S::amelie.heyden@vertexinc.com::3239f032-7e5a-45d0-aca8-489331d21bb1" providerId="AD" clId="Web-{3D3EE3A3-D65C-F3C1-F0E1-940F3A56CDA3}" dt="2025-08-27T08:48:30.298" v="10" actId="20577"/>
          <ac:spMkLst>
            <pc:docMk/>
            <pc:sldMk cId="2201849974" sldId="2147483638"/>
            <ac:spMk id="17" creationId="{C983E1A8-4CA6-C476-55EA-6A7D3F33F9B6}"/>
          </ac:spMkLst>
        </pc:spChg>
        <pc:spChg chg="mod">
          <ac:chgData name="Amelie Heyden" userId="S::amelie.heyden@vertexinc.com::3239f032-7e5a-45d0-aca8-489331d21bb1" providerId="AD" clId="Web-{3D3EE3A3-D65C-F3C1-F0E1-940F3A56CDA3}" dt="2025-08-27T08:48:45.783" v="13" actId="20577"/>
          <ac:spMkLst>
            <pc:docMk/>
            <pc:sldMk cId="2201849974" sldId="2147483638"/>
            <ac:spMk id="30" creationId="{006E42F1-F08B-FAF7-B426-2A563BA3CC7C}"/>
          </ac:spMkLst>
        </pc:spChg>
      </pc:sldChg>
      <pc:sldChg chg="modSp">
        <pc:chgData name="Amelie Heyden" userId="S::amelie.heyden@vertexinc.com::3239f032-7e5a-45d0-aca8-489331d21bb1" providerId="AD" clId="Web-{3D3EE3A3-D65C-F3C1-F0E1-940F3A56CDA3}" dt="2025-08-27T08:44:25.368" v="8" actId="20577"/>
        <pc:sldMkLst>
          <pc:docMk/>
          <pc:sldMk cId="3817204234" sldId="2147483645"/>
        </pc:sldMkLst>
        <pc:spChg chg="mod">
          <ac:chgData name="Amelie Heyden" userId="S::amelie.heyden@vertexinc.com::3239f032-7e5a-45d0-aca8-489331d21bb1" providerId="AD" clId="Web-{3D3EE3A3-D65C-F3C1-F0E1-940F3A56CDA3}" dt="2025-08-27T08:44:25.368" v="8" actId="20577"/>
          <ac:spMkLst>
            <pc:docMk/>
            <pc:sldMk cId="3817204234" sldId="2147483645"/>
            <ac:spMk id="2" creationId="{1E9EC93F-6F0F-4909-93CA-58B92A8CBF21}"/>
          </ac:spMkLst>
        </pc:spChg>
      </pc:sldChg>
    </pc:docChg>
  </pc:docChgLst>
  <pc:docChgLst>
    <pc:chgData name="Amelie Heyden" userId="S::amelie.heyden@vertexinc.com::3239f032-7e5a-45d0-aca8-489331d21bb1" providerId="AD" clId="Web-{1553EBFC-1B08-6FE1-4FAA-026404139DC4}"/>
    <pc:docChg chg="modSld">
      <pc:chgData name="Amelie Heyden" userId="S::amelie.heyden@vertexinc.com::3239f032-7e5a-45d0-aca8-489331d21bb1" providerId="AD" clId="Web-{1553EBFC-1B08-6FE1-4FAA-026404139DC4}" dt="2025-08-26T09:22:29.905" v="137"/>
      <pc:docMkLst>
        <pc:docMk/>
      </pc:docMkLst>
      <pc:sldChg chg="addSp delSp modSp">
        <pc:chgData name="Amelie Heyden" userId="S::amelie.heyden@vertexinc.com::3239f032-7e5a-45d0-aca8-489331d21bb1" providerId="AD" clId="Web-{1553EBFC-1B08-6FE1-4FAA-026404139DC4}" dt="2025-08-26T09:22:29.905" v="137"/>
        <pc:sldMkLst>
          <pc:docMk/>
          <pc:sldMk cId="1785723406" sldId="2147483641"/>
        </pc:sldMkLst>
        <pc:spChg chg="mod">
          <ac:chgData name="Amelie Heyden" userId="S::amelie.heyden@vertexinc.com::3239f032-7e5a-45d0-aca8-489331d21bb1" providerId="AD" clId="Web-{1553EBFC-1B08-6FE1-4FAA-026404139DC4}" dt="2025-08-26T08:49:12.642" v="1" actId="20577"/>
          <ac:spMkLst>
            <pc:docMk/>
            <pc:sldMk cId="1785723406" sldId="2147483641"/>
            <ac:spMk id="2" creationId="{D2D84EBB-155D-A380-247E-CFFFE567415B}"/>
          </ac:spMkLst>
        </pc:spChg>
        <pc:spChg chg="ord">
          <ac:chgData name="Amelie Heyden" userId="S::amelie.heyden@vertexinc.com::3239f032-7e5a-45d0-aca8-489331d21bb1" providerId="AD" clId="Web-{1553EBFC-1B08-6FE1-4FAA-026404139DC4}" dt="2025-08-26T08:57:28.485" v="71"/>
          <ac:spMkLst>
            <pc:docMk/>
            <pc:sldMk cId="1785723406" sldId="2147483641"/>
            <ac:spMk id="3" creationId="{341C0B53-BE29-E10B-C162-5FB6000E361E}"/>
          </ac:spMkLst>
        </pc:spChg>
        <pc:spChg chg="ord">
          <ac:chgData name="Amelie Heyden" userId="S::amelie.heyden@vertexinc.com::3239f032-7e5a-45d0-aca8-489331d21bb1" providerId="AD" clId="Web-{1553EBFC-1B08-6FE1-4FAA-026404139DC4}" dt="2025-08-26T08:57:28.485" v="74"/>
          <ac:spMkLst>
            <pc:docMk/>
            <pc:sldMk cId="1785723406" sldId="2147483641"/>
            <ac:spMk id="4" creationId="{B95A9499-FEE9-3C13-7653-675F87B52EF0}"/>
          </ac:spMkLst>
        </pc:spChg>
        <pc:spChg chg="mod">
          <ac:chgData name="Amelie Heyden" userId="S::amelie.heyden@vertexinc.com::3239f032-7e5a-45d0-aca8-489331d21bb1" providerId="AD" clId="Web-{1553EBFC-1B08-6FE1-4FAA-026404139DC4}" dt="2025-08-26T09:21:14.855" v="118" actId="20577"/>
          <ac:spMkLst>
            <pc:docMk/>
            <pc:sldMk cId="1785723406" sldId="2147483641"/>
            <ac:spMk id="5" creationId="{4E0C86B2-2541-FC6A-05E6-C24F401E60E4}"/>
          </ac:spMkLst>
        </pc:spChg>
        <pc:spChg chg="mod">
          <ac:chgData name="Amelie Heyden" userId="S::amelie.heyden@vertexinc.com::3239f032-7e5a-45d0-aca8-489331d21bb1" providerId="AD" clId="Web-{1553EBFC-1B08-6FE1-4FAA-026404139DC4}" dt="2025-08-26T09:21:43.919" v="129" actId="20577"/>
          <ac:spMkLst>
            <pc:docMk/>
            <pc:sldMk cId="1785723406" sldId="2147483641"/>
            <ac:spMk id="6" creationId="{CA4A7D2C-BC48-7E41-A2CE-5FAA1C39E1E8}"/>
          </ac:spMkLst>
        </pc:spChg>
        <pc:spChg chg="mod">
          <ac:chgData name="Amelie Heyden" userId="S::amelie.heyden@vertexinc.com::3239f032-7e5a-45d0-aca8-489331d21bb1" providerId="AD" clId="Web-{1553EBFC-1B08-6FE1-4FAA-026404139DC4}" dt="2025-08-26T09:21:28.231" v="120" actId="20577"/>
          <ac:spMkLst>
            <pc:docMk/>
            <pc:sldMk cId="1785723406" sldId="2147483641"/>
            <ac:spMk id="7" creationId="{C2BFBDC7-5067-962B-BBC2-CF916963871C}"/>
          </ac:spMkLst>
        </pc:spChg>
        <pc:spChg chg="mod">
          <ac:chgData name="Amelie Heyden" userId="S::amelie.heyden@vertexinc.com::3239f032-7e5a-45d0-aca8-489331d21bb1" providerId="AD" clId="Web-{1553EBFC-1B08-6FE1-4FAA-026404139DC4}" dt="2025-08-26T09:21:34.028" v="122" actId="20577"/>
          <ac:spMkLst>
            <pc:docMk/>
            <pc:sldMk cId="1785723406" sldId="2147483641"/>
            <ac:spMk id="8" creationId="{F253CDBD-55F5-7605-C43B-7408D82995F7}"/>
          </ac:spMkLst>
        </pc:spChg>
        <pc:spChg chg="add del">
          <ac:chgData name="Amelie Heyden" userId="S::amelie.heyden@vertexinc.com::3239f032-7e5a-45d0-aca8-489331d21bb1" providerId="AD" clId="Web-{1553EBFC-1B08-6FE1-4FAA-026404139DC4}" dt="2025-08-26T09:20:26.698" v="93"/>
          <ac:spMkLst>
            <pc:docMk/>
            <pc:sldMk cId="1785723406" sldId="2147483641"/>
            <ac:spMk id="12" creationId="{BDAEF7D2-6F76-071C-16A9-2DBB8824C127}"/>
          </ac:spMkLst>
        </pc:spChg>
        <pc:spChg chg="add mod">
          <ac:chgData name="Amelie Heyden" userId="S::amelie.heyden@vertexinc.com::3239f032-7e5a-45d0-aca8-489331d21bb1" providerId="AD" clId="Web-{1553EBFC-1B08-6FE1-4FAA-026404139DC4}" dt="2025-08-26T09:21:49.560" v="135" actId="20577"/>
          <ac:spMkLst>
            <pc:docMk/>
            <pc:sldMk cId="1785723406" sldId="2147483641"/>
            <ac:spMk id="13" creationId="{13018B0E-248F-A0DD-A91D-624AF49BEFB0}"/>
          </ac:spMkLst>
        </pc:spChg>
        <pc:spChg chg="add del">
          <ac:chgData name="Amelie Heyden" userId="S::amelie.heyden@vertexinc.com::3239f032-7e5a-45d0-aca8-489331d21bb1" providerId="AD" clId="Web-{1553EBFC-1B08-6FE1-4FAA-026404139DC4}" dt="2025-08-26T08:53:29.228" v="44"/>
          <ac:spMkLst>
            <pc:docMk/>
            <pc:sldMk cId="1785723406" sldId="2147483641"/>
            <ac:spMk id="13" creationId="{FDDA3ACC-1C5C-1D88-D3FF-B9A648941D56}"/>
          </ac:spMkLst>
        </pc:spChg>
        <pc:picChg chg="mod">
          <ac:chgData name="Amelie Heyden" userId="S::amelie.heyden@vertexinc.com::3239f032-7e5a-45d0-aca8-489331d21bb1" providerId="AD" clId="Web-{1553EBFC-1B08-6FE1-4FAA-026404139DC4}" dt="2025-08-26T09:19:47.353" v="84" actId="1076"/>
          <ac:picMkLst>
            <pc:docMk/>
            <pc:sldMk cId="1785723406" sldId="2147483641"/>
            <ac:picMk id="9" creationId="{4F8F24C5-DF3D-DE68-3C23-9A2844A11089}"/>
          </ac:picMkLst>
        </pc:picChg>
        <pc:picChg chg="add mod">
          <ac:chgData name="Amelie Heyden" userId="S::amelie.heyden@vertexinc.com::3239f032-7e5a-45d0-aca8-489331d21bb1" providerId="AD" clId="Web-{1553EBFC-1B08-6FE1-4FAA-026404139DC4}" dt="2025-08-26T09:22:29.905" v="137"/>
          <ac:picMkLst>
            <pc:docMk/>
            <pc:sldMk cId="1785723406" sldId="2147483641"/>
            <ac:picMk id="10" creationId="{2E098E20-4E26-D933-0F8D-EF338E74D397}"/>
          </ac:picMkLst>
        </pc:picChg>
        <pc:picChg chg="add del">
          <ac:chgData name="Amelie Heyden" userId="S::amelie.heyden@vertexinc.com::3239f032-7e5a-45d0-aca8-489331d21bb1" providerId="AD" clId="Web-{1553EBFC-1B08-6FE1-4FAA-026404139DC4}" dt="2025-08-26T09:18:29.475" v="76"/>
          <ac:picMkLst>
            <pc:docMk/>
            <pc:sldMk cId="1785723406" sldId="2147483641"/>
            <ac:picMk id="11" creationId="{8C9FD7F1-A4DC-0526-5D1C-6E87CBFFA514}"/>
          </ac:picMkLst>
        </pc:picChg>
        <pc:picChg chg="mod">
          <ac:chgData name="Amelie Heyden" userId="S::amelie.heyden@vertexinc.com::3239f032-7e5a-45d0-aca8-489331d21bb1" providerId="AD" clId="Web-{1553EBFC-1B08-6FE1-4FAA-026404139DC4}" dt="2025-08-26T09:19:38.446" v="81" actId="1076"/>
          <ac:picMkLst>
            <pc:docMk/>
            <pc:sldMk cId="1785723406" sldId="2147483641"/>
            <ac:picMk id="15" creationId="{FBD374A3-D260-9F8E-517D-8E3C99D14A88}"/>
          </ac:picMkLst>
        </pc:picChg>
        <pc:picChg chg="mod">
          <ac:chgData name="Amelie Heyden" userId="S::amelie.heyden@vertexinc.com::3239f032-7e5a-45d0-aca8-489331d21bb1" providerId="AD" clId="Web-{1553EBFC-1B08-6FE1-4FAA-026404139DC4}" dt="2025-08-26T09:19:40.993" v="82" actId="1076"/>
          <ac:picMkLst>
            <pc:docMk/>
            <pc:sldMk cId="1785723406" sldId="2147483641"/>
            <ac:picMk id="16" creationId="{09A98E2D-2FC0-A289-3364-40A1CA1F0704}"/>
          </ac:picMkLst>
        </pc:picChg>
        <pc:picChg chg="add del mod">
          <ac:chgData name="Amelie Heyden" userId="S::amelie.heyden@vertexinc.com::3239f032-7e5a-45d0-aca8-489331d21bb1" providerId="AD" clId="Web-{1553EBFC-1B08-6FE1-4FAA-026404139DC4}" dt="2025-08-26T09:20:23.682" v="92" actId="1076"/>
          <ac:picMkLst>
            <pc:docMk/>
            <pc:sldMk cId="1785723406" sldId="2147483641"/>
            <ac:picMk id="19" creationId="{697BFC83-3EBD-6240-6589-C308D95738FA}"/>
          </ac:picMkLst>
        </pc:picChg>
        <pc:picChg chg="mod">
          <ac:chgData name="Amelie Heyden" userId="S::amelie.heyden@vertexinc.com::3239f032-7e5a-45d0-aca8-489331d21bb1" providerId="AD" clId="Web-{1553EBFC-1B08-6FE1-4FAA-026404139DC4}" dt="2025-08-26T09:19:45.931" v="83" actId="1076"/>
          <ac:picMkLst>
            <pc:docMk/>
            <pc:sldMk cId="1785723406" sldId="2147483641"/>
            <ac:picMk id="21" creationId="{C673AE0B-F283-504C-F073-E0C628638107}"/>
          </ac:picMkLst>
        </pc:picChg>
      </pc:sldChg>
    </pc:docChg>
  </pc:docChgLst>
  <pc:docChgLst>
    <pc:chgData name="Amelie Heyden" userId="S::amelie.heyden@vertexinc.com::3239f032-7e5a-45d0-aca8-489331d21bb1" providerId="AD" clId="Web-{668C34F5-F4F1-28D8-7B76-185AA983ACC7}"/>
    <pc:docChg chg="modSld">
      <pc:chgData name="Amelie Heyden" userId="S::amelie.heyden@vertexinc.com::3239f032-7e5a-45d0-aca8-489331d21bb1" providerId="AD" clId="Web-{668C34F5-F4F1-28D8-7B76-185AA983ACC7}" dt="2025-08-25T11:27:05.523" v="64" actId="20577"/>
      <pc:docMkLst>
        <pc:docMk/>
      </pc:docMkLst>
      <pc:sldChg chg="addSp delSp modSp">
        <pc:chgData name="Amelie Heyden" userId="S::amelie.heyden@vertexinc.com::3239f032-7e5a-45d0-aca8-489331d21bb1" providerId="AD" clId="Web-{668C34F5-F4F1-28D8-7B76-185AA983ACC7}" dt="2025-08-25T11:27:05.523" v="64" actId="20577"/>
        <pc:sldMkLst>
          <pc:docMk/>
          <pc:sldMk cId="1785723406" sldId="2147483641"/>
        </pc:sldMkLst>
        <pc:spChg chg="mod">
          <ac:chgData name="Amelie Heyden" userId="S::amelie.heyden@vertexinc.com::3239f032-7e5a-45d0-aca8-489331d21bb1" providerId="AD" clId="Web-{668C34F5-F4F1-28D8-7B76-185AA983ACC7}" dt="2025-08-25T11:26:54.538" v="44" actId="20577"/>
          <ac:spMkLst>
            <pc:docMk/>
            <pc:sldMk cId="1785723406" sldId="2147483641"/>
            <ac:spMk id="7" creationId="{C2BFBDC7-5067-962B-BBC2-CF916963871C}"/>
          </ac:spMkLst>
        </pc:spChg>
        <pc:spChg chg="mod">
          <ac:chgData name="Amelie Heyden" userId="S::amelie.heyden@vertexinc.com::3239f032-7e5a-45d0-aca8-489331d21bb1" providerId="AD" clId="Web-{668C34F5-F4F1-28D8-7B76-185AA983ACC7}" dt="2025-08-25T11:27:05.523" v="64" actId="20577"/>
          <ac:spMkLst>
            <pc:docMk/>
            <pc:sldMk cId="1785723406" sldId="2147483641"/>
            <ac:spMk id="8" creationId="{F253CDBD-55F5-7605-C43B-7408D82995F7}"/>
          </ac:spMkLst>
        </pc:spChg>
        <pc:picChg chg="add mod ord">
          <ac:chgData name="Amelie Heyden" userId="S::amelie.heyden@vertexinc.com::3239f032-7e5a-45d0-aca8-489331d21bb1" providerId="AD" clId="Web-{668C34F5-F4F1-28D8-7B76-185AA983ACC7}" dt="2025-08-25T11:24:24.705" v="2"/>
          <ac:picMkLst>
            <pc:docMk/>
            <pc:sldMk cId="1785723406" sldId="2147483641"/>
            <ac:picMk id="16" creationId="{09A98E2D-2FC0-A289-3364-40A1CA1F0704}"/>
          </ac:picMkLst>
        </pc:picChg>
        <pc:picChg chg="add mod ord">
          <ac:chgData name="Amelie Heyden" userId="S::amelie.heyden@vertexinc.com::3239f032-7e5a-45d0-aca8-489331d21bb1" providerId="AD" clId="Web-{668C34F5-F4F1-28D8-7B76-185AA983ACC7}" dt="2025-08-25T11:25:50.614" v="9" actId="1076"/>
          <ac:picMkLst>
            <pc:docMk/>
            <pc:sldMk cId="1785723406" sldId="2147483641"/>
            <ac:picMk id="21" creationId="{C673AE0B-F283-504C-F073-E0C628638107}"/>
          </ac:picMkLst>
        </pc:picChg>
      </pc:sldChg>
    </pc:docChg>
  </pc:docChgLst>
  <pc:docChgLst>
    <pc:chgData name="Amelie Heyden" userId="S::amelie.heyden@vertexinc.com::3239f032-7e5a-45d0-aca8-489331d21bb1" providerId="AD" clId="Web-{79743B06-5C5A-2180-BCD0-802CE4B41652}"/>
    <pc:docChg chg="delSld modSection">
      <pc:chgData name="Amelie Heyden" userId="S::amelie.heyden@vertexinc.com::3239f032-7e5a-45d0-aca8-489331d21bb1" providerId="AD" clId="Web-{79743B06-5C5A-2180-BCD0-802CE4B41652}" dt="2025-08-27T10:00:14.382" v="146"/>
      <pc:docMkLst>
        <pc:docMk/>
      </pc:docMkLst>
      <pc:sldChg chg="del">
        <pc:chgData name="Amelie Heyden" userId="S::amelie.heyden@vertexinc.com::3239f032-7e5a-45d0-aca8-489331d21bb1" providerId="AD" clId="Web-{79743B06-5C5A-2180-BCD0-802CE4B41652}" dt="2025-08-27T10:00:13.303" v="24"/>
        <pc:sldMkLst>
          <pc:docMk/>
          <pc:sldMk cId="0" sldId="25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88" v="23"/>
        <pc:sldMkLst>
          <pc:docMk/>
          <pc:sldMk cId="0" sldId="25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88" v="22"/>
        <pc:sldMkLst>
          <pc:docMk/>
          <pc:sldMk cId="0" sldId="25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88" v="21"/>
        <pc:sldMkLst>
          <pc:docMk/>
          <pc:sldMk cId="0" sldId="25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72" v="20"/>
        <pc:sldMkLst>
          <pc:docMk/>
          <pc:sldMk cId="0" sldId="26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72" v="19"/>
        <pc:sldMkLst>
          <pc:docMk/>
          <pc:sldMk cId="0" sldId="26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72" v="18"/>
        <pc:sldMkLst>
          <pc:docMk/>
          <pc:sldMk cId="0" sldId="26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56" v="17"/>
        <pc:sldMkLst>
          <pc:docMk/>
          <pc:sldMk cId="0" sldId="26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56" v="16"/>
        <pc:sldMkLst>
          <pc:docMk/>
          <pc:sldMk cId="0" sldId="26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41" v="15"/>
        <pc:sldMkLst>
          <pc:docMk/>
          <pc:sldMk cId="0" sldId="26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41" v="14"/>
        <pc:sldMkLst>
          <pc:docMk/>
          <pc:sldMk cId="0" sldId="26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41" v="13"/>
        <pc:sldMkLst>
          <pc:docMk/>
          <pc:sldMk cId="0" sldId="26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25" v="12"/>
        <pc:sldMkLst>
          <pc:docMk/>
          <pc:sldMk cId="0" sldId="26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25" v="11"/>
        <pc:sldMkLst>
          <pc:docMk/>
          <pc:sldMk cId="0" sldId="26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10" v="10"/>
        <pc:sldMkLst>
          <pc:docMk/>
          <pc:sldMk cId="0" sldId="27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10" v="9"/>
        <pc:sldMkLst>
          <pc:docMk/>
          <pc:sldMk cId="0" sldId="27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210" v="8"/>
        <pc:sldMkLst>
          <pc:docMk/>
          <pc:sldMk cId="0" sldId="27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94" v="6"/>
        <pc:sldMkLst>
          <pc:docMk/>
          <pc:sldMk cId="1572711708" sldId="27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60" v="49"/>
        <pc:sldMkLst>
          <pc:docMk/>
          <pc:sldMk cId="0" sldId="27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38" v="59"/>
        <pc:sldMkLst>
          <pc:docMk/>
          <pc:sldMk cId="2779136400" sldId="30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28" v="44"/>
        <pc:sldMkLst>
          <pc:docMk/>
          <pc:sldMk cId="1749778048" sldId="36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13" v="43"/>
        <pc:sldMkLst>
          <pc:docMk/>
          <pc:sldMk cId="760296086" sldId="36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06" v="55"/>
        <pc:sldMkLst>
          <pc:docMk/>
          <pc:sldMk cId="71014609" sldId="37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60" v="94"/>
        <pc:sldMkLst>
          <pc:docMk/>
          <pc:sldMk cId="2406964588" sldId="72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97" v="87"/>
        <pc:sldMkLst>
          <pc:docMk/>
          <pc:sldMk cId="2907039811" sldId="214684787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06" v="54"/>
        <pc:sldMkLst>
          <pc:docMk/>
          <pc:sldMk cId="590342395" sldId="214730898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88" v="136"/>
        <pc:sldMkLst>
          <pc:docMk/>
          <pc:sldMk cId="3388502211" sldId="214737650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82" v="144"/>
        <pc:sldMkLst>
          <pc:docMk/>
          <pc:sldMk cId="4140062320" sldId="214737655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35" v="80"/>
        <pc:sldMkLst>
          <pc:docMk/>
          <pc:sldMk cId="2957967029" sldId="214747064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13" v="88"/>
        <pc:sldMkLst>
          <pc:docMk/>
          <pc:sldMk cId="1721135071" sldId="214747070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53" v="61"/>
        <pc:sldMkLst>
          <pc:docMk/>
          <pc:sldMk cId="3206074745" sldId="214747071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28" v="90"/>
        <pc:sldMkLst>
          <pc:docMk/>
          <pc:sldMk cId="1296210091" sldId="214747167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13" v="89"/>
        <pc:sldMkLst>
          <pc:docMk/>
          <pc:sldMk cId="345478050" sldId="214747170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60" v="95"/>
        <pc:sldMkLst>
          <pc:docMk/>
          <pc:sldMk cId="4244597180" sldId="214747179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44" v="92"/>
        <pc:sldMkLst>
          <pc:docMk/>
          <pc:sldMk cId="2142536338" sldId="214747184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75" v="96"/>
        <pc:sldMkLst>
          <pc:docMk/>
          <pc:sldMk cId="3035890507" sldId="214748184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50" v="82"/>
        <pc:sldMkLst>
          <pc:docMk/>
          <pc:sldMk cId="455249334" sldId="214748186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82" v="85"/>
        <pc:sldMkLst>
          <pc:docMk/>
          <pc:sldMk cId="1951560452" sldId="214748186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66" v="84"/>
        <pc:sldMkLst>
          <pc:docMk/>
          <pc:sldMk cId="3122359035" sldId="214748186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28" v="91"/>
        <pc:sldMkLst>
          <pc:docMk/>
          <pc:sldMk cId="4218092451" sldId="214748189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44" v="93"/>
        <pc:sldMkLst>
          <pc:docMk/>
          <pc:sldMk cId="2159407638" sldId="214748192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94" v="118"/>
        <pc:sldMkLst>
          <pc:docMk/>
          <pc:sldMk cId="3236188298" sldId="214748200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16" v="107"/>
        <pc:sldMkLst>
          <pc:docMk/>
          <pc:sldMk cId="2776194714" sldId="214748211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78" v="115"/>
        <pc:sldMkLst>
          <pc:docMk/>
          <pc:sldMk cId="2127920530" sldId="214748214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75" v="97"/>
        <pc:sldMkLst>
          <pc:docMk/>
          <pc:sldMk cId="1192991094" sldId="214748218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038" v="105"/>
        <pc:sldMkLst>
          <pc:docMk/>
          <pc:sldMk cId="2966870512" sldId="214748222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00" v="66"/>
        <pc:sldMkLst>
          <pc:docMk/>
          <pc:sldMk cId="4105000777" sldId="214748222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85" v="65"/>
        <pc:sldMkLst>
          <pc:docMk/>
          <pc:sldMk cId="3202923383" sldId="214748222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19" v="78"/>
        <pc:sldMkLst>
          <pc:docMk/>
          <pc:sldMk cId="1720172404" sldId="214748222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47" v="72"/>
        <pc:sldMkLst>
          <pc:docMk/>
          <pc:sldMk cId="198497064" sldId="214748222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94" v="75"/>
        <pc:sldMkLst>
          <pc:docMk/>
          <pc:sldMk cId="1969122044" sldId="214748223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41" v="123"/>
        <pc:sldMkLst>
          <pc:docMk/>
          <pc:sldMk cId="1206165113" sldId="214748223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63" v="74"/>
        <pc:sldMkLst>
          <pc:docMk/>
          <pc:sldMk cId="2851535843" sldId="214748223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47" v="73"/>
        <pc:sldMkLst>
          <pc:docMk/>
          <pc:sldMk cId="2354940921" sldId="214748223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78" v="4"/>
        <pc:sldMkLst>
          <pc:docMk/>
          <pc:sldMk cId="811275687" sldId="214748223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91" v="52"/>
        <pc:sldMkLst>
          <pc:docMk/>
          <pc:sldMk cId="1828738974" sldId="214748224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38" v="60"/>
        <pc:sldMkLst>
          <pc:docMk/>
          <pc:sldMk cId="1553985866" sldId="214748229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22" v="56"/>
        <pc:sldMkLst>
          <pc:docMk/>
          <pc:sldMk cId="1666492794" sldId="214748229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38" v="58"/>
        <pc:sldMkLst>
          <pc:docMk/>
          <pc:sldMk cId="2034418358" sldId="214748232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31" v="70"/>
        <pc:sldMkLst>
          <pc:docMk/>
          <pc:sldMk cId="3857530344" sldId="214748234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35" v="79"/>
        <pc:sldMkLst>
          <pc:docMk/>
          <pc:sldMk cId="598344581" sldId="214748234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97" v="86"/>
        <pc:sldMkLst>
          <pc:docMk/>
          <pc:sldMk cId="21051559" sldId="214748236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741" v="76"/>
        <pc:sldMkLst>
          <pc:docMk/>
          <pc:sldMk cId="2580755079" sldId="214748239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19" v="77"/>
        <pc:sldMkLst>
          <pc:docMk/>
          <pc:sldMk cId="2480257432" sldId="214748239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16" v="106"/>
        <pc:sldMkLst>
          <pc:docMk/>
          <pc:sldMk cId="2422830266" sldId="214748240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31" v="69"/>
        <pc:sldMkLst>
          <pc:docMk/>
          <pc:sldMk cId="3892274612" sldId="214748241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16" v="68"/>
        <pc:sldMkLst>
          <pc:docMk/>
          <pc:sldMk cId="3718477618" sldId="214748241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00" v="67"/>
        <pc:sldMkLst>
          <pc:docMk/>
          <pc:sldMk cId="102847418" sldId="214748241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75" v="50"/>
        <pc:sldMkLst>
          <pc:docMk/>
          <pc:sldMk cId="2871673278" sldId="214748242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06" v="53"/>
        <pc:sldMkLst>
          <pc:docMk/>
          <pc:sldMk cId="1433445784" sldId="214748242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63" v="3"/>
        <pc:sldMkLst>
          <pc:docMk/>
          <pc:sldMk cId="3630762380" sldId="214748242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69" v="64"/>
        <pc:sldMkLst>
          <pc:docMk/>
          <pc:sldMk cId="951371670" sldId="214748243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647" v="71"/>
        <pc:sldMkLst>
          <pc:docMk/>
          <pc:sldMk cId="3972530347" sldId="214748244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69" v="63"/>
        <pc:sldMkLst>
          <pc:docMk/>
          <pc:sldMk cId="2277455864" sldId="214748246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53" v="62"/>
        <pc:sldMkLst>
          <pc:docMk/>
          <pc:sldMk cId="1502390935" sldId="214748247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60" v="47"/>
        <pc:sldMkLst>
          <pc:docMk/>
          <pc:sldMk cId="1771620047" sldId="214748247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75" v="98"/>
        <pc:sldMkLst>
          <pc:docMk/>
          <pc:sldMk cId="87554073" sldId="214748248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50" v="81"/>
        <pc:sldMkLst>
          <pc:docMk/>
          <pc:sldMk cId="284054952" sldId="214748251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866" v="83"/>
        <pc:sldMkLst>
          <pc:docMk/>
          <pc:sldMk cId="2948650605" sldId="214748251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44" v="46"/>
        <pc:sldMkLst>
          <pc:docMk/>
          <pc:sldMk cId="3256458758" sldId="214748347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16" v="1"/>
        <pc:sldMkLst>
          <pc:docMk/>
          <pc:sldMk cId="1542647624" sldId="214748347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28" v="45"/>
        <pc:sldMkLst>
          <pc:docMk/>
          <pc:sldMk cId="3089338421" sldId="214748347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522" v="57"/>
        <pc:sldMkLst>
          <pc:docMk/>
          <pc:sldMk cId="1064324547" sldId="214748348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41" v="127"/>
        <pc:sldMkLst>
          <pc:docMk/>
          <pc:sldMk cId="2641479769" sldId="214748348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47" v="2"/>
        <pc:sldMkLst>
          <pc:docMk/>
          <pc:sldMk cId="4152541158" sldId="214748348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00" v="0"/>
        <pc:sldMkLst>
          <pc:docMk/>
          <pc:sldMk cId="2104859327" sldId="214748348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78" v="5"/>
        <pc:sldMkLst>
          <pc:docMk/>
          <pc:sldMk cId="1271722362" sldId="214748348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63" v="113"/>
        <pc:sldMkLst>
          <pc:docMk/>
          <pc:sldMk cId="2177105932" sldId="214748351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194" v="7"/>
        <pc:sldMkLst>
          <pc:docMk/>
          <pc:sldMk cId="2976669984" sldId="214748351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91" v="99"/>
        <pc:sldMkLst>
          <pc:docMk/>
          <pc:sldMk cId="2109995941" sldId="214748351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91" v="101"/>
        <pc:sldMkLst>
          <pc:docMk/>
          <pc:sldMk cId="2507289835" sldId="214748351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991" v="100"/>
        <pc:sldMkLst>
          <pc:docMk/>
          <pc:sldMk cId="2341472340" sldId="214748351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41" v="125"/>
        <pc:sldMkLst>
          <pc:docMk/>
          <pc:sldMk cId="2660373480" sldId="214748351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022" v="104"/>
        <pc:sldMkLst>
          <pc:docMk/>
          <pc:sldMk cId="1705694584" sldId="214748351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007" v="102"/>
        <pc:sldMkLst>
          <pc:docMk/>
          <pc:sldMk cId="2107673721" sldId="214748352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007" v="103"/>
        <pc:sldMkLst>
          <pc:docMk/>
          <pc:sldMk cId="4192230647" sldId="214748352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66" v="141"/>
        <pc:sldMkLst>
          <pc:docMk/>
          <pc:sldMk cId="2243603326" sldId="214748352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50" v="138"/>
        <pc:sldMkLst>
          <pc:docMk/>
          <pc:sldMk cId="96721266" sldId="214748352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57" v="130"/>
        <pc:sldMkLst>
          <pc:docMk/>
          <pc:sldMk cId="4188476466" sldId="214748352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50" v="137"/>
        <pc:sldMkLst>
          <pc:docMk/>
          <pc:sldMk cId="2843648878" sldId="214748352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41" v="126"/>
        <pc:sldMkLst>
          <pc:docMk/>
          <pc:sldMk cId="1920243654" sldId="214748352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13" v="42"/>
        <pc:sldMkLst>
          <pc:docMk/>
          <pc:sldMk cId="3941885776" sldId="214748352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97" v="41"/>
        <pc:sldMkLst>
          <pc:docMk/>
          <pc:sldMk cId="0" sldId="214748353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97" v="40"/>
        <pc:sldMkLst>
          <pc:docMk/>
          <pc:sldMk cId="0" sldId="214748353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81" v="39"/>
        <pc:sldMkLst>
          <pc:docMk/>
          <pc:sldMk cId="0" sldId="214748353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81" v="38"/>
        <pc:sldMkLst>
          <pc:docMk/>
          <pc:sldMk cId="0" sldId="214748353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66" v="37"/>
        <pc:sldMkLst>
          <pc:docMk/>
          <pc:sldMk cId="0" sldId="214748353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66" v="36"/>
        <pc:sldMkLst>
          <pc:docMk/>
          <pc:sldMk cId="0" sldId="214748353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66" v="35"/>
        <pc:sldMkLst>
          <pc:docMk/>
          <pc:sldMk cId="0" sldId="214748353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50" v="34"/>
        <pc:sldMkLst>
          <pc:docMk/>
          <pc:sldMk cId="0" sldId="214748353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50" v="33"/>
        <pc:sldMkLst>
          <pc:docMk/>
          <pc:sldMk cId="0" sldId="214748353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50" v="32"/>
        <pc:sldMkLst>
          <pc:docMk/>
          <pc:sldMk cId="0" sldId="214748353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35" v="31"/>
        <pc:sldMkLst>
          <pc:docMk/>
          <pc:sldMk cId="0" sldId="214748354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35" v="30"/>
        <pc:sldMkLst>
          <pc:docMk/>
          <pc:sldMk cId="0" sldId="214748354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35" v="29"/>
        <pc:sldMkLst>
          <pc:docMk/>
          <pc:sldMk cId="0" sldId="214748354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19" v="28"/>
        <pc:sldMkLst>
          <pc:docMk/>
          <pc:sldMk cId="0" sldId="214748354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19" v="27"/>
        <pc:sldMkLst>
          <pc:docMk/>
          <pc:sldMk cId="0" sldId="214748354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19" v="26"/>
        <pc:sldMkLst>
          <pc:docMk/>
          <pc:sldMk cId="0" sldId="214748354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303" v="25"/>
        <pc:sldMkLst>
          <pc:docMk/>
          <pc:sldMk cId="0" sldId="214748354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91" v="51"/>
        <pc:sldMkLst>
          <pc:docMk/>
          <pc:sldMk cId="0" sldId="214748354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3.460" v="48"/>
        <pc:sldMkLst>
          <pc:docMk/>
          <pc:sldMk cId="1200628038" sldId="214748354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50" v="139"/>
        <pc:sldMkLst>
          <pc:docMk/>
          <pc:sldMk cId="98186882" sldId="214748355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57" v="129"/>
        <pc:sldMkLst>
          <pc:docMk/>
          <pc:sldMk cId="3031947959" sldId="214748355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32" v="108"/>
        <pc:sldMkLst>
          <pc:docMk/>
          <pc:sldMk cId="1682598981" sldId="214748356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63" v="114"/>
        <pc:sldMkLst>
          <pc:docMk/>
          <pc:sldMk cId="392164052" sldId="214748356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32" v="109"/>
        <pc:sldMkLst>
          <pc:docMk/>
          <pc:sldMk cId="3118624984" sldId="214748356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32" v="111"/>
        <pc:sldMkLst>
          <pc:docMk/>
          <pc:sldMk cId="3452130621" sldId="214748356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32" v="110"/>
        <pc:sldMkLst>
          <pc:docMk/>
          <pc:sldMk cId="1104952442" sldId="214748356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88" v="134"/>
        <pc:sldMkLst>
          <pc:docMk/>
          <pc:sldMk cId="625415661" sldId="214748360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25" v="122"/>
        <pc:sldMkLst>
          <pc:docMk/>
          <pc:sldMk cId="2883481005" sldId="214748360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94" v="117"/>
        <pc:sldMkLst>
          <pc:docMk/>
          <pc:sldMk cId="853041227" sldId="214748360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10" v="119"/>
        <pc:sldMkLst>
          <pc:docMk/>
          <pc:sldMk cId="1713765351" sldId="214748360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78" v="116"/>
        <pc:sldMkLst>
          <pc:docMk/>
          <pc:sldMk cId="2138921703" sldId="214748361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88" v="133"/>
        <pc:sldMkLst>
          <pc:docMk/>
          <pc:sldMk cId="1732301171" sldId="214748361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72" v="132"/>
        <pc:sldMkLst>
          <pc:docMk/>
          <pc:sldMk cId="998881100" sldId="214748361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25" v="120"/>
        <pc:sldMkLst>
          <pc:docMk/>
          <pc:sldMk cId="1872827651" sldId="2147483615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88" v="135"/>
        <pc:sldMkLst>
          <pc:docMk/>
          <pc:sldMk cId="3411215443" sldId="2147483616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147" v="112"/>
        <pc:sldMkLst>
          <pc:docMk/>
          <pc:sldMk cId="351238546" sldId="2147483617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25" v="121"/>
        <pc:sldMkLst>
          <pc:docMk/>
          <pc:sldMk cId="1135005827" sldId="2147483618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66" v="142"/>
        <pc:sldMkLst>
          <pc:docMk/>
          <pc:sldMk cId="1561040843" sldId="2147483619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57" v="128"/>
        <pc:sldMkLst>
          <pc:docMk/>
          <pc:sldMk cId="3362044805" sldId="2147483620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41" v="124"/>
        <pc:sldMkLst>
          <pc:docMk/>
          <pc:sldMk cId="1672766892" sldId="214748362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66" v="140"/>
        <pc:sldMkLst>
          <pc:docMk/>
          <pc:sldMk cId="791470673" sldId="2147483622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257" v="131"/>
        <pc:sldMkLst>
          <pc:docMk/>
          <pc:sldMk cId="2036780516" sldId="2147483623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82" v="146"/>
        <pc:sldMkLst>
          <pc:docMk/>
          <pc:sldMk cId="252661881" sldId="2147483634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66" v="143"/>
        <pc:sldMkLst>
          <pc:docMk/>
          <pc:sldMk cId="1785723406" sldId="2147483641"/>
        </pc:sldMkLst>
      </pc:sldChg>
      <pc:sldChg chg="del">
        <pc:chgData name="Amelie Heyden" userId="S::amelie.heyden@vertexinc.com::3239f032-7e5a-45d0-aca8-489331d21bb1" providerId="AD" clId="Web-{79743B06-5C5A-2180-BCD0-802CE4B41652}" dt="2025-08-27T10:00:14.382" v="145"/>
        <pc:sldMkLst>
          <pc:docMk/>
          <pc:sldMk cId="3363521186" sldId="2147483644"/>
        </pc:sldMkLst>
      </pc:sldChg>
    </pc:docChg>
  </pc:docChgLst>
  <pc:docChgLst>
    <pc:chgData name="Amelie Heyden" userId="3239f032-7e5a-45d0-aca8-489331d21bb1" providerId="ADAL" clId="{F4274E3A-EB7C-423A-826E-A2ED1F57E95D}"/>
    <pc:docChg chg="undo custSel modSld">
      <pc:chgData name="Amelie Heyden" userId="3239f032-7e5a-45d0-aca8-489331d21bb1" providerId="ADAL" clId="{F4274E3A-EB7C-423A-826E-A2ED1F57E95D}" dt="2025-08-26T09:52:37.512" v="57" actId="1076"/>
      <pc:docMkLst>
        <pc:docMk/>
      </pc:docMkLst>
      <pc:sldChg chg="addSp delSp modSp mod modClrScheme chgLayout">
        <pc:chgData name="Amelie Heyden" userId="3239f032-7e5a-45d0-aca8-489331d21bb1" providerId="ADAL" clId="{F4274E3A-EB7C-423A-826E-A2ED1F57E95D}" dt="2025-08-26T09:52:37.512" v="57" actId="1076"/>
        <pc:sldMkLst>
          <pc:docMk/>
          <pc:sldMk cId="1785723406" sldId="2147483641"/>
        </pc:sldMkLst>
        <pc:spChg chg="mod ord">
          <ac:chgData name="Amelie Heyden" userId="3239f032-7e5a-45d0-aca8-489331d21bb1" providerId="ADAL" clId="{F4274E3A-EB7C-423A-826E-A2ED1F57E95D}" dt="2025-08-26T09:50:32.740" v="36" actId="700"/>
          <ac:spMkLst>
            <pc:docMk/>
            <pc:sldMk cId="1785723406" sldId="2147483641"/>
            <ac:spMk id="2" creationId="{D2D84EBB-155D-A380-247E-CFFFE567415B}"/>
          </ac:spMkLst>
        </pc:spChg>
        <pc:spChg chg="mod">
          <ac:chgData name="Amelie Heyden" userId="3239f032-7e5a-45d0-aca8-489331d21bb1" providerId="ADAL" clId="{F4274E3A-EB7C-423A-826E-A2ED1F57E95D}" dt="2025-08-26T09:51:29.997" v="46" actId="1076"/>
          <ac:spMkLst>
            <pc:docMk/>
            <pc:sldMk cId="1785723406" sldId="2147483641"/>
            <ac:spMk id="5" creationId="{4E0C86B2-2541-FC6A-05E6-C24F401E60E4}"/>
          </ac:spMkLst>
        </pc:spChg>
        <pc:spChg chg="mod">
          <ac:chgData name="Amelie Heyden" userId="3239f032-7e5a-45d0-aca8-489331d21bb1" providerId="ADAL" clId="{F4274E3A-EB7C-423A-826E-A2ED1F57E95D}" dt="2025-08-26T09:52:00.564" v="51" actId="1076"/>
          <ac:spMkLst>
            <pc:docMk/>
            <pc:sldMk cId="1785723406" sldId="2147483641"/>
            <ac:spMk id="6" creationId="{CA4A7D2C-BC48-7E41-A2CE-5FAA1C39E1E8}"/>
          </ac:spMkLst>
        </pc:spChg>
        <pc:spChg chg="mod">
          <ac:chgData name="Amelie Heyden" userId="3239f032-7e5a-45d0-aca8-489331d21bb1" providerId="ADAL" clId="{F4274E3A-EB7C-423A-826E-A2ED1F57E95D}" dt="2025-08-26T09:52:15.797" v="53" actId="1076"/>
          <ac:spMkLst>
            <pc:docMk/>
            <pc:sldMk cId="1785723406" sldId="2147483641"/>
            <ac:spMk id="7" creationId="{C2BFBDC7-5067-962B-BBC2-CF916963871C}"/>
          </ac:spMkLst>
        </pc:spChg>
        <pc:spChg chg="mod">
          <ac:chgData name="Amelie Heyden" userId="3239f032-7e5a-45d0-aca8-489331d21bb1" providerId="ADAL" clId="{F4274E3A-EB7C-423A-826E-A2ED1F57E95D}" dt="2025-08-26T09:51:42.437" v="49" actId="1076"/>
          <ac:spMkLst>
            <pc:docMk/>
            <pc:sldMk cId="1785723406" sldId="2147483641"/>
            <ac:spMk id="8" creationId="{F253CDBD-55F5-7605-C43B-7408D82995F7}"/>
          </ac:spMkLst>
        </pc:spChg>
        <pc:spChg chg="mod">
          <ac:chgData name="Amelie Heyden" userId="3239f032-7e5a-45d0-aca8-489331d21bb1" providerId="ADAL" clId="{F4274E3A-EB7C-423A-826E-A2ED1F57E95D}" dt="2025-08-26T09:52:11.696" v="52" actId="1076"/>
          <ac:spMkLst>
            <pc:docMk/>
            <pc:sldMk cId="1785723406" sldId="2147483641"/>
            <ac:spMk id="13" creationId="{13018B0E-248F-A0DD-A91D-624AF49BEFB0}"/>
          </ac:spMkLst>
        </pc:spChg>
        <pc:spChg chg="add mod">
          <ac:chgData name="Amelie Heyden" userId="3239f032-7e5a-45d0-aca8-489331d21bb1" providerId="ADAL" clId="{F4274E3A-EB7C-423A-826E-A2ED1F57E95D}" dt="2025-08-26T09:33:07.677" v="7"/>
          <ac:spMkLst>
            <pc:docMk/>
            <pc:sldMk cId="1785723406" sldId="2147483641"/>
            <ac:spMk id="14" creationId="{CA4A7D2C-BC48-7E41-A2CE-5FAA1C39E1E8}"/>
          </ac:spMkLst>
        </pc:spChg>
        <pc:picChg chg="mod ord">
          <ac:chgData name="Amelie Heyden" userId="3239f032-7e5a-45d0-aca8-489331d21bb1" providerId="ADAL" clId="{F4274E3A-EB7C-423A-826E-A2ED1F57E95D}" dt="2025-08-26T09:51:11.900" v="44" actId="1076"/>
          <ac:picMkLst>
            <pc:docMk/>
            <pc:sldMk cId="1785723406" sldId="2147483641"/>
            <ac:picMk id="9" creationId="{4F8F24C5-DF3D-DE68-3C23-9A2844A11089}"/>
          </ac:picMkLst>
        </pc:picChg>
        <pc:picChg chg="del mod">
          <ac:chgData name="Amelie Heyden" userId="3239f032-7e5a-45d0-aca8-489331d21bb1" providerId="ADAL" clId="{F4274E3A-EB7C-423A-826E-A2ED1F57E95D}" dt="2025-08-26T09:33:39.266" v="11" actId="478"/>
          <ac:picMkLst>
            <pc:docMk/>
            <pc:sldMk cId="1785723406" sldId="2147483641"/>
            <ac:picMk id="10" creationId="{2E098E20-4E26-D933-0F8D-EF338E74D397}"/>
          </ac:picMkLst>
        </pc:picChg>
        <pc:picChg chg="add del mod">
          <ac:chgData name="Amelie Heyden" userId="3239f032-7e5a-45d0-aca8-489331d21bb1" providerId="ADAL" clId="{F4274E3A-EB7C-423A-826E-A2ED1F57E95D}" dt="2025-08-26T09:33:09.736" v="8" actId="478"/>
          <ac:picMkLst>
            <pc:docMk/>
            <pc:sldMk cId="1785723406" sldId="2147483641"/>
            <ac:picMk id="12" creationId="{BE1D27F8-650E-DE30-DF62-60AD1A4466C4}"/>
          </ac:picMkLst>
        </pc:picChg>
        <pc:picChg chg="mod ord">
          <ac:chgData name="Amelie Heyden" userId="3239f032-7e5a-45d0-aca8-489331d21bb1" providerId="ADAL" clId="{F4274E3A-EB7C-423A-826E-A2ED1F57E95D}" dt="2025-08-26T09:50:42.051" v="37" actId="1076"/>
          <ac:picMkLst>
            <pc:docMk/>
            <pc:sldMk cId="1785723406" sldId="2147483641"/>
            <ac:picMk id="15" creationId="{FBD374A3-D260-9F8E-517D-8E3C99D14A88}"/>
          </ac:picMkLst>
        </pc:picChg>
        <pc:picChg chg="mod ord">
          <ac:chgData name="Amelie Heyden" userId="3239f032-7e5a-45d0-aca8-489331d21bb1" providerId="ADAL" clId="{F4274E3A-EB7C-423A-826E-A2ED1F57E95D}" dt="2025-08-26T09:51:06.095" v="42" actId="1076"/>
          <ac:picMkLst>
            <pc:docMk/>
            <pc:sldMk cId="1785723406" sldId="2147483641"/>
            <ac:picMk id="16" creationId="{09A98E2D-2FC0-A289-3364-40A1CA1F0704}"/>
          </ac:picMkLst>
        </pc:picChg>
        <pc:picChg chg="add mod">
          <ac:chgData name="Amelie Heyden" userId="3239f032-7e5a-45d0-aca8-489331d21bb1" providerId="ADAL" clId="{F4274E3A-EB7C-423A-826E-A2ED1F57E95D}" dt="2025-08-26T09:51:19.422" v="45" actId="1076"/>
          <ac:picMkLst>
            <pc:docMk/>
            <pc:sldMk cId="1785723406" sldId="2147483641"/>
            <ac:picMk id="17" creationId="{D5E0660D-2A27-2C45-DDFD-EDAC8C8ABF57}"/>
          </ac:picMkLst>
        </pc:picChg>
        <pc:picChg chg="mod">
          <ac:chgData name="Amelie Heyden" userId="3239f032-7e5a-45d0-aca8-489331d21bb1" providerId="ADAL" clId="{F4274E3A-EB7C-423A-826E-A2ED1F57E95D}" dt="2025-08-26T09:51:34.267" v="48" actId="1076"/>
          <ac:picMkLst>
            <pc:docMk/>
            <pc:sldMk cId="1785723406" sldId="2147483641"/>
            <ac:picMk id="19" creationId="{697BFC83-3EBD-6240-6589-C308D95738FA}"/>
          </ac:picMkLst>
        </pc:picChg>
        <pc:picChg chg="add mod">
          <ac:chgData name="Amelie Heyden" userId="3239f032-7e5a-45d0-aca8-489331d21bb1" providerId="ADAL" clId="{F4274E3A-EB7C-423A-826E-A2ED1F57E95D}" dt="2025-08-26T09:52:24.965" v="54" actId="1076"/>
          <ac:picMkLst>
            <pc:docMk/>
            <pc:sldMk cId="1785723406" sldId="2147483641"/>
            <ac:picMk id="20" creationId="{942D5BCE-2790-18FE-E9E3-A6FC9957E018}"/>
          </ac:picMkLst>
        </pc:picChg>
        <pc:picChg chg="mod ord">
          <ac:chgData name="Amelie Heyden" userId="3239f032-7e5a-45d0-aca8-489331d21bb1" providerId="ADAL" clId="{F4274E3A-EB7C-423A-826E-A2ED1F57E95D}" dt="2025-08-26T09:51:09.903" v="43" actId="1076"/>
          <ac:picMkLst>
            <pc:docMk/>
            <pc:sldMk cId="1785723406" sldId="2147483641"/>
            <ac:picMk id="21" creationId="{C673AE0B-F283-504C-F073-E0C628638107}"/>
          </ac:picMkLst>
        </pc:picChg>
        <pc:picChg chg="add mod">
          <ac:chgData name="Amelie Heyden" userId="3239f032-7e5a-45d0-aca8-489331d21bb1" providerId="ADAL" clId="{F4274E3A-EB7C-423A-826E-A2ED1F57E95D}" dt="2025-08-26T09:52:28.113" v="55" actId="1076"/>
          <ac:picMkLst>
            <pc:docMk/>
            <pc:sldMk cId="1785723406" sldId="2147483641"/>
            <ac:picMk id="23" creationId="{8B3D1D03-42DF-F336-EBDB-3DF7F7DBC407}"/>
          </ac:picMkLst>
        </pc:picChg>
        <pc:picChg chg="add mod">
          <ac:chgData name="Amelie Heyden" userId="3239f032-7e5a-45d0-aca8-489331d21bb1" providerId="ADAL" clId="{F4274E3A-EB7C-423A-826E-A2ED1F57E95D}" dt="2025-08-26T09:52:33.457" v="56" actId="1076"/>
          <ac:picMkLst>
            <pc:docMk/>
            <pc:sldMk cId="1785723406" sldId="2147483641"/>
            <ac:picMk id="25" creationId="{D76E1429-8FC5-E74C-1E38-6F4B368BA43E}"/>
          </ac:picMkLst>
        </pc:picChg>
        <pc:picChg chg="add mod">
          <ac:chgData name="Amelie Heyden" userId="3239f032-7e5a-45d0-aca8-489331d21bb1" providerId="ADAL" clId="{F4274E3A-EB7C-423A-826E-A2ED1F57E95D}" dt="2025-08-26T09:52:37.512" v="57" actId="1076"/>
          <ac:picMkLst>
            <pc:docMk/>
            <pc:sldMk cId="1785723406" sldId="2147483641"/>
            <ac:picMk id="27" creationId="{E45E2ADA-3089-FA8A-1BE4-0FFF98015AE6}"/>
          </ac:picMkLst>
        </pc:picChg>
      </pc:sldChg>
    </pc:docChg>
  </pc:docChgLst>
  <pc:docChgLst>
    <pc:chgData name="Julian Pauli" userId="S::julian.pauli@vertexinc.com::610ac62b-222a-4de8-b70c-7dd89aaf92e2" providerId="AD" clId="Web-{9A5694DB-708B-8C1D-CC0B-618870A61F18}"/>
    <pc:docChg chg="addSld delSld sldOrd addSection modSection">
      <pc:chgData name="Julian Pauli" userId="S::julian.pauli@vertexinc.com::610ac62b-222a-4de8-b70c-7dd89aaf92e2" providerId="AD" clId="Web-{9A5694DB-708B-8C1D-CC0B-618870A61F18}" dt="2025-08-25T09:39:00.919" v="47"/>
      <pc:docMkLst>
        <pc:docMk/>
      </pc:docMkLst>
      <pc:sldChg chg="ord">
        <pc:chgData name="Julian Pauli" userId="S::julian.pauli@vertexinc.com::610ac62b-222a-4de8-b70c-7dd89aaf92e2" providerId="AD" clId="Web-{9A5694DB-708B-8C1D-CC0B-618870A61F18}" dt="2025-08-25T09:38:44.715" v="45"/>
        <pc:sldMkLst>
          <pc:docMk/>
          <pc:sldMk cId="4140062320" sldId="2147376554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0.902" v="30"/>
        <pc:sldMkLst>
          <pc:docMk/>
          <pc:sldMk cId="1673991097" sldId="2147483624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1.058" v="31"/>
        <pc:sldMkLst>
          <pc:docMk/>
          <pc:sldMk cId="2909774690" sldId="2147483625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2.980" v="37"/>
        <pc:sldMkLst>
          <pc:docMk/>
          <pc:sldMk cId="3987051912" sldId="2147483626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3.636" v="39"/>
        <pc:sldMkLst>
          <pc:docMk/>
          <pc:sldMk cId="1490212131" sldId="2147483628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1.230" v="32"/>
        <pc:sldMkLst>
          <pc:docMk/>
          <pc:sldMk cId="3322865270" sldId="2147483632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1.496" v="33"/>
        <pc:sldMkLst>
          <pc:docMk/>
          <pc:sldMk cId="1601740068" sldId="2147483633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1.730" v="34"/>
        <pc:sldMkLst>
          <pc:docMk/>
          <pc:sldMk cId="1609923985" sldId="2147483634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2.464" v="35"/>
        <pc:sldMkLst>
          <pc:docMk/>
          <pc:sldMk cId="2989395584" sldId="2147483635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2.652" v="36"/>
        <pc:sldMkLst>
          <pc:docMk/>
          <pc:sldMk cId="2310489507" sldId="2147483636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3.386" v="38"/>
        <pc:sldMkLst>
          <pc:docMk/>
          <pc:sldMk cId="2494034384" sldId="2147483637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3.855" v="40"/>
        <pc:sldMkLst>
          <pc:docMk/>
          <pc:sldMk cId="2201849974" sldId="2147483638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4.105" v="41"/>
        <pc:sldMkLst>
          <pc:docMk/>
          <pc:sldMk cId="611153107" sldId="2147483639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4.418" v="42"/>
        <pc:sldMkLst>
          <pc:docMk/>
          <pc:sldMk cId="2872419003" sldId="2147483640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4.636" v="43"/>
        <pc:sldMkLst>
          <pc:docMk/>
          <pc:sldMk cId="1785723406" sldId="2147483641"/>
        </pc:sldMkLst>
      </pc:sldChg>
      <pc:sldChg chg="add del">
        <pc:chgData name="Julian Pauli" userId="S::julian.pauli@vertexinc.com::610ac62b-222a-4de8-b70c-7dd89aaf92e2" providerId="AD" clId="Web-{9A5694DB-708B-8C1D-CC0B-618870A61F18}" dt="2025-08-25T09:38:24.715" v="44"/>
        <pc:sldMkLst>
          <pc:docMk/>
          <pc:sldMk cId="1287421892" sldId="2147483642"/>
        </pc:sldMkLst>
      </pc:sldChg>
      <pc:sldMasterChg chg="addSldLayout">
        <pc:chgData name="Julian Pauli" userId="S::julian.pauli@vertexinc.com::610ac62b-222a-4de8-b70c-7dd89aaf92e2" providerId="AD" clId="Web-{9A5694DB-708B-8C1D-CC0B-618870A61F18}" dt="2025-08-25T09:37:33.119" v="0"/>
        <pc:sldMasterMkLst>
          <pc:docMk/>
          <pc:sldMasterMk cId="2046658354" sldId="2147483660"/>
        </pc:sldMasterMkLst>
        <pc:sldLayoutChg chg="add replId">
          <pc:chgData name="Julian Pauli" userId="S::julian.pauli@vertexinc.com::610ac62b-222a-4de8-b70c-7dd89aaf92e2" providerId="AD" clId="Web-{9A5694DB-708B-8C1D-CC0B-618870A61F18}" dt="2025-08-25T09:37:33.119" v="0"/>
          <pc:sldLayoutMkLst>
            <pc:docMk/>
            <pc:sldMasterMk cId="2046658354" sldId="2147483660"/>
            <pc:sldLayoutMk cId="1275904467" sldId="2147483816"/>
          </pc:sldLayoutMkLst>
        </pc:sldLayoutChg>
      </pc:sldMasterChg>
    </pc:docChg>
  </pc:docChgLst>
  <pc:docChgLst>
    <pc:chgData name="Julian Pauli" userId="610ac62b-222a-4de8-b70c-7dd89aaf92e2" providerId="ADAL" clId="{C869F781-D6F8-497D-A1D1-8095CBAE3B0E}"/>
    <pc:docChg chg="addSld delSld modSld delMainMaster">
      <pc:chgData name="Julian Pauli" userId="610ac62b-222a-4de8-b70c-7dd89aaf92e2" providerId="ADAL" clId="{C869F781-D6F8-497D-A1D1-8095CBAE3B0E}" dt="2025-07-16T06:54:06.438" v="31" actId="20577"/>
      <pc:docMkLst>
        <pc:docMk/>
      </pc:docMkLst>
      <pc:sldChg chg="del">
        <pc:chgData name="Julian Pauli" userId="610ac62b-222a-4de8-b70c-7dd89aaf92e2" providerId="ADAL" clId="{C869F781-D6F8-497D-A1D1-8095CBAE3B0E}" dt="2025-07-16T06:44:18.675" v="4" actId="47"/>
        <pc:sldMkLst>
          <pc:docMk/>
          <pc:sldMk cId="2205469215" sldId="256"/>
        </pc:sldMkLst>
      </pc:sldChg>
      <pc:sldChg chg="delSp modSp add mod">
        <pc:chgData name="Julian Pauli" userId="610ac62b-222a-4de8-b70c-7dd89aaf92e2" providerId="ADAL" clId="{C869F781-D6F8-497D-A1D1-8095CBAE3B0E}" dt="2025-07-16T06:54:06.438" v="31" actId="20577"/>
        <pc:sldMkLst>
          <pc:docMk/>
          <pc:sldMk cId="4140062320" sldId="2147376554"/>
        </pc:sldMkLst>
      </pc:sldChg>
      <pc:sldChg chg="add del">
        <pc:chgData name="Julian Pauli" userId="610ac62b-222a-4de8-b70c-7dd89aaf92e2" providerId="ADAL" clId="{C869F781-D6F8-497D-A1D1-8095CBAE3B0E}" dt="2025-07-16T06:44:02.523" v="2"/>
        <pc:sldMkLst>
          <pc:docMk/>
          <pc:sldMk cId="811275687" sldId="2147482236"/>
        </pc:sldMkLst>
      </pc:sldChg>
      <pc:sldChg chg="add del">
        <pc:chgData name="Julian Pauli" userId="610ac62b-222a-4de8-b70c-7dd89aaf92e2" providerId="ADAL" clId="{C869F781-D6F8-497D-A1D1-8095CBAE3B0E}" dt="2025-07-16T06:44:02.523" v="2"/>
        <pc:sldMkLst>
          <pc:docMk/>
          <pc:sldMk cId="3630762380" sldId="2147482429"/>
        </pc:sldMkLst>
      </pc:sldChg>
      <pc:sldChg chg="modSp mod">
        <pc:chgData name="Julian Pauli" userId="610ac62b-222a-4de8-b70c-7dd89aaf92e2" providerId="ADAL" clId="{C869F781-D6F8-497D-A1D1-8095CBAE3B0E}" dt="2025-07-16T06:44:52.593" v="13" actId="20577"/>
        <pc:sldMkLst>
          <pc:docMk/>
          <pc:sldMk cId="2104859327" sldId="2147483488"/>
        </pc:sldMkLst>
      </pc:sldChg>
      <pc:sldMasterChg chg="del delSldLayout">
        <pc:chgData name="Julian Pauli" userId="610ac62b-222a-4de8-b70c-7dd89aaf92e2" providerId="ADAL" clId="{C869F781-D6F8-497D-A1D1-8095CBAE3B0E}" dt="2025-07-16T06:44:18.675" v="4" actId="47"/>
        <pc:sldMasterMkLst>
          <pc:docMk/>
          <pc:sldMasterMk cId="1591031122" sldId="2147483648"/>
        </pc:sldMasterMkLst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3451158164" sldId="2147483649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1650714683" sldId="2147483650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3546481751" sldId="2147483651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1521862551" sldId="2147483652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3647257051" sldId="2147483653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1428532539" sldId="2147483654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3137421139" sldId="2147483655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1191774509" sldId="2147483656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2790036458" sldId="2147483657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1923697784" sldId="2147483658"/>
          </pc:sldLayoutMkLst>
        </pc:sldLayoutChg>
        <pc:sldLayoutChg chg="del">
          <pc:chgData name="Julian Pauli" userId="610ac62b-222a-4de8-b70c-7dd89aaf92e2" providerId="ADAL" clId="{C869F781-D6F8-497D-A1D1-8095CBAE3B0E}" dt="2025-07-16T06:44:18.675" v="4" actId="47"/>
          <pc:sldLayoutMkLst>
            <pc:docMk/>
            <pc:sldMasterMk cId="1591031122" sldId="2147483648"/>
            <pc:sldLayoutMk cId="3762840704" sldId="2147483659"/>
          </pc:sldLayoutMkLst>
        </pc:sldLayoutChg>
      </pc:sldMasterChg>
    </pc:docChg>
  </pc:docChgLst>
  <pc:docChgLst>
    <pc:chgData name="Amelie Heyden" userId="S::amelie.heyden@vertexinc.com::3239f032-7e5a-45d0-aca8-489331d21bb1" providerId="AD" clId="Web-{746F694D-5BCD-8EDF-F272-14DB6E67AD43}"/>
    <pc:docChg chg="modSld">
      <pc:chgData name="Amelie Heyden" userId="S::amelie.heyden@vertexinc.com::3239f032-7e5a-45d0-aca8-489331d21bb1" providerId="AD" clId="Web-{746F694D-5BCD-8EDF-F272-14DB6E67AD43}" dt="2025-08-20T14:38:19.540" v="20" actId="20577"/>
      <pc:docMkLst>
        <pc:docMk/>
      </pc:docMkLst>
      <pc:sldChg chg="modSp">
        <pc:chgData name="Amelie Heyden" userId="S::amelie.heyden@vertexinc.com::3239f032-7e5a-45d0-aca8-489331d21bb1" providerId="AD" clId="Web-{746F694D-5BCD-8EDF-F272-14DB6E67AD43}" dt="2025-08-20T14:38:19.540" v="20" actId="20577"/>
        <pc:sldMkLst>
          <pc:docMk/>
          <pc:sldMk cId="96721266" sldId="2147483523"/>
        </pc:sldMkLst>
        <pc:spChg chg="mod">
          <ac:chgData name="Amelie Heyden" userId="S::amelie.heyden@vertexinc.com::3239f032-7e5a-45d0-aca8-489331d21bb1" providerId="AD" clId="Web-{746F694D-5BCD-8EDF-F272-14DB6E67AD43}" dt="2025-08-20T14:37:32.365" v="8" actId="20577"/>
          <ac:spMkLst>
            <pc:docMk/>
            <pc:sldMk cId="96721266" sldId="2147483523"/>
            <ac:spMk id="9" creationId="{98A41547-2B67-1B74-02BA-36FEEEC17D93}"/>
          </ac:spMkLst>
        </pc:spChg>
        <pc:spChg chg="mod">
          <ac:chgData name="Amelie Heyden" userId="S::amelie.heyden@vertexinc.com::3239f032-7e5a-45d0-aca8-489331d21bb1" providerId="AD" clId="Web-{746F694D-5BCD-8EDF-F272-14DB6E67AD43}" dt="2025-08-20T14:37:38.678" v="9" actId="20577"/>
          <ac:spMkLst>
            <pc:docMk/>
            <pc:sldMk cId="96721266" sldId="2147483523"/>
            <ac:spMk id="11" creationId="{B31CE8BF-7AE3-2819-FE65-081E188CE9D7}"/>
          </ac:spMkLst>
        </pc:spChg>
        <pc:spChg chg="mod">
          <ac:chgData name="Amelie Heyden" userId="S::amelie.heyden@vertexinc.com::3239f032-7e5a-45d0-aca8-489331d21bb1" providerId="AD" clId="Web-{746F694D-5BCD-8EDF-F272-14DB6E67AD43}" dt="2025-08-20T14:38:10.071" v="16" actId="20577"/>
          <ac:spMkLst>
            <pc:docMk/>
            <pc:sldMk cId="96721266" sldId="2147483523"/>
            <ac:spMk id="13" creationId="{26DEDB58-2AA9-D334-94AE-9EE5B2AB38F3}"/>
          </ac:spMkLst>
        </pc:spChg>
        <pc:spChg chg="mod">
          <ac:chgData name="Amelie Heyden" userId="S::amelie.heyden@vertexinc.com::3239f032-7e5a-45d0-aca8-489331d21bb1" providerId="AD" clId="Web-{746F694D-5BCD-8EDF-F272-14DB6E67AD43}" dt="2025-08-20T14:38:19.540" v="20" actId="20577"/>
          <ac:spMkLst>
            <pc:docMk/>
            <pc:sldMk cId="96721266" sldId="2147483523"/>
            <ac:spMk id="24" creationId="{C1F8DCB9-4314-FFE6-D474-D1ABB15A3594}"/>
          </ac:spMkLst>
        </pc:spChg>
        <pc:spChg chg="mod">
          <ac:chgData name="Amelie Heyden" userId="S::amelie.heyden@vertexinc.com::3239f032-7e5a-45d0-aca8-489331d21bb1" providerId="AD" clId="Web-{746F694D-5BCD-8EDF-F272-14DB6E67AD43}" dt="2025-08-20T14:37:50.820" v="13" actId="20577"/>
          <ac:spMkLst>
            <pc:docMk/>
            <pc:sldMk cId="96721266" sldId="2147483523"/>
            <ac:spMk id="25" creationId="{FAE9AB1C-938E-A93B-FDFB-62A64052A4DE}"/>
          </ac:spMkLst>
        </pc:spChg>
      </pc:sldChg>
    </pc:docChg>
  </pc:docChgLst>
  <pc:docChgLst>
    <pc:chgData name="Julian Pauli" userId="610ac62b-222a-4de8-b70c-7dd89aaf92e2" providerId="ADAL" clId="{80338092-BF3F-4497-AE90-59CA3E487426}"/>
    <pc:docChg chg="undo redo custSel addSld delSld modSld sldOrd addSection delSection modSection">
      <pc:chgData name="Julian Pauli" userId="610ac62b-222a-4de8-b70c-7dd89aaf92e2" providerId="ADAL" clId="{80338092-BF3F-4497-AE90-59CA3E487426}" dt="2025-08-18T08:23:53.238" v="2027" actId="47"/>
      <pc:docMkLst>
        <pc:docMk/>
      </pc:docMkLst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5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5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5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5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6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7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7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7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572711708" sldId="27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7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779136400" sldId="30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749778048" sldId="36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760296086" sldId="36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71014609" sldId="37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406964588" sldId="72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907039811" sldId="214684787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590342395" sldId="2147308983"/>
        </pc:sldMkLst>
      </pc:sldChg>
      <pc:sldChg chg="addSp delSp modSp add del mod modClrScheme chgLayout">
        <pc:chgData name="Julian Pauli" userId="610ac62b-222a-4de8-b70c-7dd89aaf92e2" providerId="ADAL" clId="{80338092-BF3F-4497-AE90-59CA3E487426}" dt="2025-08-18T08:23:53.238" v="2027" actId="47"/>
        <pc:sldMkLst>
          <pc:docMk/>
          <pc:sldMk cId="1280269266" sldId="2147309051"/>
        </pc:sldMkLst>
      </pc:sldChg>
      <pc:sldChg chg="addSp delSp modSp mod modClrScheme chgLayout">
        <pc:chgData name="Julian Pauli" userId="610ac62b-222a-4de8-b70c-7dd89aaf92e2" providerId="ADAL" clId="{80338092-BF3F-4497-AE90-59CA3E487426}" dt="2025-08-18T08:16:29.582" v="1969" actId="14100"/>
        <pc:sldMkLst>
          <pc:docMk/>
          <pc:sldMk cId="3388502211" sldId="2147376502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3388502211" sldId="2147376502"/>
            <ac:spMk id="5" creationId="{F9314382-E7AA-92A7-E7E3-AFC765A70376}"/>
          </ac:spMkLst>
        </pc:spChg>
        <pc:spChg chg="add mod">
          <ac:chgData name="Julian Pauli" userId="610ac62b-222a-4de8-b70c-7dd89aaf92e2" providerId="ADAL" clId="{80338092-BF3F-4497-AE90-59CA3E487426}" dt="2025-08-18T08:11:26.907" v="1957" actId="1076"/>
          <ac:spMkLst>
            <pc:docMk/>
            <pc:sldMk cId="3388502211" sldId="2147376502"/>
            <ac:spMk id="10" creationId="{28F95BBA-CE2D-633A-1464-E4BC91681E74}"/>
          </ac:spMkLst>
        </pc:spChg>
        <pc:spChg chg="add mod ord">
          <ac:chgData name="Julian Pauli" userId="610ac62b-222a-4de8-b70c-7dd89aaf92e2" providerId="ADAL" clId="{80338092-BF3F-4497-AE90-59CA3E487426}" dt="2025-08-18T08:16:16.555" v="1966" actId="14100"/>
          <ac:spMkLst>
            <pc:docMk/>
            <pc:sldMk cId="3388502211" sldId="2147376502"/>
            <ac:spMk id="13" creationId="{A14CAB20-A9DD-2DD9-3020-F5807EBE9FA6}"/>
          </ac:spMkLst>
        </pc:spChg>
        <pc:spChg chg="mod ord">
          <ac:chgData name="Julian Pauli" userId="610ac62b-222a-4de8-b70c-7dd89aaf92e2" providerId="ADAL" clId="{80338092-BF3F-4497-AE90-59CA3E487426}" dt="2025-08-18T08:16:29.582" v="1969" actId="14100"/>
          <ac:spMkLst>
            <pc:docMk/>
            <pc:sldMk cId="3388502211" sldId="2147376502"/>
            <ac:spMk id="16" creationId="{7E976D2F-3DA4-5C3B-9978-240EBC395DC6}"/>
          </ac:spMkLst>
        </pc:spChg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957967029" sldId="214747064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721135071" sldId="214747070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206074745" sldId="214747071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296210091" sldId="214747167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45478050" sldId="214747170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244597180" sldId="214747179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42536338" sldId="214747184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035890507" sldId="214748184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55249334" sldId="214748186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951560452" sldId="214748186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122359035" sldId="214748186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218092451" sldId="214748189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59407638" sldId="2147481923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3236188298" sldId="2147482002"/>
        </pc:sldMkLst>
      </pc:sldChg>
      <pc:sldChg chg="add del ord">
        <pc:chgData name="Julian Pauli" userId="610ac62b-222a-4de8-b70c-7dd89aaf92e2" providerId="ADAL" clId="{80338092-BF3F-4497-AE90-59CA3E487426}" dt="2025-08-14T12:46:25.674" v="1508" actId="47"/>
        <pc:sldMkLst>
          <pc:docMk/>
          <pc:sldMk cId="2776194714" sldId="2147482114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2127920530" sldId="214748214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192991094" sldId="214748218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966870512" sldId="214748222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105000777" sldId="214748222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202923383" sldId="214748222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720172404" sldId="214748222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98497064" sldId="214748222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969122044" sldId="2147482230"/>
        </pc:sldMkLst>
      </pc:sldChg>
      <pc:sldChg chg="ord">
        <pc:chgData name="Julian Pauli" userId="610ac62b-222a-4de8-b70c-7dd89aaf92e2" providerId="ADAL" clId="{80338092-BF3F-4497-AE90-59CA3E487426}" dt="2025-08-14T12:47:04.853" v="1511"/>
        <pc:sldMkLst>
          <pc:docMk/>
          <pc:sldMk cId="1206165113" sldId="214748223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851535843" sldId="214748223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354940921" sldId="214748223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811275687" sldId="214748223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828738974" sldId="214748224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553985866" sldId="214748229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666492794" sldId="214748229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034418358" sldId="214748232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857530344" sldId="214748234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598344581" sldId="214748234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051559" sldId="214748236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580755079" sldId="214748239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480257432" sldId="214748239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422830266" sldId="214748240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892274612" sldId="214748241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718477618" sldId="214748241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02847418" sldId="214748241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871673278" sldId="214748242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433445784" sldId="214748242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630762380" sldId="214748242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951371670" sldId="214748243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972530347" sldId="214748244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277455864" sldId="214748246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502390935" sldId="214748247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771620047" sldId="214748247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87554073" sldId="214748248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84054952" sldId="214748251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948650605" sldId="214748251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256458758" sldId="214748347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542647624" sldId="214748347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089338421" sldId="214748347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064324547" sldId="214748348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641479769" sldId="2147483483"/>
        </pc:sldMkLst>
      </pc:sldChg>
      <pc:sldChg chg="del">
        <pc:chgData name="Julian Pauli" userId="610ac62b-222a-4de8-b70c-7dd89aaf92e2" providerId="ADAL" clId="{80338092-BF3F-4497-AE90-59CA3E487426}" dt="2025-08-14T09:21:20.139" v="472" actId="47"/>
        <pc:sldMkLst>
          <pc:docMk/>
          <pc:sldMk cId="414493101" sldId="214748348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152541158" sldId="214748348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04859327" sldId="214748348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271722362" sldId="2147483489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2177105932" sldId="214748351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976669984" sldId="214748351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09995941" sldId="214748351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507289835" sldId="214748351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341472340" sldId="2147483517"/>
        </pc:sldMkLst>
      </pc:sldChg>
      <pc:sldChg chg="modSp mod ord modShow">
        <pc:chgData name="Julian Pauli" userId="610ac62b-222a-4de8-b70c-7dd89aaf92e2" providerId="ADAL" clId="{80338092-BF3F-4497-AE90-59CA3E487426}" dt="2025-08-14T12:47:54.190" v="1520"/>
        <pc:sldMkLst>
          <pc:docMk/>
          <pc:sldMk cId="2276872456" sldId="214748351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705694584" sldId="214748351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2107673721" sldId="214748352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4192230647" sldId="2147483521"/>
        </pc:sldMkLst>
      </pc:sldChg>
      <pc:sldChg chg="addSp delSp modSp mod modClrScheme chgLayout">
        <pc:chgData name="Julian Pauli" userId="610ac62b-222a-4de8-b70c-7dd89aaf92e2" providerId="ADAL" clId="{80338092-BF3F-4497-AE90-59CA3E487426}" dt="2025-08-18T08:17:47.577" v="2022" actId="478"/>
        <pc:sldMkLst>
          <pc:docMk/>
          <pc:sldMk cId="2243603326" sldId="2147483522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2243603326" sldId="2147483522"/>
            <ac:spMk id="2" creationId="{5726E340-D875-69D9-5931-5CA8E281151E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2243603326" sldId="2147483522"/>
            <ac:spMk id="3" creationId="{F97E37E3-F42A-FE34-6F39-3971D9AD47DE}"/>
          </ac:spMkLst>
        </pc:spChg>
        <pc:spChg chg="mod">
          <ac:chgData name="Julian Pauli" userId="610ac62b-222a-4de8-b70c-7dd89aaf92e2" providerId="ADAL" clId="{80338092-BF3F-4497-AE90-59CA3E487426}" dt="2025-08-14T13:20:41.755" v="1754" actId="20577"/>
          <ac:spMkLst>
            <pc:docMk/>
            <pc:sldMk cId="2243603326" sldId="2147483522"/>
            <ac:spMk id="12" creationId="{5D0AC1F4-A254-17B5-5CCF-B4C7E6B9CC44}"/>
          </ac:spMkLst>
        </pc:spChg>
      </pc:sldChg>
      <pc:sldChg chg="addSp delSp modSp mod modClrScheme modAnim chgLayout">
        <pc:chgData name="Julian Pauli" userId="610ac62b-222a-4de8-b70c-7dd89aaf92e2" providerId="ADAL" clId="{80338092-BF3F-4497-AE90-59CA3E487426}" dt="2025-08-18T08:17:36.306" v="2020" actId="478"/>
        <pc:sldMkLst>
          <pc:docMk/>
          <pc:sldMk cId="96721266" sldId="2147483523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6721266" sldId="2147483523"/>
            <ac:spMk id="2" creationId="{7AB0196D-B329-77FE-1828-4A3014AE102D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6721266" sldId="2147483523"/>
            <ac:spMk id="3" creationId="{564819E2-2DFE-EDFF-030B-2C9B236E5E4D}"/>
          </ac:spMkLst>
        </pc:spChg>
      </pc:sldChg>
      <pc:sldChg chg="addSp delSp modSp add del mod modClrScheme chgLayout">
        <pc:chgData name="Julian Pauli" userId="610ac62b-222a-4de8-b70c-7dd89aaf92e2" providerId="ADAL" clId="{80338092-BF3F-4497-AE90-59CA3E487426}" dt="2025-08-18T08:17:21.619" v="2018" actId="478"/>
        <pc:sldMkLst>
          <pc:docMk/>
          <pc:sldMk cId="4188476466" sldId="2147483524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4188476466" sldId="2147483524"/>
            <ac:spMk id="2" creationId="{24085233-0833-9DA7-2FAC-91F7F096D377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4188476466" sldId="2147483524"/>
            <ac:spMk id="3" creationId="{18C0CB0C-7A21-043D-A7E0-76CED4584580}"/>
          </ac:spMkLst>
        </pc:spChg>
        <pc:spChg chg="add mod">
          <ac:chgData name="Julian Pauli" userId="610ac62b-222a-4de8-b70c-7dd89aaf92e2" providerId="ADAL" clId="{80338092-BF3F-4497-AE90-59CA3E487426}" dt="2025-08-14T13:24:27.893" v="1765" actId="6549"/>
          <ac:spMkLst>
            <pc:docMk/>
            <pc:sldMk cId="4188476466" sldId="2147483524"/>
            <ac:spMk id="9" creationId="{2D2114A1-83BA-9819-F79D-230A706ECA64}"/>
          </ac:spMkLst>
        </pc:spChg>
        <pc:spChg chg="add mod ord">
          <ac:chgData name="Julian Pauli" userId="610ac62b-222a-4de8-b70c-7dd89aaf92e2" providerId="ADAL" clId="{80338092-BF3F-4497-AE90-59CA3E487426}" dt="2025-08-14T13:27:35.856" v="1804" actId="167"/>
          <ac:spMkLst>
            <pc:docMk/>
            <pc:sldMk cId="4188476466" sldId="2147483524"/>
            <ac:spMk id="14" creationId="{56664025-6E8E-FDC3-ACAB-DA4D428EB253}"/>
          </ac:spMkLst>
        </pc:spChg>
        <pc:spChg chg="add mod ord">
          <ac:chgData name="Julian Pauli" userId="610ac62b-222a-4de8-b70c-7dd89aaf92e2" providerId="ADAL" clId="{80338092-BF3F-4497-AE90-59CA3E487426}" dt="2025-08-14T13:27:35.856" v="1804" actId="167"/>
          <ac:spMkLst>
            <pc:docMk/>
            <pc:sldMk cId="4188476466" sldId="2147483524"/>
            <ac:spMk id="15" creationId="{0BAAD7D5-9E4A-25F1-7839-6A79351C3DFD}"/>
          </ac:spMkLst>
        </pc:spChg>
        <pc:picChg chg="add mod ord">
          <ac:chgData name="Julian Pauli" userId="610ac62b-222a-4de8-b70c-7dd89aaf92e2" providerId="ADAL" clId="{80338092-BF3F-4497-AE90-59CA3E487426}" dt="2025-08-14T12:27:16.075" v="1500" actId="167"/>
          <ac:picMkLst>
            <pc:docMk/>
            <pc:sldMk cId="4188476466" sldId="2147483524"/>
            <ac:picMk id="7" creationId="{428B5262-8E15-4B08-E8A7-6D73BB8E5F19}"/>
          </ac:picMkLst>
        </pc:picChg>
        <pc:picChg chg="add mod ord">
          <ac:chgData name="Julian Pauli" userId="610ac62b-222a-4de8-b70c-7dd89aaf92e2" providerId="ADAL" clId="{80338092-BF3F-4497-AE90-59CA3E487426}" dt="2025-08-14T13:27:35.856" v="1804" actId="167"/>
          <ac:picMkLst>
            <pc:docMk/>
            <pc:sldMk cId="4188476466" sldId="2147483524"/>
            <ac:picMk id="16" creationId="{65EFCDB2-1BA0-DA5E-E1F1-D09607A4EB6C}"/>
          </ac:picMkLst>
        </pc:picChg>
      </pc:sldChg>
      <pc:sldChg chg="addSp delSp modSp mod modClrScheme chgLayout">
        <pc:chgData name="Julian Pauli" userId="610ac62b-222a-4de8-b70c-7dd89aaf92e2" providerId="ADAL" clId="{80338092-BF3F-4497-AE90-59CA3E487426}" dt="2025-08-18T08:09:30.309" v="1955" actId="1035"/>
        <pc:sldMkLst>
          <pc:docMk/>
          <pc:sldMk cId="2843648878" sldId="2147483525"/>
        </pc:sldMkLst>
        <pc:spChg chg="mod ord">
          <ac:chgData name="Julian Pauli" userId="610ac62b-222a-4de8-b70c-7dd89aaf92e2" providerId="ADAL" clId="{80338092-BF3F-4497-AE90-59CA3E487426}" dt="2025-08-18T08:09:20.127" v="1950" actId="166"/>
          <ac:spMkLst>
            <pc:docMk/>
            <pc:sldMk cId="2843648878" sldId="2147483525"/>
            <ac:spMk id="2" creationId="{A9A00EA5-1478-1716-5DC4-E85F6A247A4D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2843648878" sldId="2147483525"/>
            <ac:spMk id="3" creationId="{D6FCC083-FBF8-4006-637A-02D94E93034E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11" creationId="{952AEF2A-3E3D-49FF-BDC7-E40BB3F46F5A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8" creationId="{048DA889-085B-699F-976A-FFA6A564B660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19" creationId="{69B98AEB-E1E1-08BA-5098-4A77559D0C1D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28" creationId="{000A8C22-8C6A-7A88-501D-1A71FFD96E18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78" creationId="{0A6B9DA7-C79B-DC3F-1102-E4F7B498A0CD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85" creationId="{C230D980-2715-57A1-022D-0EBCE4467D4A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91" creationId="{26DAE527-94CD-BC34-2F08-6447A83A13BF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92" creationId="{F4156A24-17B5-FDC7-D3A0-02A06C47954C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93" creationId="{72C0E323-F879-087A-C56A-B1881E6BA37F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97" creationId="{600F4643-B6C3-1324-36FF-BA0637D73A64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101" creationId="{F2A2D806-75A4-5D56-CB5C-5A5E754EE528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102" creationId="{6FA87037-97F8-0FFC-0137-55C718F45CF0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05" creationId="{37509431-2A7E-99E4-40D2-470BC91B8930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11" creationId="{FE067272-271A-4153-6351-85223C9C4C96}"/>
          </ac:spMkLst>
        </pc:spChg>
        <pc:spChg chg="mod">
          <ac:chgData name="Julian Pauli" userId="610ac62b-222a-4de8-b70c-7dd89aaf92e2" providerId="ADAL" clId="{80338092-BF3F-4497-AE90-59CA3E487426}" dt="2025-08-18T08:07:57.488" v="1868" actId="1035"/>
          <ac:spMkLst>
            <pc:docMk/>
            <pc:sldMk cId="2843648878" sldId="2147483525"/>
            <ac:spMk id="113" creationId="{D8F1DF25-88B8-EF03-3A0E-03EEA35F7777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15" creationId="{6254BB6A-FE8D-AA6D-B9E6-B355E8CA7A39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16" creationId="{8BF36D2F-60D3-D1C0-3B05-94084FA0BCBF}"/>
          </ac:spMkLst>
        </pc:spChg>
        <pc:spChg chg="mod">
          <ac:chgData name="Julian Pauli" userId="610ac62b-222a-4de8-b70c-7dd89aaf92e2" providerId="ADAL" clId="{80338092-BF3F-4497-AE90-59CA3E487426}" dt="2025-08-18T08:09:30.309" v="1955" actId="1035"/>
          <ac:spMkLst>
            <pc:docMk/>
            <pc:sldMk cId="2843648878" sldId="2147483525"/>
            <ac:spMk id="123" creationId="{0D5B2CB9-4562-EEB3-5BCF-C33D6DB77F98}"/>
          </ac:spMkLst>
        </pc:spChg>
      </pc:sldChg>
      <pc:sldChg chg="ord">
        <pc:chgData name="Julian Pauli" userId="610ac62b-222a-4de8-b70c-7dd89aaf92e2" providerId="ADAL" clId="{80338092-BF3F-4497-AE90-59CA3E487426}" dt="2025-08-14T12:47:48.123" v="1517"/>
        <pc:sldMkLst>
          <pc:docMk/>
          <pc:sldMk cId="2185421232" sldId="2147483527"/>
        </pc:sldMkLst>
      </pc:sldChg>
      <pc:sldChg chg="del">
        <pc:chgData name="Julian Pauli" userId="610ac62b-222a-4de8-b70c-7dd89aaf92e2" providerId="ADAL" clId="{80338092-BF3F-4497-AE90-59CA3E487426}" dt="2025-08-14T09:42:21.442" v="695" actId="47"/>
        <pc:sldMkLst>
          <pc:docMk/>
          <pc:sldMk cId="539561129" sldId="214748352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3941885776" sldId="214748352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8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39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0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1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2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3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4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5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6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0" sldId="2147483547"/>
        </pc:sldMkLst>
      </pc:sldChg>
      <pc:sldChg chg="add del">
        <pc:chgData name="Julian Pauli" userId="610ac62b-222a-4de8-b70c-7dd89aaf92e2" providerId="ADAL" clId="{80338092-BF3F-4497-AE90-59CA3E487426}" dt="2025-08-14T12:46:25.674" v="1508" actId="47"/>
        <pc:sldMkLst>
          <pc:docMk/>
          <pc:sldMk cId="1200628038" sldId="2147483548"/>
        </pc:sldMkLst>
      </pc:sldChg>
      <pc:sldChg chg="addSp delSp modSp mod modClrScheme modAnim chgLayout">
        <pc:chgData name="Julian Pauli" userId="610ac62b-222a-4de8-b70c-7dd89aaf92e2" providerId="ADAL" clId="{80338092-BF3F-4497-AE90-59CA3E487426}" dt="2025-08-18T08:17:42.297" v="2021" actId="478"/>
        <pc:sldMkLst>
          <pc:docMk/>
          <pc:sldMk cId="98186882" sldId="2147483550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8186882" sldId="2147483550"/>
            <ac:spMk id="2" creationId="{9AC9D159-1B75-CE5A-FBA9-E8BB8DAA2149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8186882" sldId="2147483550"/>
            <ac:spMk id="3" creationId="{E3B9CE61-1032-124C-CCF2-258AF18E5E7A}"/>
          </ac:spMkLst>
        </pc:spChg>
        <pc:spChg chg="mod">
          <ac:chgData name="Julian Pauli" userId="610ac62b-222a-4de8-b70c-7dd89aaf92e2" providerId="ADAL" clId="{80338092-BF3F-4497-AE90-59CA3E487426}" dt="2025-08-14T13:19:56.392" v="1749" actId="20577"/>
          <ac:spMkLst>
            <pc:docMk/>
            <pc:sldMk cId="98186882" sldId="2147483550"/>
            <ac:spMk id="12" creationId="{F43AC6DC-70C8-1D09-2BA9-08F5329A212E}"/>
          </ac:spMkLst>
        </pc:spChg>
        <pc:spChg chg="mod">
          <ac:chgData name="Julian Pauli" userId="610ac62b-222a-4de8-b70c-7dd89aaf92e2" providerId="ADAL" clId="{80338092-BF3F-4497-AE90-59CA3E487426}" dt="2025-08-14T13:19:10.107" v="1747" actId="108"/>
          <ac:spMkLst>
            <pc:docMk/>
            <pc:sldMk cId="98186882" sldId="2147483550"/>
            <ac:spMk id="15" creationId="{B3F291A0-41F6-B032-E181-B0D899D8B197}"/>
          </ac:spMkLst>
        </pc:spChg>
        <pc:spChg chg="mod">
          <ac:chgData name="Julian Pauli" userId="610ac62b-222a-4de8-b70c-7dd89aaf92e2" providerId="ADAL" clId="{80338092-BF3F-4497-AE90-59CA3E487426}" dt="2025-08-14T13:19:12.168" v="1748" actId="108"/>
          <ac:spMkLst>
            <pc:docMk/>
            <pc:sldMk cId="98186882" sldId="2147483550"/>
            <ac:spMk id="18" creationId="{7BC727C9-543C-6DCC-1204-17AB3DFB2CD5}"/>
          </ac:spMkLst>
        </pc:spChg>
        <pc:picChg chg="add mod ord">
          <ac:chgData name="Julian Pauli" userId="610ac62b-222a-4de8-b70c-7dd89aaf92e2" providerId="ADAL" clId="{80338092-BF3F-4497-AE90-59CA3E487426}" dt="2025-08-14T13:35:59.167" v="1827" actId="167"/>
          <ac:picMkLst>
            <pc:docMk/>
            <pc:sldMk cId="98186882" sldId="2147483550"/>
            <ac:picMk id="5" creationId="{4120578E-A2A3-FF74-D2EE-70322AD80FA3}"/>
          </ac:picMkLst>
        </pc:picChg>
      </pc:sldChg>
      <pc:sldChg chg="addSp delSp modSp add del mod modAnim chgLayout">
        <pc:chgData name="Julian Pauli" userId="610ac62b-222a-4de8-b70c-7dd89aaf92e2" providerId="ADAL" clId="{80338092-BF3F-4497-AE90-59CA3E487426}" dt="2025-08-18T08:17:17.744" v="2017" actId="478"/>
        <pc:sldMkLst>
          <pc:docMk/>
          <pc:sldMk cId="3031947959" sldId="2147483553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3031947959" sldId="2147483553"/>
            <ac:spMk id="2" creationId="{903C4E10-659D-23BC-DA9D-D26AA213AAA7}"/>
          </ac:spMkLst>
        </pc:spChg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3031947959" sldId="2147483553"/>
            <ac:spMk id="4" creationId="{E4D816C3-8434-CB1A-B5BA-E4AE0E721631}"/>
          </ac:spMkLst>
        </pc:spChg>
        <pc:spChg chg="add mod">
          <ac:chgData name="Julian Pauli" userId="610ac62b-222a-4de8-b70c-7dd89aaf92e2" providerId="ADAL" clId="{80338092-BF3F-4497-AE90-59CA3E487426}" dt="2025-08-14T12:54:45.372" v="1545" actId="14100"/>
          <ac:spMkLst>
            <pc:docMk/>
            <pc:sldMk cId="3031947959" sldId="2147483553"/>
            <ac:spMk id="6" creationId="{4439E10F-987A-949B-D09E-5B0342CE6768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9" creationId="{9B7243CF-4310-9D53-9508-44C49201B1E3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10" creationId="{7FFE34C2-E276-5166-265E-23449B736C1E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12" creationId="{1B0937AB-4FD7-F096-ABFD-28E12EF9D5B1}"/>
          </ac:spMkLst>
        </pc:spChg>
        <pc:spChg chg="add mod">
          <ac:chgData name="Julian Pauli" userId="610ac62b-222a-4de8-b70c-7dd89aaf92e2" providerId="ADAL" clId="{80338092-BF3F-4497-AE90-59CA3E487426}" dt="2025-08-14T12:55:09.330" v="1549" actId="1076"/>
          <ac:spMkLst>
            <pc:docMk/>
            <pc:sldMk cId="3031947959" sldId="2147483553"/>
            <ac:spMk id="13" creationId="{93C33FDE-6EC3-E410-F3DA-FB359892245E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14" creationId="{9D385C03-4599-DD31-C5E3-7470E932EE15}"/>
          </ac:spMkLst>
        </pc:spChg>
        <pc:spChg chg="add mod">
          <ac:chgData name="Julian Pauli" userId="610ac62b-222a-4de8-b70c-7dd89aaf92e2" providerId="ADAL" clId="{80338092-BF3F-4497-AE90-59CA3E487426}" dt="2025-08-14T12:17:00.432" v="1410" actId="1076"/>
          <ac:spMkLst>
            <pc:docMk/>
            <pc:sldMk cId="3031947959" sldId="2147483553"/>
            <ac:spMk id="16" creationId="{1A36AA19-FCF7-D1D7-97D8-07B1D38409BD}"/>
          </ac:spMkLst>
        </pc:spChg>
        <pc:spChg chg="add mod">
          <ac:chgData name="Julian Pauli" userId="610ac62b-222a-4de8-b70c-7dd89aaf92e2" providerId="ADAL" clId="{80338092-BF3F-4497-AE90-59CA3E487426}" dt="2025-08-14T12:54:55.837" v="1547" actId="1076"/>
          <ac:spMkLst>
            <pc:docMk/>
            <pc:sldMk cId="3031947959" sldId="2147483553"/>
            <ac:spMk id="17" creationId="{9433E517-24AB-0C52-564F-0E102CF9CE1D}"/>
          </ac:spMkLst>
        </pc:spChg>
        <pc:spChg chg="mod topLvl">
          <ac:chgData name="Julian Pauli" userId="610ac62b-222a-4de8-b70c-7dd89aaf92e2" providerId="ADAL" clId="{80338092-BF3F-4497-AE90-59CA3E487426}" dt="2025-08-14T13:27:41.655" v="1805" actId="165"/>
          <ac:spMkLst>
            <pc:docMk/>
            <pc:sldMk cId="3031947959" sldId="2147483553"/>
            <ac:spMk id="18" creationId="{58D479BF-C9CB-15AF-689A-C7BD5EC623C0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19" creationId="{DC80681B-6558-2924-5B1E-9C1B69374236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21" creationId="{329E255E-438D-4913-648F-683F708252B0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22" creationId="{BBA1CD79-948F-CA01-550F-028CF9F7DB07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23" creationId="{A0A73F0C-D550-9451-6ED8-142C177DF0DD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25" creationId="{9445D90F-E309-26E2-3027-87E8E020C470}"/>
          </ac:spMkLst>
        </pc:spChg>
        <pc:spChg chg="mod">
          <ac:chgData name="Julian Pauli" userId="610ac62b-222a-4de8-b70c-7dd89aaf92e2" providerId="ADAL" clId="{80338092-BF3F-4497-AE90-59CA3E487426}" dt="2025-08-14T11:40:38.369" v="1375" actId="113"/>
          <ac:spMkLst>
            <pc:docMk/>
            <pc:sldMk cId="3031947959" sldId="2147483553"/>
            <ac:spMk id="26" creationId="{8D1D02FF-8E43-E083-7320-B95F1A7B19DE}"/>
          </ac:spMkLst>
        </pc:spChg>
        <pc:spChg chg="add mod">
          <ac:chgData name="Julian Pauli" userId="610ac62b-222a-4de8-b70c-7dd89aaf92e2" providerId="ADAL" clId="{80338092-BF3F-4497-AE90-59CA3E487426}" dt="2025-08-14T12:55:20.946" v="1552" actId="1076"/>
          <ac:spMkLst>
            <pc:docMk/>
            <pc:sldMk cId="3031947959" sldId="2147483553"/>
            <ac:spMk id="35" creationId="{3F687386-2925-CD08-EB64-221AAF62E06B}"/>
          </ac:spMkLst>
        </pc:spChg>
        <pc:spChg chg="mod topLvl">
          <ac:chgData name="Julian Pauli" userId="610ac62b-222a-4de8-b70c-7dd89aaf92e2" providerId="ADAL" clId="{80338092-BF3F-4497-AE90-59CA3E487426}" dt="2025-08-14T13:27:41.655" v="1805" actId="165"/>
          <ac:spMkLst>
            <pc:docMk/>
            <pc:sldMk cId="3031947959" sldId="2147483553"/>
            <ac:spMk id="38" creationId="{FD6B06CF-DD12-C474-EF5D-F55B30F4C8F0}"/>
          </ac:spMkLst>
        </pc:spChg>
        <pc:spChg chg="mod topLvl">
          <ac:chgData name="Julian Pauli" userId="610ac62b-222a-4de8-b70c-7dd89aaf92e2" providerId="ADAL" clId="{80338092-BF3F-4497-AE90-59CA3E487426}" dt="2025-08-14T13:27:41.655" v="1805" actId="165"/>
          <ac:spMkLst>
            <pc:docMk/>
            <pc:sldMk cId="3031947959" sldId="2147483553"/>
            <ac:spMk id="39" creationId="{818072B0-9EE1-58BE-C768-B2012AC407DF}"/>
          </ac:spMkLst>
        </pc:spChg>
        <pc:spChg chg="mod topLvl">
          <ac:chgData name="Julian Pauli" userId="610ac62b-222a-4de8-b70c-7dd89aaf92e2" providerId="ADAL" clId="{80338092-BF3F-4497-AE90-59CA3E487426}" dt="2025-08-14T13:27:41.655" v="1805" actId="165"/>
          <ac:spMkLst>
            <pc:docMk/>
            <pc:sldMk cId="3031947959" sldId="2147483553"/>
            <ac:spMk id="40" creationId="{A677F78E-647D-156D-246F-195DB0BF04EE}"/>
          </ac:spMkLst>
        </pc:spChg>
        <pc:spChg chg="mod topLvl">
          <ac:chgData name="Julian Pauli" userId="610ac62b-222a-4de8-b70c-7dd89aaf92e2" providerId="ADAL" clId="{80338092-BF3F-4497-AE90-59CA3E487426}" dt="2025-08-14T13:27:41.655" v="1805" actId="165"/>
          <ac:spMkLst>
            <pc:docMk/>
            <pc:sldMk cId="3031947959" sldId="2147483553"/>
            <ac:spMk id="46" creationId="{6425C386-630A-0CBF-2F66-2796D20C0C74}"/>
          </ac:spMkLst>
        </pc:spChg>
        <pc:picChg chg="add del mod ord">
          <ac:chgData name="Julian Pauli" userId="610ac62b-222a-4de8-b70c-7dd89aaf92e2" providerId="ADAL" clId="{80338092-BF3F-4497-AE90-59CA3E487426}" dt="2025-08-18T08:17:12.226" v="2016" actId="478"/>
          <ac:picMkLst>
            <pc:docMk/>
            <pc:sldMk cId="3031947959" sldId="2147483553"/>
            <ac:picMk id="5" creationId="{98EB7496-B556-34E0-71B5-F2FF5C4A9683}"/>
          </ac:picMkLst>
        </pc:picChg>
        <pc:picChg chg="mod topLvl">
          <ac:chgData name="Julian Pauli" userId="610ac62b-222a-4de8-b70c-7dd89aaf92e2" providerId="ADAL" clId="{80338092-BF3F-4497-AE90-59CA3E487426}" dt="2025-08-14T13:27:41.655" v="1805" actId="165"/>
          <ac:picMkLst>
            <pc:docMk/>
            <pc:sldMk cId="3031947959" sldId="2147483553"/>
            <ac:picMk id="45" creationId="{47736B86-5E10-20A4-E56B-9243A74C0501}"/>
          </ac:picMkLst>
        </pc:picChg>
      </pc:sldChg>
      <pc:sldChg chg="add del">
        <pc:chgData name="Julian Pauli" userId="610ac62b-222a-4de8-b70c-7dd89aaf92e2" providerId="ADAL" clId="{80338092-BF3F-4497-AE90-59CA3E487426}" dt="2025-08-14T12:49:06.239" v="1528" actId="47"/>
        <pc:sldMkLst>
          <pc:docMk/>
          <pc:sldMk cId="964437742" sldId="2147483554"/>
        </pc:sldMkLst>
      </pc:sldChg>
      <pc:sldChg chg="del">
        <pc:chgData name="Julian Pauli" userId="610ac62b-222a-4de8-b70c-7dd89aaf92e2" providerId="ADAL" clId="{80338092-BF3F-4497-AE90-59CA3E487426}" dt="2025-08-14T10:01:43.203" v="1190" actId="47"/>
        <pc:sldMkLst>
          <pc:docMk/>
          <pc:sldMk cId="2814291626" sldId="2147483555"/>
        </pc:sldMkLst>
      </pc:sldChg>
      <pc:sldChg chg="del">
        <pc:chgData name="Julian Pauli" userId="610ac62b-222a-4de8-b70c-7dd89aaf92e2" providerId="ADAL" clId="{80338092-BF3F-4497-AE90-59CA3E487426}" dt="2025-08-14T09:21:20.977" v="473" actId="47"/>
        <pc:sldMkLst>
          <pc:docMk/>
          <pc:sldMk cId="1835234060" sldId="2147483557"/>
        </pc:sldMkLst>
      </pc:sldChg>
      <pc:sldChg chg="add del ord">
        <pc:chgData name="Julian Pauli" userId="610ac62b-222a-4de8-b70c-7dd89aaf92e2" providerId="ADAL" clId="{80338092-BF3F-4497-AE90-59CA3E487426}" dt="2025-08-14T12:46:25.674" v="1508" actId="47"/>
        <pc:sldMkLst>
          <pc:docMk/>
          <pc:sldMk cId="1682598981" sldId="2147483560"/>
        </pc:sldMkLst>
      </pc:sldChg>
      <pc:sldChg chg="delSp add del mod ord delAnim">
        <pc:chgData name="Julian Pauli" userId="610ac62b-222a-4de8-b70c-7dd89aaf92e2" providerId="ADAL" clId="{80338092-BF3F-4497-AE90-59CA3E487426}" dt="2025-08-14T12:46:25.674" v="1508" actId="47"/>
        <pc:sldMkLst>
          <pc:docMk/>
          <pc:sldMk cId="392164052" sldId="2147483562"/>
        </pc:sldMkLst>
      </pc:sldChg>
      <pc:sldChg chg="add del ord">
        <pc:chgData name="Julian Pauli" userId="610ac62b-222a-4de8-b70c-7dd89aaf92e2" providerId="ADAL" clId="{80338092-BF3F-4497-AE90-59CA3E487426}" dt="2025-08-14T12:46:25.674" v="1508" actId="47"/>
        <pc:sldMkLst>
          <pc:docMk/>
          <pc:sldMk cId="3118624984" sldId="2147483563"/>
        </pc:sldMkLst>
      </pc:sldChg>
      <pc:sldChg chg="del">
        <pc:chgData name="Julian Pauli" userId="610ac62b-222a-4de8-b70c-7dd89aaf92e2" providerId="ADAL" clId="{80338092-BF3F-4497-AE90-59CA3E487426}" dt="2025-08-14T09:21:18.955" v="471" actId="47"/>
        <pc:sldMkLst>
          <pc:docMk/>
          <pc:sldMk cId="1701524443" sldId="2147483564"/>
        </pc:sldMkLst>
      </pc:sldChg>
      <pc:sldChg chg="add del ord">
        <pc:chgData name="Julian Pauli" userId="610ac62b-222a-4de8-b70c-7dd89aaf92e2" providerId="ADAL" clId="{80338092-BF3F-4497-AE90-59CA3E487426}" dt="2025-08-14T12:46:25.674" v="1508" actId="47"/>
        <pc:sldMkLst>
          <pc:docMk/>
          <pc:sldMk cId="3452130621" sldId="2147483565"/>
        </pc:sldMkLst>
      </pc:sldChg>
      <pc:sldChg chg="add del ord">
        <pc:chgData name="Julian Pauli" userId="610ac62b-222a-4de8-b70c-7dd89aaf92e2" providerId="ADAL" clId="{80338092-BF3F-4497-AE90-59CA3E487426}" dt="2025-08-14T12:46:25.674" v="1508" actId="47"/>
        <pc:sldMkLst>
          <pc:docMk/>
          <pc:sldMk cId="1104952442" sldId="2147483566"/>
        </pc:sldMkLst>
      </pc:sldChg>
      <pc:sldChg chg="del">
        <pc:chgData name="Julian Pauli" userId="610ac62b-222a-4de8-b70c-7dd89aaf92e2" providerId="ADAL" clId="{80338092-BF3F-4497-AE90-59CA3E487426}" dt="2025-08-14T09:21:40.132" v="476" actId="47"/>
        <pc:sldMkLst>
          <pc:docMk/>
          <pc:sldMk cId="4071125635" sldId="2147483567"/>
        </pc:sldMkLst>
      </pc:sldChg>
      <pc:sldChg chg="del">
        <pc:chgData name="Julian Pauli" userId="610ac62b-222a-4de8-b70c-7dd89aaf92e2" providerId="ADAL" clId="{80338092-BF3F-4497-AE90-59CA3E487426}" dt="2025-08-14T09:21:37.414" v="474" actId="47"/>
        <pc:sldMkLst>
          <pc:docMk/>
          <pc:sldMk cId="3903365006" sldId="2147483568"/>
        </pc:sldMkLst>
      </pc:sldChg>
      <pc:sldChg chg="del">
        <pc:chgData name="Julian Pauli" userId="610ac62b-222a-4de8-b70c-7dd89aaf92e2" providerId="ADAL" clId="{80338092-BF3F-4497-AE90-59CA3E487426}" dt="2025-08-14T09:21:39.088" v="475" actId="47"/>
        <pc:sldMkLst>
          <pc:docMk/>
          <pc:sldMk cId="1833630641" sldId="2147483569"/>
        </pc:sldMkLst>
      </pc:sldChg>
      <pc:sldChg chg="del mod modShow">
        <pc:chgData name="Julian Pauli" userId="610ac62b-222a-4de8-b70c-7dd89aaf92e2" providerId="ADAL" clId="{80338092-BF3F-4497-AE90-59CA3E487426}" dt="2025-08-14T09:21:51.213" v="478" actId="47"/>
        <pc:sldMkLst>
          <pc:docMk/>
          <pc:sldMk cId="1608907843" sldId="2147483570"/>
        </pc:sldMkLst>
      </pc:sldChg>
      <pc:sldChg chg="del mod modShow">
        <pc:chgData name="Julian Pauli" userId="610ac62b-222a-4de8-b70c-7dd89aaf92e2" providerId="ADAL" clId="{80338092-BF3F-4497-AE90-59CA3E487426}" dt="2025-08-14T09:21:47.058" v="477" actId="47"/>
        <pc:sldMkLst>
          <pc:docMk/>
          <pc:sldMk cId="1673978823" sldId="2147483573"/>
        </pc:sldMkLst>
      </pc:sldChg>
      <pc:sldChg chg="mod ord modShow">
        <pc:chgData name="Julian Pauli" userId="610ac62b-222a-4de8-b70c-7dd89aaf92e2" providerId="ADAL" clId="{80338092-BF3F-4497-AE90-59CA3E487426}" dt="2025-08-14T12:47:04.853" v="1511"/>
        <pc:sldMkLst>
          <pc:docMk/>
          <pc:sldMk cId="625415661" sldId="2147483600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2883481005" sldId="2147483601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853041227" sldId="2147483602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1713765351" sldId="2147483603"/>
        </pc:sldMkLst>
      </pc:sldChg>
      <pc:sldChg chg="modSp del mod ord">
        <pc:chgData name="Julian Pauli" userId="610ac62b-222a-4de8-b70c-7dd89aaf92e2" providerId="ADAL" clId="{80338092-BF3F-4497-AE90-59CA3E487426}" dt="2025-08-14T09:41:47.237" v="693" actId="47"/>
        <pc:sldMkLst>
          <pc:docMk/>
          <pc:sldMk cId="4266279863" sldId="2147483604"/>
        </pc:sldMkLst>
      </pc:sldChg>
      <pc:sldChg chg="del">
        <pc:chgData name="Julian Pauli" userId="610ac62b-222a-4de8-b70c-7dd89aaf92e2" providerId="ADAL" clId="{80338092-BF3F-4497-AE90-59CA3E487426}" dt="2025-08-14T09:21:12.853" v="470" actId="47"/>
        <pc:sldMkLst>
          <pc:docMk/>
          <pc:sldMk cId="3052960002" sldId="2147483605"/>
        </pc:sldMkLst>
      </pc:sldChg>
      <pc:sldChg chg="add del mod ord modShow">
        <pc:chgData name="Julian Pauli" userId="610ac62b-222a-4de8-b70c-7dd89aaf92e2" providerId="ADAL" clId="{80338092-BF3F-4497-AE90-59CA3E487426}" dt="2025-08-14T10:01:27.457" v="1188" actId="47"/>
        <pc:sldMkLst>
          <pc:docMk/>
          <pc:sldMk cId="4065680132" sldId="2147483606"/>
        </pc:sldMkLst>
      </pc:sldChg>
      <pc:sldChg chg="addSp delSp modSp add del mod ord">
        <pc:chgData name="Julian Pauli" userId="610ac62b-222a-4de8-b70c-7dd89aaf92e2" providerId="ADAL" clId="{80338092-BF3F-4497-AE90-59CA3E487426}" dt="2025-08-14T09:42:11.292" v="694" actId="47"/>
        <pc:sldMkLst>
          <pc:docMk/>
          <pc:sldMk cId="4158408940" sldId="2147483607"/>
        </pc:sldMkLst>
      </pc:sldChg>
      <pc:sldChg chg="addSp delSp modSp add del mod modShow">
        <pc:chgData name="Julian Pauli" userId="610ac62b-222a-4de8-b70c-7dd89aaf92e2" providerId="ADAL" clId="{80338092-BF3F-4497-AE90-59CA3E487426}" dt="2025-08-14T10:01:31.052" v="1189" actId="47"/>
        <pc:sldMkLst>
          <pc:docMk/>
          <pc:sldMk cId="2878550288" sldId="2147483608"/>
        </pc:sldMkLst>
      </pc:sldChg>
      <pc:sldChg chg="add del">
        <pc:chgData name="Julian Pauli" userId="610ac62b-222a-4de8-b70c-7dd89aaf92e2" providerId="ADAL" clId="{80338092-BF3F-4497-AE90-59CA3E487426}" dt="2025-08-14T09:14:02.889" v="427" actId="47"/>
        <pc:sldMkLst>
          <pc:docMk/>
          <pc:sldMk cId="3521553131" sldId="2147483609"/>
        </pc:sldMkLst>
      </pc:sldChg>
      <pc:sldChg chg="addSp delSp modSp add del mod ord">
        <pc:chgData name="Julian Pauli" userId="610ac62b-222a-4de8-b70c-7dd89aaf92e2" providerId="ADAL" clId="{80338092-BF3F-4497-AE90-59CA3E487426}" dt="2025-08-14T12:46:25.674" v="1508" actId="47"/>
        <pc:sldMkLst>
          <pc:docMk/>
          <pc:sldMk cId="2138921703" sldId="2147483610"/>
        </pc:sldMkLst>
        <pc:grpChg chg="add mod">
          <ac:chgData name="Julian Pauli" userId="610ac62b-222a-4de8-b70c-7dd89aaf92e2" providerId="ADAL" clId="{80338092-BF3F-4497-AE90-59CA3E487426}" dt="2025-08-14T08:48:19.598" v="35" actId="1076"/>
          <ac:grpSpMkLst>
            <pc:docMk/>
            <pc:sldMk cId="2138921703" sldId="2147483610"/>
            <ac:grpSpMk id="20" creationId="{E3E984C6-2CF8-2ADF-F72A-30D292733E66}"/>
          </ac:grpSpMkLst>
        </pc:grpChg>
        <pc:picChg chg="mod">
          <ac:chgData name="Julian Pauli" userId="610ac62b-222a-4de8-b70c-7dd89aaf92e2" providerId="ADAL" clId="{80338092-BF3F-4497-AE90-59CA3E487426}" dt="2025-08-14T08:48:10.709" v="34"/>
          <ac:picMkLst>
            <pc:docMk/>
            <pc:sldMk cId="2138921703" sldId="2147483610"/>
            <ac:picMk id="33" creationId="{4709F96B-008C-2B87-B493-37904F9E5295}"/>
          </ac:picMkLst>
        </pc:picChg>
        <pc:picChg chg="mod">
          <ac:chgData name="Julian Pauli" userId="610ac62b-222a-4de8-b70c-7dd89aaf92e2" providerId="ADAL" clId="{80338092-BF3F-4497-AE90-59CA3E487426}" dt="2025-08-14T08:48:10.709" v="34"/>
          <ac:picMkLst>
            <pc:docMk/>
            <pc:sldMk cId="2138921703" sldId="2147483610"/>
            <ac:picMk id="34" creationId="{AEBB2715-9E90-30C9-0BFF-9ACE965A7FFD}"/>
          </ac:picMkLst>
        </pc:picChg>
      </pc:sldChg>
      <pc:sldChg chg="addSp delSp modSp add mod ord modClrScheme delAnim modAnim chgLayout">
        <pc:chgData name="Julian Pauli" userId="610ac62b-222a-4de8-b70c-7dd89aaf92e2" providerId="ADAL" clId="{80338092-BF3F-4497-AE90-59CA3E487426}" dt="2025-08-18T08:17:26.887" v="2019" actId="478"/>
        <pc:sldMkLst>
          <pc:docMk/>
          <pc:sldMk cId="1732301171" sldId="2147483611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1732301171" sldId="2147483611"/>
            <ac:spMk id="3" creationId="{31F9248B-02CD-2F4B-BD33-BC6A761DA564}"/>
          </ac:spMkLst>
        </pc:spChg>
        <pc:spChg chg="mod ord">
          <ac:chgData name="Julian Pauli" userId="610ac62b-222a-4de8-b70c-7dd89aaf92e2" providerId="ADAL" clId="{80338092-BF3F-4497-AE90-59CA3E487426}" dt="2025-08-18T08:16:56.089" v="2014" actId="1038"/>
          <ac:spMkLst>
            <pc:docMk/>
            <pc:sldMk cId="1732301171" sldId="2147483611"/>
            <ac:spMk id="4" creationId="{1A9B4533-2BE4-94C2-EAA7-4A6EEBA027C8}"/>
          </ac:spMkLst>
        </pc:spChg>
        <pc:spChg chg="add mod">
          <ac:chgData name="Julian Pauli" userId="610ac62b-222a-4de8-b70c-7dd89aaf92e2" providerId="ADAL" clId="{80338092-BF3F-4497-AE90-59CA3E487426}" dt="2025-08-14T09:01:52.236" v="208" actId="1035"/>
          <ac:spMkLst>
            <pc:docMk/>
            <pc:sldMk cId="1732301171" sldId="2147483611"/>
            <ac:spMk id="9" creationId="{253C224E-95E6-7D5B-9340-9B0E85DB0FBF}"/>
          </ac:spMkLst>
        </pc:spChg>
        <pc:spChg chg="add mod">
          <ac:chgData name="Julian Pauli" userId="610ac62b-222a-4de8-b70c-7dd89aaf92e2" providerId="ADAL" clId="{80338092-BF3F-4497-AE90-59CA3E487426}" dt="2025-08-14T09:01:52.236" v="208" actId="1035"/>
          <ac:spMkLst>
            <pc:docMk/>
            <pc:sldMk cId="1732301171" sldId="2147483611"/>
            <ac:spMk id="13" creationId="{D2A92A19-FBD1-F784-F4AF-25C9F436BFF5}"/>
          </ac:spMkLst>
        </pc:spChg>
        <pc:spChg chg="mod topLvl">
          <ac:chgData name="Julian Pauli" userId="610ac62b-222a-4de8-b70c-7dd89aaf92e2" providerId="ADAL" clId="{80338092-BF3F-4497-AE90-59CA3E487426}" dt="2025-08-14T09:09:01.043" v="376" actId="165"/>
          <ac:spMkLst>
            <pc:docMk/>
            <pc:sldMk cId="1732301171" sldId="2147483611"/>
            <ac:spMk id="16" creationId="{C7B61FC8-8945-2134-5F30-E09DB926CC59}"/>
          </ac:spMkLst>
        </pc:spChg>
        <pc:spChg chg="mod topLvl">
          <ac:chgData name="Julian Pauli" userId="610ac62b-222a-4de8-b70c-7dd89aaf92e2" providerId="ADAL" clId="{80338092-BF3F-4497-AE90-59CA3E487426}" dt="2025-08-14T09:09:14.130" v="390" actId="1038"/>
          <ac:spMkLst>
            <pc:docMk/>
            <pc:sldMk cId="1732301171" sldId="2147483611"/>
            <ac:spMk id="17" creationId="{26E5EBEB-C0B4-FC8A-B29C-549A2252B194}"/>
          </ac:spMkLst>
        </pc:spChg>
        <pc:spChg chg="mod topLvl">
          <ac:chgData name="Julian Pauli" userId="610ac62b-222a-4de8-b70c-7dd89aaf92e2" providerId="ADAL" clId="{80338092-BF3F-4497-AE90-59CA3E487426}" dt="2025-08-14T09:09:14.130" v="390" actId="1038"/>
          <ac:spMkLst>
            <pc:docMk/>
            <pc:sldMk cId="1732301171" sldId="2147483611"/>
            <ac:spMk id="18" creationId="{766F44C6-D1CC-B9CE-E997-54D73A1D7CE2}"/>
          </ac:spMkLst>
        </pc:spChg>
        <pc:spChg chg="mod topLvl">
          <ac:chgData name="Julian Pauli" userId="610ac62b-222a-4de8-b70c-7dd89aaf92e2" providerId="ADAL" clId="{80338092-BF3F-4497-AE90-59CA3E487426}" dt="2025-08-14T09:09:01.043" v="376" actId="165"/>
          <ac:spMkLst>
            <pc:docMk/>
            <pc:sldMk cId="1732301171" sldId="2147483611"/>
            <ac:spMk id="19" creationId="{2725D7CA-ACAB-5FEF-C815-109528BE2C77}"/>
          </ac:spMkLst>
        </pc:spChg>
        <pc:spChg chg="mod topLvl">
          <ac:chgData name="Julian Pauli" userId="610ac62b-222a-4de8-b70c-7dd89aaf92e2" providerId="ADAL" clId="{80338092-BF3F-4497-AE90-59CA3E487426}" dt="2025-08-14T09:09:01.043" v="376" actId="165"/>
          <ac:spMkLst>
            <pc:docMk/>
            <pc:sldMk cId="1732301171" sldId="2147483611"/>
            <ac:spMk id="35" creationId="{74664A93-1BA5-DC0A-29EC-82D893C87F53}"/>
          </ac:spMkLst>
        </pc:spChg>
        <pc:spChg chg="add mod">
          <ac:chgData name="Julian Pauli" userId="610ac62b-222a-4de8-b70c-7dd89aaf92e2" providerId="ADAL" clId="{80338092-BF3F-4497-AE90-59CA3E487426}" dt="2025-08-14T09:01:52.236" v="208" actId="1035"/>
          <ac:spMkLst>
            <pc:docMk/>
            <pc:sldMk cId="1732301171" sldId="2147483611"/>
            <ac:spMk id="39" creationId="{A365D615-7653-4695-EFBC-DF512D8667B8}"/>
          </ac:spMkLst>
        </pc:spChg>
        <pc:spChg chg="mod topLvl">
          <ac:chgData name="Julian Pauli" userId="610ac62b-222a-4de8-b70c-7dd89aaf92e2" providerId="ADAL" clId="{80338092-BF3F-4497-AE90-59CA3E487426}" dt="2025-08-14T09:03:56.647" v="228" actId="1037"/>
          <ac:spMkLst>
            <pc:docMk/>
            <pc:sldMk cId="1732301171" sldId="2147483611"/>
            <ac:spMk id="48" creationId="{ADB51D38-4A25-C593-B676-0FBBA0163DE2}"/>
          </ac:spMkLst>
        </pc:spChg>
        <pc:spChg chg="add mod">
          <ac:chgData name="Julian Pauli" userId="610ac62b-222a-4de8-b70c-7dd89aaf92e2" providerId="ADAL" clId="{80338092-BF3F-4497-AE90-59CA3E487426}" dt="2025-08-14T12:19:44.925" v="1451" actId="20577"/>
          <ac:spMkLst>
            <pc:docMk/>
            <pc:sldMk cId="1732301171" sldId="2147483611"/>
            <ac:spMk id="57" creationId="{C2D02E0F-A5DA-742B-8B04-720A0089B38D}"/>
          </ac:spMkLst>
        </pc:spChg>
        <pc:spChg chg="add mod">
          <ac:chgData name="Julian Pauli" userId="610ac62b-222a-4de8-b70c-7dd89aaf92e2" providerId="ADAL" clId="{80338092-BF3F-4497-AE90-59CA3E487426}" dt="2025-08-14T09:08:34.554" v="371" actId="113"/>
          <ac:spMkLst>
            <pc:docMk/>
            <pc:sldMk cId="1732301171" sldId="2147483611"/>
            <ac:spMk id="58" creationId="{B6327F44-6F2E-3AF7-AE28-4AF98EFFF46C}"/>
          </ac:spMkLst>
        </pc:spChg>
        <pc:grpChg chg="mod">
          <ac:chgData name="Julian Pauli" userId="610ac62b-222a-4de8-b70c-7dd89aaf92e2" providerId="ADAL" clId="{80338092-BF3F-4497-AE90-59CA3E487426}" dt="2025-08-14T09:00:52.215" v="147" actId="1038"/>
          <ac:grpSpMkLst>
            <pc:docMk/>
            <pc:sldMk cId="1732301171" sldId="2147483611"/>
            <ac:grpSpMk id="5" creationId="{72CDCD33-F130-38EA-F0A5-1E78176E9D62}"/>
          </ac:grpSpMkLst>
        </pc:grpChg>
        <pc:picChg chg="mod topLvl">
          <ac:chgData name="Julian Pauli" userId="610ac62b-222a-4de8-b70c-7dd89aaf92e2" providerId="ADAL" clId="{80338092-BF3F-4497-AE90-59CA3E487426}" dt="2025-08-14T09:09:14.130" v="390" actId="1038"/>
          <ac:picMkLst>
            <pc:docMk/>
            <pc:sldMk cId="1732301171" sldId="2147483611"/>
            <ac:picMk id="36" creationId="{300C5701-DD79-E90C-C753-F570286E744D}"/>
          </ac:picMkLst>
        </pc:picChg>
        <pc:picChg chg="mod topLvl">
          <ac:chgData name="Julian Pauli" userId="610ac62b-222a-4de8-b70c-7dd89aaf92e2" providerId="ADAL" clId="{80338092-BF3F-4497-AE90-59CA3E487426}" dt="2025-08-14T09:09:14.130" v="390" actId="1038"/>
          <ac:picMkLst>
            <pc:docMk/>
            <pc:sldMk cId="1732301171" sldId="2147483611"/>
            <ac:picMk id="37" creationId="{282D121B-C868-31E0-56F1-F0AFD6881A36}"/>
          </ac:picMkLst>
        </pc:picChg>
        <pc:picChg chg="mod topLvl">
          <ac:chgData name="Julian Pauli" userId="610ac62b-222a-4de8-b70c-7dd89aaf92e2" providerId="ADAL" clId="{80338092-BF3F-4497-AE90-59CA3E487426}" dt="2025-08-14T09:04:06.365" v="273" actId="1037"/>
          <ac:picMkLst>
            <pc:docMk/>
            <pc:sldMk cId="1732301171" sldId="2147483611"/>
            <ac:picMk id="49" creationId="{75E36DD0-E639-D62A-474B-77DCCDD3E1A2}"/>
          </ac:picMkLst>
        </pc:picChg>
        <pc:picChg chg="mod topLvl">
          <ac:chgData name="Julian Pauli" userId="610ac62b-222a-4de8-b70c-7dd89aaf92e2" providerId="ADAL" clId="{80338092-BF3F-4497-AE90-59CA3E487426}" dt="2025-08-14T09:04:47.424" v="290" actId="1035"/>
          <ac:picMkLst>
            <pc:docMk/>
            <pc:sldMk cId="1732301171" sldId="2147483611"/>
            <ac:picMk id="50" creationId="{E7F33B14-41F9-49E5-B455-740078A5A948}"/>
          </ac:picMkLst>
        </pc:picChg>
        <pc:picChg chg="mod topLvl">
          <ac:chgData name="Julian Pauli" userId="610ac62b-222a-4de8-b70c-7dd89aaf92e2" providerId="ADAL" clId="{80338092-BF3F-4497-AE90-59CA3E487426}" dt="2025-08-14T09:04:54.152" v="296" actId="1036"/>
          <ac:picMkLst>
            <pc:docMk/>
            <pc:sldMk cId="1732301171" sldId="2147483611"/>
            <ac:picMk id="51" creationId="{E479A607-C28D-EE7F-27FD-E536DFB875A8}"/>
          </ac:picMkLst>
        </pc:picChg>
        <pc:picChg chg="mod topLvl">
          <ac:chgData name="Julian Pauli" userId="610ac62b-222a-4de8-b70c-7dd89aaf92e2" providerId="ADAL" clId="{80338092-BF3F-4497-AE90-59CA3E487426}" dt="2025-08-14T09:04:54.152" v="296" actId="1036"/>
          <ac:picMkLst>
            <pc:docMk/>
            <pc:sldMk cId="1732301171" sldId="2147483611"/>
            <ac:picMk id="52" creationId="{AD5A2B2F-CF6F-16E1-C916-5207D90F36F5}"/>
          </ac:picMkLst>
        </pc:picChg>
        <pc:picChg chg="add mod">
          <ac:chgData name="Julian Pauli" userId="610ac62b-222a-4de8-b70c-7dd89aaf92e2" providerId="ADAL" clId="{80338092-BF3F-4497-AE90-59CA3E487426}" dt="2025-08-14T09:07:06.706" v="339" actId="1076"/>
          <ac:picMkLst>
            <pc:docMk/>
            <pc:sldMk cId="1732301171" sldId="2147483611"/>
            <ac:picMk id="56" creationId="{251E603F-2D1A-BD9E-CADF-E1D143DF1C27}"/>
          </ac:picMkLst>
        </pc:picChg>
        <pc:cxnChg chg="add mod">
          <ac:chgData name="Julian Pauli" userId="610ac62b-222a-4de8-b70c-7dd89aaf92e2" providerId="ADAL" clId="{80338092-BF3F-4497-AE90-59CA3E487426}" dt="2025-08-14T13:22:38.867" v="1759" actId="1076"/>
          <ac:cxnSpMkLst>
            <pc:docMk/>
            <pc:sldMk cId="1732301171" sldId="2147483611"/>
            <ac:cxnSpMk id="61" creationId="{DD5FD285-52D5-4455-FB8A-EA192FD7E658}"/>
          </ac:cxnSpMkLst>
        </pc:cxnChg>
        <pc:cxnChg chg="add mod">
          <ac:chgData name="Julian Pauli" userId="610ac62b-222a-4de8-b70c-7dd89aaf92e2" providerId="ADAL" clId="{80338092-BF3F-4497-AE90-59CA3E487426}" dt="2025-08-14T13:22:38.867" v="1759" actId="1076"/>
          <ac:cxnSpMkLst>
            <pc:docMk/>
            <pc:sldMk cId="1732301171" sldId="2147483611"/>
            <ac:cxnSpMk id="62" creationId="{7D570C98-C25C-F80C-E9FB-8F1F8DAD8813}"/>
          </ac:cxnSpMkLst>
        </pc:cxnChg>
        <pc:cxnChg chg="add mod">
          <ac:chgData name="Julian Pauli" userId="610ac62b-222a-4de8-b70c-7dd89aaf92e2" providerId="ADAL" clId="{80338092-BF3F-4497-AE90-59CA3E487426}" dt="2025-08-14T13:22:38.867" v="1759" actId="1076"/>
          <ac:cxnSpMkLst>
            <pc:docMk/>
            <pc:sldMk cId="1732301171" sldId="2147483611"/>
            <ac:cxnSpMk id="63" creationId="{34674588-0267-40A9-3D92-C4702C93BA88}"/>
          </ac:cxnSpMkLst>
        </pc:cxnChg>
        <pc:cxnChg chg="add mod">
          <ac:chgData name="Julian Pauli" userId="610ac62b-222a-4de8-b70c-7dd89aaf92e2" providerId="ADAL" clId="{80338092-BF3F-4497-AE90-59CA3E487426}" dt="2025-08-14T13:22:38.867" v="1759" actId="1076"/>
          <ac:cxnSpMkLst>
            <pc:docMk/>
            <pc:sldMk cId="1732301171" sldId="2147483611"/>
            <ac:cxnSpMk id="64" creationId="{0E1EBBC7-7FEC-946B-AEB3-C4FBA6767BFF}"/>
          </ac:cxnSpMkLst>
        </pc:cxnChg>
      </pc:sldChg>
      <pc:sldChg chg="addSp delSp modSp add mod ord modTransition modAnim chgLayout">
        <pc:chgData name="Julian Pauli" userId="610ac62b-222a-4de8-b70c-7dd89aaf92e2" providerId="ADAL" clId="{80338092-BF3F-4497-AE90-59CA3E487426}" dt="2025-08-18T07:48:57.504" v="1861" actId="700"/>
        <pc:sldMkLst>
          <pc:docMk/>
          <pc:sldMk cId="998881100" sldId="2147483612"/>
        </pc:sldMkLst>
        <pc:spChg chg="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98881100" sldId="2147483612"/>
            <ac:spMk id="2" creationId="{6769C7C9-062E-4177-998A-F653E2FF365A}"/>
          </ac:spMkLst>
        </pc:spChg>
        <pc:spChg chg="mod">
          <ac:chgData name="Julian Pauli" userId="610ac62b-222a-4de8-b70c-7dd89aaf92e2" providerId="ADAL" clId="{80338092-BF3F-4497-AE90-59CA3E487426}" dt="2025-08-14T09:29:20.176" v="544"/>
          <ac:spMkLst>
            <pc:docMk/>
            <pc:sldMk cId="998881100" sldId="2147483612"/>
            <ac:spMk id="5" creationId="{ECC524E1-FA1D-92F1-039C-2B9FEA0C1289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6" creationId="{2E25671A-3BAF-4898-82BA-4A7072DA6137}"/>
          </ac:spMkLst>
        </pc:spChg>
        <pc:spChg chg="mod topLvl">
          <ac:chgData name="Julian Pauli" userId="610ac62b-222a-4de8-b70c-7dd89aaf92e2" providerId="ADAL" clId="{80338092-BF3F-4497-AE90-59CA3E487426}" dt="2025-08-14T09:06:30.593" v="337" actId="1076"/>
          <ac:spMkLst>
            <pc:docMk/>
            <pc:sldMk cId="998881100" sldId="2147483612"/>
            <ac:spMk id="9" creationId="{A9A96548-A865-43F0-9957-19CCAA4B0534}"/>
          </ac:spMkLst>
        </pc:spChg>
        <pc:spChg chg="mod">
          <ac:chgData name="Julian Pauli" userId="610ac62b-222a-4de8-b70c-7dd89aaf92e2" providerId="ADAL" clId="{80338092-BF3F-4497-AE90-59CA3E487426}" dt="2025-08-14T09:40:08.155" v="688" actId="21"/>
          <ac:spMkLst>
            <pc:docMk/>
            <pc:sldMk cId="998881100" sldId="2147483612"/>
            <ac:spMk id="12" creationId="{3D55CFB4-CC80-44C3-8145-C5E6B65A8F15}"/>
          </ac:spMkLst>
        </pc:spChg>
        <pc:spChg chg="mod topLvl">
          <ac:chgData name="Julian Pauli" userId="610ac62b-222a-4de8-b70c-7dd89aaf92e2" providerId="ADAL" clId="{80338092-BF3F-4497-AE90-59CA3E487426}" dt="2025-08-14T09:35:08.725" v="617" actId="1076"/>
          <ac:spMkLst>
            <pc:docMk/>
            <pc:sldMk cId="998881100" sldId="2147483612"/>
            <ac:spMk id="13" creationId="{1E79A2A3-11F4-4816-860B-5D8891635958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15" creationId="{C8E0E5EB-AE1E-4566-9D57-91BCB582B029}"/>
          </ac:spMkLst>
        </pc:spChg>
        <pc:spChg chg="mod">
          <ac:chgData name="Julian Pauli" userId="610ac62b-222a-4de8-b70c-7dd89aaf92e2" providerId="ADAL" clId="{80338092-BF3F-4497-AE90-59CA3E487426}" dt="2025-08-14T09:40:12.630" v="690"/>
          <ac:spMkLst>
            <pc:docMk/>
            <pc:sldMk cId="998881100" sldId="2147483612"/>
            <ac:spMk id="21" creationId="{649D2EFA-424F-4350-B74B-5C56A5081B80}"/>
          </ac:spMkLst>
        </pc:spChg>
        <pc:spChg chg="mod">
          <ac:chgData name="Julian Pauli" userId="610ac62b-222a-4de8-b70c-7dd89aaf92e2" providerId="ADAL" clId="{80338092-BF3F-4497-AE90-59CA3E487426}" dt="2025-08-14T09:06:21.479" v="333" actId="1076"/>
          <ac:spMkLst>
            <pc:docMk/>
            <pc:sldMk cId="998881100" sldId="2147483612"/>
            <ac:spMk id="24" creationId="{6D129121-0CBD-4B84-917F-8FA2D26BAE7F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25" creationId="{220C0C6D-7542-47C7-92B7-52915D097B9D}"/>
          </ac:spMkLst>
        </pc:spChg>
        <pc:spChg chg="mod">
          <ac:chgData name="Julian Pauli" userId="610ac62b-222a-4de8-b70c-7dd89aaf92e2" providerId="ADAL" clId="{80338092-BF3F-4497-AE90-59CA3E487426}" dt="2025-08-14T09:02:32.164" v="213" actId="20577"/>
          <ac:spMkLst>
            <pc:docMk/>
            <pc:sldMk cId="998881100" sldId="2147483612"/>
            <ac:spMk id="31" creationId="{CB6DB76C-0A2B-5B0C-0CF5-316DD6C5DFA8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34" creationId="{4E1DAD71-5086-44FD-84DC-E5442E7641E7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36" creationId="{3659FC0D-E277-46B2-9552-C08CB56B165C}"/>
          </ac:spMkLst>
        </pc:spChg>
        <pc:spChg chg="add mod ord">
          <ac:chgData name="Julian Pauli" userId="610ac62b-222a-4de8-b70c-7dd89aaf92e2" providerId="ADAL" clId="{80338092-BF3F-4497-AE90-59CA3E487426}" dt="2025-08-18T07:48:57.504" v="1861" actId="700"/>
          <ac:spMkLst>
            <pc:docMk/>
            <pc:sldMk cId="998881100" sldId="2147483612"/>
            <ac:spMk id="41" creationId="{D6D7D185-B6DD-4DB7-31F1-6FA5D7BF54A7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44" creationId="{A7A1C254-EA70-407A-BABD-68043A6491CE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47" creationId="{3FB25329-03ED-41F6-BAF8-88B80A82AAAD}"/>
          </ac:spMkLst>
        </pc:spChg>
        <pc:spChg chg="add mod">
          <ac:chgData name="Julian Pauli" userId="610ac62b-222a-4de8-b70c-7dd89aaf92e2" providerId="ADAL" clId="{80338092-BF3F-4497-AE90-59CA3E487426}" dt="2025-08-14T09:35:16.673" v="641" actId="1035"/>
          <ac:spMkLst>
            <pc:docMk/>
            <pc:sldMk cId="998881100" sldId="2147483612"/>
            <ac:spMk id="48" creationId="{19FC85EF-4FDF-DC5B-A25A-85F799E346DF}"/>
          </ac:spMkLst>
        </pc:spChg>
        <pc:spChg chg="mod">
          <ac:chgData name="Julian Pauli" userId="610ac62b-222a-4de8-b70c-7dd89aaf92e2" providerId="ADAL" clId="{80338092-BF3F-4497-AE90-59CA3E487426}" dt="2025-08-14T09:28:34.155" v="543" actId="108"/>
          <ac:spMkLst>
            <pc:docMk/>
            <pc:sldMk cId="998881100" sldId="2147483612"/>
            <ac:spMk id="53" creationId="{A10810EC-3A78-B947-E4B9-7AFE6FC6F845}"/>
          </ac:spMkLst>
        </pc:spChg>
        <pc:spChg chg="mod topLvl">
          <ac:chgData name="Julian Pauli" userId="610ac62b-222a-4de8-b70c-7dd89aaf92e2" providerId="ADAL" clId="{80338092-BF3F-4497-AE90-59CA3E487426}" dt="2025-08-14T09:02:45.668" v="214" actId="165"/>
          <ac:spMkLst>
            <pc:docMk/>
            <pc:sldMk cId="998881100" sldId="2147483612"/>
            <ac:spMk id="54" creationId="{2D659897-2F93-E75E-9701-59EE83B641A4}"/>
          </ac:spMkLst>
        </pc:spChg>
        <pc:spChg chg="add mod">
          <ac:chgData name="Julian Pauli" userId="610ac62b-222a-4de8-b70c-7dd89aaf92e2" providerId="ADAL" clId="{80338092-BF3F-4497-AE90-59CA3E487426}" dt="2025-08-14T09:41:02.330" v="691"/>
          <ac:spMkLst>
            <pc:docMk/>
            <pc:sldMk cId="998881100" sldId="2147483612"/>
            <ac:spMk id="77" creationId="{EC75B63B-A364-FD29-4C03-463D1F7B32A7}"/>
          </ac:spMkLst>
        </pc:spChg>
        <pc:grpChg chg="add mod">
          <ac:chgData name="Julian Pauli" userId="610ac62b-222a-4de8-b70c-7dd89aaf92e2" providerId="ADAL" clId="{80338092-BF3F-4497-AE90-59CA3E487426}" dt="2025-08-14T09:35:16.673" v="641" actId="1035"/>
          <ac:grpSpMkLst>
            <pc:docMk/>
            <pc:sldMk cId="998881100" sldId="2147483612"/>
            <ac:grpSpMk id="4" creationId="{B48662C6-D9F3-A1D7-7898-DE5DC61B96F1}"/>
          </ac:grpSpMkLst>
        </pc:grpChg>
        <pc:picChg chg="mod">
          <ac:chgData name="Julian Pauli" userId="610ac62b-222a-4de8-b70c-7dd89aaf92e2" providerId="ADAL" clId="{80338092-BF3F-4497-AE90-59CA3E487426}" dt="2025-08-14T09:06:25.060" v="335" actId="1076"/>
          <ac:picMkLst>
            <pc:docMk/>
            <pc:sldMk cId="998881100" sldId="2147483612"/>
            <ac:picMk id="16" creationId="{DF0AAECE-3FA2-4BF9-AFD8-85E0046F150C}"/>
          </ac:picMkLst>
        </pc:picChg>
        <pc:picChg chg="mod">
          <ac:chgData name="Julian Pauli" userId="610ac62b-222a-4de8-b70c-7dd89aaf92e2" providerId="ADAL" clId="{80338092-BF3F-4497-AE90-59CA3E487426}" dt="2025-08-14T09:29:20.176" v="544"/>
          <ac:picMkLst>
            <pc:docMk/>
            <pc:sldMk cId="998881100" sldId="2147483612"/>
            <ac:picMk id="33" creationId="{0A15947C-C6B3-5B1F-A775-F8F3BD5E9FEF}"/>
          </ac:picMkLst>
        </pc:picChg>
        <pc:cxnChg chg="add mod">
          <ac:chgData name="Julian Pauli" userId="610ac62b-222a-4de8-b70c-7dd89aaf92e2" providerId="ADAL" clId="{80338092-BF3F-4497-AE90-59CA3E487426}" dt="2025-08-14T09:35:16.673" v="641" actId="1035"/>
          <ac:cxnSpMkLst>
            <pc:docMk/>
            <pc:sldMk cId="998881100" sldId="2147483612"/>
            <ac:cxnSpMk id="71" creationId="{43E4B7CB-7FF6-05B2-0E99-4856B7C396DD}"/>
          </ac:cxnSpMkLst>
        </pc:cxnChg>
        <pc:cxnChg chg="add mod">
          <ac:chgData name="Julian Pauli" userId="610ac62b-222a-4de8-b70c-7dd89aaf92e2" providerId="ADAL" clId="{80338092-BF3F-4497-AE90-59CA3E487426}" dt="2025-08-14T09:35:16.673" v="641" actId="1035"/>
          <ac:cxnSpMkLst>
            <pc:docMk/>
            <pc:sldMk cId="998881100" sldId="2147483612"/>
            <ac:cxnSpMk id="72" creationId="{979A0A1A-8004-670E-101F-CC7E1A5159BC}"/>
          </ac:cxnSpMkLst>
        </pc:cxnChg>
      </pc:sldChg>
      <pc:sldChg chg="addSp delSp modSp add del mod">
        <pc:chgData name="Julian Pauli" userId="610ac62b-222a-4de8-b70c-7dd89aaf92e2" providerId="ADAL" clId="{80338092-BF3F-4497-AE90-59CA3E487426}" dt="2025-08-14T09:41:45.314" v="692" actId="47"/>
        <pc:sldMkLst>
          <pc:docMk/>
          <pc:sldMk cId="4107499810" sldId="2147483613"/>
        </pc:sldMkLst>
      </pc:sldChg>
      <pc:sldChg chg="addSp delSp modSp add del mod modAnim">
        <pc:chgData name="Julian Pauli" userId="610ac62b-222a-4de8-b70c-7dd89aaf92e2" providerId="ADAL" clId="{80338092-BF3F-4497-AE90-59CA3E487426}" dt="2025-08-14T09:41:45.314" v="692" actId="47"/>
        <pc:sldMkLst>
          <pc:docMk/>
          <pc:sldMk cId="3200660078" sldId="2147483614"/>
        </pc:sldMkLst>
      </pc:sldChg>
      <pc:sldChg chg="modSp 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1872827651" sldId="2147483615"/>
        </pc:sldMkLst>
        <pc:spChg chg="mod">
          <ac:chgData name="Julian Pauli" userId="610ac62b-222a-4de8-b70c-7dd89aaf92e2" providerId="ADAL" clId="{80338092-BF3F-4497-AE90-59CA3E487426}" dt="2025-08-14T11:32:52.231" v="1212" actId="6549"/>
          <ac:spMkLst>
            <pc:docMk/>
            <pc:sldMk cId="1872827651" sldId="2147483615"/>
            <ac:spMk id="11" creationId="{FFF916EB-A73E-1D9C-C316-1369D24266ED}"/>
          </ac:spMkLst>
        </pc:spChg>
        <pc:spChg chg="mod">
          <ac:chgData name="Julian Pauli" userId="610ac62b-222a-4de8-b70c-7dd89aaf92e2" providerId="ADAL" clId="{80338092-BF3F-4497-AE90-59CA3E487426}" dt="2025-08-14T11:33:40.307" v="1214" actId="20577"/>
          <ac:spMkLst>
            <pc:docMk/>
            <pc:sldMk cId="1872827651" sldId="2147483615"/>
            <ac:spMk id="15" creationId="{D128BE80-4163-70E9-45F3-90D72BF36485}"/>
          </ac:spMkLst>
        </pc:spChg>
        <pc:spChg chg="mod">
          <ac:chgData name="Julian Pauli" userId="610ac62b-222a-4de8-b70c-7dd89aaf92e2" providerId="ADAL" clId="{80338092-BF3F-4497-AE90-59CA3E487426}" dt="2025-08-14T09:26:58.178" v="498" actId="20577"/>
          <ac:spMkLst>
            <pc:docMk/>
            <pc:sldMk cId="1872827651" sldId="2147483615"/>
            <ac:spMk id="16" creationId="{FF446F6A-F5CA-51BF-AC5F-7C6AB8BD1801}"/>
          </ac:spMkLst>
        </pc:spChg>
        <pc:spChg chg="mod">
          <ac:chgData name="Julian Pauli" userId="610ac62b-222a-4de8-b70c-7dd89aaf92e2" providerId="ADAL" clId="{80338092-BF3F-4497-AE90-59CA3E487426}" dt="2025-08-14T09:27:26.538" v="539" actId="20577"/>
          <ac:spMkLst>
            <pc:docMk/>
            <pc:sldMk cId="1872827651" sldId="2147483615"/>
            <ac:spMk id="17" creationId="{9EAADF8F-5405-707F-B262-60E5F0910E93}"/>
          </ac:spMkLst>
        </pc:spChg>
      </pc:sldChg>
      <pc:sldChg chg="addSp delSp modSp new del mod">
        <pc:chgData name="Julian Pauli" userId="610ac62b-222a-4de8-b70c-7dd89aaf92e2" providerId="ADAL" clId="{80338092-BF3F-4497-AE90-59CA3E487426}" dt="2025-08-14T09:23:13.219" v="480" actId="47"/>
        <pc:sldMkLst>
          <pc:docMk/>
          <pc:sldMk cId="3188509337" sldId="2147483615"/>
        </pc:sldMkLst>
      </pc:sldChg>
      <pc:sldChg chg="addSp modSp new del mod">
        <pc:chgData name="Julian Pauli" userId="610ac62b-222a-4de8-b70c-7dd89aaf92e2" providerId="ADAL" clId="{80338092-BF3F-4497-AE90-59CA3E487426}" dt="2025-08-14T09:16:59.687" v="444" actId="47"/>
        <pc:sldMkLst>
          <pc:docMk/>
          <pc:sldMk cId="3864623706" sldId="2147483615"/>
        </pc:sldMkLst>
      </pc:sldChg>
      <pc:sldChg chg="addSp delSp modSp add mod ord modAnim modShow">
        <pc:chgData name="Julian Pauli" userId="610ac62b-222a-4de8-b70c-7dd89aaf92e2" providerId="ADAL" clId="{80338092-BF3F-4497-AE90-59CA3E487426}" dt="2025-08-14T12:47:04.853" v="1511"/>
        <pc:sldMkLst>
          <pc:docMk/>
          <pc:sldMk cId="717673155" sldId="2147483616"/>
        </pc:sldMkLst>
      </pc:sldChg>
      <pc:sldChg chg="add del mod ord modShow">
        <pc:chgData name="Julian Pauli" userId="610ac62b-222a-4de8-b70c-7dd89aaf92e2" providerId="ADAL" clId="{80338092-BF3F-4497-AE90-59CA3E487426}" dt="2025-08-14T12:46:25.674" v="1508" actId="47"/>
        <pc:sldMkLst>
          <pc:docMk/>
          <pc:sldMk cId="351238546" sldId="2147483617"/>
        </pc:sldMkLst>
      </pc:sldChg>
      <pc:sldChg chg="addSp modSp add del mod ord modAnim">
        <pc:chgData name="Julian Pauli" userId="610ac62b-222a-4de8-b70c-7dd89aaf92e2" providerId="ADAL" clId="{80338092-BF3F-4497-AE90-59CA3E487426}" dt="2025-08-14T12:46:25.674" v="1508" actId="47"/>
        <pc:sldMkLst>
          <pc:docMk/>
          <pc:sldMk cId="1135005827" sldId="2147483618"/>
        </pc:sldMkLst>
        <pc:spChg chg="add mod">
          <ac:chgData name="Julian Pauli" userId="610ac62b-222a-4de8-b70c-7dd89aaf92e2" providerId="ADAL" clId="{80338092-BF3F-4497-AE90-59CA3E487426}" dt="2025-08-14T12:22:50.139" v="1464" actId="14100"/>
          <ac:spMkLst>
            <pc:docMk/>
            <pc:sldMk cId="1135005827" sldId="2147483618"/>
            <ac:spMk id="10" creationId="{2DD3E8B3-3C84-2E8F-150A-0E05640D7391}"/>
          </ac:spMkLst>
        </pc:spChg>
        <pc:spChg chg="mod">
          <ac:chgData name="Julian Pauli" userId="610ac62b-222a-4de8-b70c-7dd89aaf92e2" providerId="ADAL" clId="{80338092-BF3F-4497-AE90-59CA3E487426}" dt="2025-08-14T12:22:27.816" v="1459" actId="27636"/>
          <ac:spMkLst>
            <pc:docMk/>
            <pc:sldMk cId="1135005827" sldId="2147483618"/>
            <ac:spMk id="89" creationId="{3BA1B59B-BDE9-6C00-D9F1-59165DB1E2D8}"/>
          </ac:spMkLst>
        </pc:spChg>
        <pc:grpChg chg="mod">
          <ac:chgData name="Julian Pauli" userId="610ac62b-222a-4de8-b70c-7dd89aaf92e2" providerId="ADAL" clId="{80338092-BF3F-4497-AE90-59CA3E487426}" dt="2025-08-14T12:22:24.795" v="1457" actId="14100"/>
          <ac:grpSpMkLst>
            <pc:docMk/>
            <pc:sldMk cId="1135005827" sldId="2147483618"/>
            <ac:grpSpMk id="13" creationId="{A1BF77C4-946E-113F-A303-822CCDAF005A}"/>
          </ac:grpSpMkLst>
        </pc:grpChg>
        <pc:grpChg chg="mod">
          <ac:chgData name="Julian Pauli" userId="610ac62b-222a-4de8-b70c-7dd89aaf92e2" providerId="ADAL" clId="{80338092-BF3F-4497-AE90-59CA3E487426}" dt="2025-08-14T12:22:24.795" v="1457" actId="14100"/>
          <ac:grpSpMkLst>
            <pc:docMk/>
            <pc:sldMk cId="1135005827" sldId="2147483618"/>
            <ac:grpSpMk id="15" creationId="{3D729854-06D9-C02A-5B2E-DB6CB5125C09}"/>
          </ac:grpSpMkLst>
        </pc:grpChg>
        <pc:grpChg chg="mod">
          <ac:chgData name="Julian Pauli" userId="610ac62b-222a-4de8-b70c-7dd89aaf92e2" providerId="ADAL" clId="{80338092-BF3F-4497-AE90-59CA3E487426}" dt="2025-08-14T12:22:24.795" v="1457" actId="14100"/>
          <ac:grpSpMkLst>
            <pc:docMk/>
            <pc:sldMk cId="1135005827" sldId="2147483618"/>
            <ac:grpSpMk id="16" creationId="{E27644DE-20AB-80DF-F48C-DA375A32170C}"/>
          </ac:grpSpMkLst>
        </pc:grpChg>
      </pc:sldChg>
      <pc:sldChg chg="addSp delSp modSp add mod modClrScheme chgLayout">
        <pc:chgData name="Julian Pauli" userId="610ac62b-222a-4de8-b70c-7dd89aaf92e2" providerId="ADAL" clId="{80338092-BF3F-4497-AE90-59CA3E487426}" dt="2025-08-18T08:17:55.852" v="2024" actId="478"/>
        <pc:sldMkLst>
          <pc:docMk/>
          <pc:sldMk cId="1561040843" sldId="2147483619"/>
        </pc:sldMkLst>
        <pc:spChg chg="mod ord">
          <ac:chgData name="Julian Pauli" userId="610ac62b-222a-4de8-b70c-7dd89aaf92e2" providerId="ADAL" clId="{80338092-BF3F-4497-AE90-59CA3E487426}" dt="2025-08-18T07:48:20.723" v="1860" actId="700"/>
          <ac:spMkLst>
            <pc:docMk/>
            <pc:sldMk cId="1561040843" sldId="2147483619"/>
            <ac:spMk id="2" creationId="{611A6591-9BBA-F85C-0539-B9A88ECDF50A}"/>
          </ac:spMkLst>
        </pc:spChg>
        <pc:spChg chg="mod ord">
          <ac:chgData name="Julian Pauli" userId="610ac62b-222a-4de8-b70c-7dd89aaf92e2" providerId="ADAL" clId="{80338092-BF3F-4497-AE90-59CA3E487426}" dt="2025-08-18T07:48:20.723" v="1860" actId="700"/>
          <ac:spMkLst>
            <pc:docMk/>
            <pc:sldMk cId="1561040843" sldId="2147483619"/>
            <ac:spMk id="3" creationId="{1315F303-FB32-A6D6-325E-9C70E2F16D28}"/>
          </ac:spMkLst>
        </pc:spChg>
        <pc:spChg chg="add mod ord">
          <ac:chgData name="Julian Pauli" userId="610ac62b-222a-4de8-b70c-7dd89aaf92e2" providerId="ADAL" clId="{80338092-BF3F-4497-AE90-59CA3E487426}" dt="2025-08-18T07:48:20.723" v="1860" actId="700"/>
          <ac:spMkLst>
            <pc:docMk/>
            <pc:sldMk cId="1561040843" sldId="2147483619"/>
            <ac:spMk id="4" creationId="{D3731FA1-EC3C-B5C8-ACDB-2D9CABE225FD}"/>
          </ac:spMkLst>
        </pc:spChg>
        <pc:graphicFrameChg chg="add del mod">
          <ac:chgData name="Julian Pauli" userId="610ac62b-222a-4de8-b70c-7dd89aaf92e2" providerId="ADAL" clId="{80338092-BF3F-4497-AE90-59CA3E487426}" dt="2025-08-18T08:17:55.852" v="2024" actId="478"/>
          <ac:graphicFrameMkLst>
            <pc:docMk/>
            <pc:sldMk cId="1561040843" sldId="2147483619"/>
            <ac:graphicFrameMk id="6" creationId="{4587100C-5076-E9C0-57FE-570ACA452B5D}"/>
          </ac:graphicFrameMkLst>
        </pc:graphicFrameChg>
      </pc:sldChg>
      <pc:sldChg chg="add">
        <pc:chgData name="Julian Pauli" userId="610ac62b-222a-4de8-b70c-7dd89aaf92e2" providerId="ADAL" clId="{80338092-BF3F-4497-AE90-59CA3E487426}" dt="2025-08-18T08:23:47.193" v="2026"/>
        <pc:sldMkLst>
          <pc:docMk/>
          <pc:sldMk cId="3362044805" sldId="2147483620"/>
        </pc:sldMkLst>
      </pc:sldChg>
      <pc:sldMasterChg chg="addSldLayout delSldLayout">
        <pc:chgData name="Julian Pauli" userId="610ac62b-222a-4de8-b70c-7dd89aaf92e2" providerId="ADAL" clId="{80338092-BF3F-4497-AE90-59CA3E487426}" dt="2025-08-14T12:46:25.674" v="1508" actId="47"/>
        <pc:sldMasterMkLst>
          <pc:docMk/>
          <pc:sldMasterMk cId="1965510856" sldId="2147483735"/>
        </pc:sldMasterMkLst>
        <pc:sldLayoutChg chg="add del">
          <pc:chgData name="Julian Pauli" userId="610ac62b-222a-4de8-b70c-7dd89aaf92e2" providerId="ADAL" clId="{80338092-BF3F-4497-AE90-59CA3E487426}" dt="2025-08-14T12:46:25.674" v="1508" actId="47"/>
          <pc:sldLayoutMkLst>
            <pc:docMk/>
            <pc:sldMasterMk cId="1965510856" sldId="2147483735"/>
            <pc:sldLayoutMk cId="633334182" sldId="2147483813"/>
          </pc:sldLayoutMkLst>
        </pc:sldLayoutChg>
        <pc:sldLayoutChg chg="add del">
          <pc:chgData name="Julian Pauli" userId="610ac62b-222a-4de8-b70c-7dd89aaf92e2" providerId="ADAL" clId="{80338092-BF3F-4497-AE90-59CA3E487426}" dt="2025-08-14T12:46:25.674" v="1508" actId="47"/>
          <pc:sldLayoutMkLst>
            <pc:docMk/>
            <pc:sldMasterMk cId="1965510856" sldId="2147483735"/>
            <pc:sldLayoutMk cId="842006225" sldId="2147483814"/>
          </pc:sldLayoutMkLst>
        </pc:sldLayoutChg>
        <pc:sldLayoutChg chg="add del">
          <pc:chgData name="Julian Pauli" userId="610ac62b-222a-4de8-b70c-7dd89aaf92e2" providerId="ADAL" clId="{80338092-BF3F-4497-AE90-59CA3E487426}" dt="2025-08-14T12:46:25.674" v="1508" actId="47"/>
          <pc:sldLayoutMkLst>
            <pc:docMk/>
            <pc:sldMasterMk cId="1965510856" sldId="2147483735"/>
            <pc:sldLayoutMk cId="1354832652" sldId="2147483815"/>
          </pc:sldLayoutMkLst>
        </pc:sldLayoutChg>
      </pc:sldMasterChg>
    </pc:docChg>
  </pc:docChgLst>
  <pc:docChgLst>
    <pc:chgData name="Amelie Heyden" userId="S::amelie.heyden@vertexinc.com::3239f032-7e5a-45d0-aca8-489331d21bb1" providerId="AD" clId="Web-{65A9256F-29D0-E6E5-0478-596C5DCA9AA6}"/>
    <pc:docChg chg="modSld">
      <pc:chgData name="Amelie Heyden" userId="S::amelie.heyden@vertexinc.com::3239f032-7e5a-45d0-aca8-489331d21bb1" providerId="AD" clId="Web-{65A9256F-29D0-E6E5-0478-596C5DCA9AA6}" dt="2025-08-26T14:16:39.534" v="6" actId="1076"/>
      <pc:docMkLst>
        <pc:docMk/>
      </pc:docMkLst>
      <pc:sldChg chg="addSp modSp">
        <pc:chgData name="Amelie Heyden" userId="S::amelie.heyden@vertexinc.com::3239f032-7e5a-45d0-aca8-489331d21bb1" providerId="AD" clId="Web-{65A9256F-29D0-E6E5-0478-596C5DCA9AA6}" dt="2025-08-26T14:16:39.534" v="6" actId="1076"/>
        <pc:sldMkLst>
          <pc:docMk/>
          <pc:sldMk cId="4151175056" sldId="2147483643"/>
        </pc:sldMkLst>
        <pc:picChg chg="add mod">
          <ac:chgData name="Amelie Heyden" userId="S::amelie.heyden@vertexinc.com::3239f032-7e5a-45d0-aca8-489331d21bb1" providerId="AD" clId="Web-{65A9256F-29D0-E6E5-0478-596C5DCA9AA6}" dt="2025-08-26T14:16:22.533" v="5" actId="14100"/>
          <ac:picMkLst>
            <pc:docMk/>
            <pc:sldMk cId="4151175056" sldId="2147483643"/>
            <ac:picMk id="10" creationId="{19F2FA97-2EB0-999C-F8CB-D84D2248190A}"/>
          </ac:picMkLst>
        </pc:picChg>
        <pc:picChg chg="mod">
          <ac:chgData name="Amelie Heyden" userId="S::amelie.heyden@vertexinc.com::3239f032-7e5a-45d0-aca8-489331d21bb1" providerId="AD" clId="Web-{65A9256F-29D0-E6E5-0478-596C5DCA9AA6}" dt="2025-08-26T14:16:39.534" v="6" actId="1076"/>
          <ac:picMkLst>
            <pc:docMk/>
            <pc:sldMk cId="4151175056" sldId="2147483643"/>
            <ac:picMk id="27" creationId="{AEA99E36-22A9-6910-35AB-AA909036277A}"/>
          </ac:picMkLst>
        </pc:picChg>
      </pc:sldChg>
    </pc:docChg>
  </pc:docChgLst>
  <pc:docChgLst>
    <pc:chgData name="Amelie Heyden" userId="S::amelie.heyden@vertexinc.com::3239f032-7e5a-45d0-aca8-489331d21bb1" providerId="AD" clId="Web-{F4A9FFD5-9B80-8F01-B22A-E70682A62CBD}"/>
    <pc:docChg chg="modSld">
      <pc:chgData name="Amelie Heyden" userId="S::amelie.heyden@vertexinc.com::3239f032-7e5a-45d0-aca8-489331d21bb1" providerId="AD" clId="Web-{F4A9FFD5-9B80-8F01-B22A-E70682A62CBD}" dt="2025-08-25T11:46:43.472" v="16" actId="20577"/>
      <pc:docMkLst>
        <pc:docMk/>
      </pc:docMkLst>
      <pc:sldChg chg="addSp delSp modSp">
        <pc:chgData name="Amelie Heyden" userId="S::amelie.heyden@vertexinc.com::3239f032-7e5a-45d0-aca8-489331d21bb1" providerId="AD" clId="Web-{F4A9FFD5-9B80-8F01-B22A-E70682A62CBD}" dt="2025-08-25T11:46:43.472" v="16" actId="20577"/>
        <pc:sldMkLst>
          <pc:docMk/>
          <pc:sldMk cId="1785723406" sldId="2147483641"/>
        </pc:sldMkLst>
        <pc:spChg chg="mod">
          <ac:chgData name="Amelie Heyden" userId="S::amelie.heyden@vertexinc.com::3239f032-7e5a-45d0-aca8-489331d21bb1" providerId="AD" clId="Web-{F4A9FFD5-9B80-8F01-B22A-E70682A62CBD}" dt="2025-08-25T11:46:43.472" v="16" actId="20577"/>
          <ac:spMkLst>
            <pc:docMk/>
            <pc:sldMk cId="1785723406" sldId="2147483641"/>
            <ac:spMk id="6" creationId="{CA4A7D2C-BC48-7E41-A2CE-5FAA1C39E1E8}"/>
          </ac:spMkLst>
        </pc:spChg>
        <pc:picChg chg="add mod ord">
          <ac:chgData name="Amelie Heyden" userId="S::amelie.heyden@vertexinc.com::3239f032-7e5a-45d0-aca8-489331d21bb1" providerId="AD" clId="Web-{F4A9FFD5-9B80-8F01-B22A-E70682A62CBD}" dt="2025-08-25T11:44:50.579" v="0"/>
          <ac:picMkLst>
            <pc:docMk/>
            <pc:sldMk cId="1785723406" sldId="2147483641"/>
            <ac:picMk id="9" creationId="{4F8F24C5-DF3D-DE68-3C23-9A2844A1108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image" Target="../media/image110.svg"/><Relationship Id="rId1" Type="http://schemas.openxmlformats.org/officeDocument/2006/relationships/image" Target="../media/image109.png"/><Relationship Id="rId6" Type="http://schemas.openxmlformats.org/officeDocument/2006/relationships/image" Target="../media/image114.svg"/><Relationship Id="rId5" Type="http://schemas.openxmlformats.org/officeDocument/2006/relationships/image" Target="../media/image113.png"/><Relationship Id="rId10" Type="http://schemas.openxmlformats.org/officeDocument/2006/relationships/image" Target="../media/image118.svg"/><Relationship Id="rId4" Type="http://schemas.openxmlformats.org/officeDocument/2006/relationships/image" Target="../media/image112.svg"/><Relationship Id="rId9" Type="http://schemas.openxmlformats.org/officeDocument/2006/relationships/image" Target="../media/image117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image" Target="../media/image110.svg"/><Relationship Id="rId1" Type="http://schemas.openxmlformats.org/officeDocument/2006/relationships/image" Target="../media/image109.png"/><Relationship Id="rId6" Type="http://schemas.openxmlformats.org/officeDocument/2006/relationships/image" Target="../media/image114.svg"/><Relationship Id="rId5" Type="http://schemas.openxmlformats.org/officeDocument/2006/relationships/image" Target="../media/image113.png"/><Relationship Id="rId10" Type="http://schemas.openxmlformats.org/officeDocument/2006/relationships/image" Target="../media/image118.svg"/><Relationship Id="rId4" Type="http://schemas.openxmlformats.org/officeDocument/2006/relationships/image" Target="../media/image112.svg"/><Relationship Id="rId9" Type="http://schemas.openxmlformats.org/officeDocument/2006/relationships/image" Target="../media/image1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DC045E-D746-4FC7-AFC6-703E72C6B2EC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4FDB7221-6D21-44AD-A807-9BA47522B45B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de-DE"/>
            <a:t>Intro </a:t>
          </a:r>
        </a:p>
      </dgm:t>
    </dgm:pt>
    <dgm:pt modelId="{4B80F44E-99B4-400C-954E-122BE9809AD9}" type="parTrans" cxnId="{A62152A3-9CB4-4E0B-B727-F3EA3243BBB0}">
      <dgm:prSet/>
      <dgm:spPr/>
      <dgm:t>
        <a:bodyPr/>
        <a:lstStyle/>
        <a:p>
          <a:endParaRPr lang="en-US"/>
        </a:p>
      </dgm:t>
    </dgm:pt>
    <dgm:pt modelId="{00730236-9089-40C0-9C71-5F7F653F23F6}" type="sibTrans" cxnId="{A62152A3-9CB4-4E0B-B727-F3EA3243BBB0}">
      <dgm:prSet/>
      <dgm:spPr/>
      <dgm:t>
        <a:bodyPr/>
        <a:lstStyle/>
        <a:p>
          <a:endParaRPr lang="en-US"/>
        </a:p>
      </dgm:t>
    </dgm:pt>
    <dgm:pt modelId="{F4A01C97-960C-49D0-A7FB-F6FA73B33582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How invoice formats impacting VAT-reporting capabilities</a:t>
          </a:r>
        </a:p>
      </dgm:t>
    </dgm:pt>
    <dgm:pt modelId="{A3FEC611-A7FA-40FB-8020-295D0980089A}" type="parTrans" cxnId="{9A5A6DE7-19A3-4201-8937-3E659CE7DAA9}">
      <dgm:prSet/>
      <dgm:spPr/>
      <dgm:t>
        <a:bodyPr/>
        <a:lstStyle/>
        <a:p>
          <a:endParaRPr lang="en-US"/>
        </a:p>
      </dgm:t>
    </dgm:pt>
    <dgm:pt modelId="{AB27BC21-73E4-4BF4-BFB8-FF7F307CAB47}" type="sibTrans" cxnId="{9A5A6DE7-19A3-4201-8937-3E659CE7DAA9}">
      <dgm:prSet/>
      <dgm:spPr/>
      <dgm:t>
        <a:bodyPr/>
        <a:lstStyle/>
        <a:p>
          <a:endParaRPr lang="en-US"/>
        </a:p>
      </dgm:t>
    </dgm:pt>
    <dgm:pt modelId="{B1D9642D-3A8A-4577-AFBB-0D2869AAD2B2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What challenges do regulatory developments in Germany and beyond bring with them?</a:t>
          </a:r>
        </a:p>
      </dgm:t>
    </dgm:pt>
    <dgm:pt modelId="{4E0FB666-0ECD-49B9-B5CC-B91FF05B6F77}" type="parTrans" cxnId="{CAD6CAA5-FF82-402B-A73E-79ED4750722B}">
      <dgm:prSet/>
      <dgm:spPr/>
      <dgm:t>
        <a:bodyPr/>
        <a:lstStyle/>
        <a:p>
          <a:endParaRPr lang="en-US"/>
        </a:p>
      </dgm:t>
    </dgm:pt>
    <dgm:pt modelId="{E1EC0F83-8CA6-4310-B3DB-2B4719092C47}" type="sibTrans" cxnId="{CAD6CAA5-FF82-402B-A73E-79ED4750722B}">
      <dgm:prSet/>
      <dgm:spPr/>
      <dgm:t>
        <a:bodyPr/>
        <a:lstStyle/>
        <a:p>
          <a:endParaRPr lang="en-US"/>
        </a:p>
      </dgm:t>
    </dgm:pt>
    <dgm:pt modelId="{B5F88252-ED57-4C4E-9384-58856CFFCA6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How can Vertex support you?</a:t>
          </a:r>
        </a:p>
      </dgm:t>
    </dgm:pt>
    <dgm:pt modelId="{626F6901-D320-40F9-B2F3-5FE36D93DE82}" type="parTrans" cxnId="{448D5B43-1A69-4EC4-B94B-9059810EBA91}">
      <dgm:prSet/>
      <dgm:spPr/>
      <dgm:t>
        <a:bodyPr/>
        <a:lstStyle/>
        <a:p>
          <a:endParaRPr lang="en-US"/>
        </a:p>
      </dgm:t>
    </dgm:pt>
    <dgm:pt modelId="{573AC046-6839-45A6-B9F9-A708B3C51DC8}" type="sibTrans" cxnId="{448D5B43-1A69-4EC4-B94B-9059810EBA91}">
      <dgm:prSet/>
      <dgm:spPr/>
      <dgm:t>
        <a:bodyPr/>
        <a:lstStyle/>
        <a:p>
          <a:endParaRPr lang="en-US"/>
        </a:p>
      </dgm:t>
    </dgm:pt>
    <dgm:pt modelId="{FF377A5B-4B51-4D67-ADEC-EBBBA5BEA75D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What are the advantages of the changed legal framework?</a:t>
          </a:r>
        </a:p>
      </dgm:t>
    </dgm:pt>
    <dgm:pt modelId="{3D3B9425-F611-4CF2-903D-2A9E3CD86AAE}" type="parTrans" cxnId="{391D6B11-D449-4F41-B077-FCAAB7D280C7}">
      <dgm:prSet/>
      <dgm:spPr/>
      <dgm:t>
        <a:bodyPr/>
        <a:lstStyle/>
        <a:p>
          <a:endParaRPr lang="en-US"/>
        </a:p>
      </dgm:t>
    </dgm:pt>
    <dgm:pt modelId="{3E3D3E5B-04D0-4D40-BA57-65E1728BB0DD}" type="sibTrans" cxnId="{391D6B11-D449-4F41-B077-FCAAB7D280C7}">
      <dgm:prSet/>
      <dgm:spPr/>
      <dgm:t>
        <a:bodyPr/>
        <a:lstStyle/>
        <a:p>
          <a:endParaRPr lang="en-US"/>
        </a:p>
      </dgm:t>
    </dgm:pt>
    <dgm:pt modelId="{E2FDC421-FB6E-483A-AC5B-6408E37B709D}" type="pres">
      <dgm:prSet presAssocID="{62DC045E-D746-4FC7-AFC6-703E72C6B2EC}" presName="root" presStyleCnt="0">
        <dgm:presLayoutVars>
          <dgm:dir/>
          <dgm:resizeHandles val="exact"/>
        </dgm:presLayoutVars>
      </dgm:prSet>
      <dgm:spPr/>
    </dgm:pt>
    <dgm:pt modelId="{C6E73BD8-6B47-4DCB-B023-DCE9C2024125}" type="pres">
      <dgm:prSet presAssocID="{4FDB7221-6D21-44AD-A807-9BA47522B45B}" presName="compNode" presStyleCnt="0"/>
      <dgm:spPr/>
    </dgm:pt>
    <dgm:pt modelId="{C2C32A10-A43B-4570-AAE1-6D32DD596CCE}" type="pres">
      <dgm:prSet presAssocID="{4FDB7221-6D21-44AD-A807-9BA47522B45B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4FC8D0B9-CE65-4D03-B6C9-35B0C690A9D1}" type="pres">
      <dgm:prSet presAssocID="{4FDB7221-6D21-44AD-A807-9BA47522B45B}" presName="iconSpace" presStyleCnt="0"/>
      <dgm:spPr/>
    </dgm:pt>
    <dgm:pt modelId="{9199FD6C-012A-4960-ADAF-E56B7A3A7AD9}" type="pres">
      <dgm:prSet presAssocID="{4FDB7221-6D21-44AD-A807-9BA47522B45B}" presName="parTx" presStyleLbl="revTx" presStyleIdx="0" presStyleCnt="10">
        <dgm:presLayoutVars>
          <dgm:chMax val="0"/>
          <dgm:chPref val="0"/>
        </dgm:presLayoutVars>
      </dgm:prSet>
      <dgm:spPr/>
    </dgm:pt>
    <dgm:pt modelId="{7BC3B012-3BEC-48EC-8E91-7487179CBBC1}" type="pres">
      <dgm:prSet presAssocID="{4FDB7221-6D21-44AD-A807-9BA47522B45B}" presName="txSpace" presStyleCnt="0"/>
      <dgm:spPr/>
    </dgm:pt>
    <dgm:pt modelId="{F5DDE7ED-623E-45B0-9278-405F5218E36E}" type="pres">
      <dgm:prSet presAssocID="{4FDB7221-6D21-44AD-A807-9BA47522B45B}" presName="desTx" presStyleLbl="revTx" presStyleIdx="1" presStyleCnt="10">
        <dgm:presLayoutVars/>
      </dgm:prSet>
      <dgm:spPr/>
    </dgm:pt>
    <dgm:pt modelId="{52BD4371-91EB-4541-8936-F290FA9D74D5}" type="pres">
      <dgm:prSet presAssocID="{00730236-9089-40C0-9C71-5F7F653F23F6}" presName="sibTrans" presStyleCnt="0"/>
      <dgm:spPr/>
    </dgm:pt>
    <dgm:pt modelId="{5877B5EB-2D05-49FA-92F5-E508FE60DE16}" type="pres">
      <dgm:prSet presAssocID="{F4A01C97-960C-49D0-A7FB-F6FA73B33582}" presName="compNode" presStyleCnt="0"/>
      <dgm:spPr/>
    </dgm:pt>
    <dgm:pt modelId="{8D7A35F8-F15E-4778-ABAB-9CFB823E9AC0}" type="pres">
      <dgm:prSet presAssocID="{F4A01C97-960C-49D0-A7FB-F6FA73B33582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B2373206-3EE9-47FA-B80B-39E3982AEB03}" type="pres">
      <dgm:prSet presAssocID="{F4A01C97-960C-49D0-A7FB-F6FA73B33582}" presName="iconSpace" presStyleCnt="0"/>
      <dgm:spPr/>
    </dgm:pt>
    <dgm:pt modelId="{22E516C2-7006-4399-8BC8-3097D10413DB}" type="pres">
      <dgm:prSet presAssocID="{F4A01C97-960C-49D0-A7FB-F6FA73B33582}" presName="parTx" presStyleLbl="revTx" presStyleIdx="2" presStyleCnt="10">
        <dgm:presLayoutVars>
          <dgm:chMax val="0"/>
          <dgm:chPref val="0"/>
        </dgm:presLayoutVars>
      </dgm:prSet>
      <dgm:spPr/>
    </dgm:pt>
    <dgm:pt modelId="{D63E281D-4278-4901-9D73-E96F3985DE73}" type="pres">
      <dgm:prSet presAssocID="{F4A01C97-960C-49D0-A7FB-F6FA73B33582}" presName="txSpace" presStyleCnt="0"/>
      <dgm:spPr/>
    </dgm:pt>
    <dgm:pt modelId="{6148BA57-6496-41D9-B870-6EEF1C7C4B86}" type="pres">
      <dgm:prSet presAssocID="{F4A01C97-960C-49D0-A7FB-F6FA73B33582}" presName="desTx" presStyleLbl="revTx" presStyleIdx="3" presStyleCnt="10">
        <dgm:presLayoutVars/>
      </dgm:prSet>
      <dgm:spPr/>
    </dgm:pt>
    <dgm:pt modelId="{01DDA507-E1D8-4215-9B9F-AD3AA3944A41}" type="pres">
      <dgm:prSet presAssocID="{AB27BC21-73E4-4BF4-BFB8-FF7F307CAB47}" presName="sibTrans" presStyleCnt="0"/>
      <dgm:spPr/>
    </dgm:pt>
    <dgm:pt modelId="{E844A07E-12B2-4FF2-88B2-24AF198DE670}" type="pres">
      <dgm:prSet presAssocID="{B1D9642D-3A8A-4577-AFBB-0D2869AAD2B2}" presName="compNode" presStyleCnt="0"/>
      <dgm:spPr/>
    </dgm:pt>
    <dgm:pt modelId="{F5DD84A9-7D09-49C7-85D7-A44F5086B6C8}" type="pres">
      <dgm:prSet presAssocID="{B1D9642D-3A8A-4577-AFBB-0D2869AAD2B2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aper"/>
        </a:ext>
      </dgm:extLst>
    </dgm:pt>
    <dgm:pt modelId="{04F39CE5-34DC-4F2B-8460-7BF428718F1C}" type="pres">
      <dgm:prSet presAssocID="{B1D9642D-3A8A-4577-AFBB-0D2869AAD2B2}" presName="iconSpace" presStyleCnt="0"/>
      <dgm:spPr/>
    </dgm:pt>
    <dgm:pt modelId="{2DD12173-8D80-4098-BA32-48B8D67C98EB}" type="pres">
      <dgm:prSet presAssocID="{B1D9642D-3A8A-4577-AFBB-0D2869AAD2B2}" presName="parTx" presStyleLbl="revTx" presStyleIdx="4" presStyleCnt="10">
        <dgm:presLayoutVars>
          <dgm:chMax val="0"/>
          <dgm:chPref val="0"/>
        </dgm:presLayoutVars>
      </dgm:prSet>
      <dgm:spPr/>
    </dgm:pt>
    <dgm:pt modelId="{AFB447DF-F9B5-4DDE-A422-4B496A5544FA}" type="pres">
      <dgm:prSet presAssocID="{B1D9642D-3A8A-4577-AFBB-0D2869AAD2B2}" presName="txSpace" presStyleCnt="0"/>
      <dgm:spPr/>
    </dgm:pt>
    <dgm:pt modelId="{293A1919-FF72-495E-884E-803B467075E4}" type="pres">
      <dgm:prSet presAssocID="{B1D9642D-3A8A-4577-AFBB-0D2869AAD2B2}" presName="desTx" presStyleLbl="revTx" presStyleIdx="5" presStyleCnt="10">
        <dgm:presLayoutVars/>
      </dgm:prSet>
      <dgm:spPr/>
    </dgm:pt>
    <dgm:pt modelId="{E5636CFD-1D89-462B-88EB-3ED988F69C12}" type="pres">
      <dgm:prSet presAssocID="{E1EC0F83-8CA6-4310-B3DB-2B4719092C47}" presName="sibTrans" presStyleCnt="0"/>
      <dgm:spPr/>
    </dgm:pt>
    <dgm:pt modelId="{F2999389-DECF-45B3-9843-9C4AA77E481B}" type="pres">
      <dgm:prSet presAssocID="{B5F88252-ED57-4C4E-9384-58856CFFCA64}" presName="compNode" presStyleCnt="0"/>
      <dgm:spPr/>
    </dgm:pt>
    <dgm:pt modelId="{31BDD7D6-CB31-412D-AFE5-F2390911D975}" type="pres">
      <dgm:prSet presAssocID="{B5F88252-ED57-4C4E-9384-58856CFFCA64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A63F3E8C-B9ED-4988-A1B4-4B503EC37688}" type="pres">
      <dgm:prSet presAssocID="{B5F88252-ED57-4C4E-9384-58856CFFCA64}" presName="iconSpace" presStyleCnt="0"/>
      <dgm:spPr/>
    </dgm:pt>
    <dgm:pt modelId="{0B0063A5-3438-4430-899B-D825D2D53E17}" type="pres">
      <dgm:prSet presAssocID="{B5F88252-ED57-4C4E-9384-58856CFFCA64}" presName="parTx" presStyleLbl="revTx" presStyleIdx="6" presStyleCnt="10">
        <dgm:presLayoutVars>
          <dgm:chMax val="0"/>
          <dgm:chPref val="0"/>
        </dgm:presLayoutVars>
      </dgm:prSet>
      <dgm:spPr/>
    </dgm:pt>
    <dgm:pt modelId="{C8AA1679-E97A-4695-A6AA-1E9C99164EE9}" type="pres">
      <dgm:prSet presAssocID="{B5F88252-ED57-4C4E-9384-58856CFFCA64}" presName="txSpace" presStyleCnt="0"/>
      <dgm:spPr/>
    </dgm:pt>
    <dgm:pt modelId="{64C0AE80-AE13-4CF8-9060-B8E86B3A8204}" type="pres">
      <dgm:prSet presAssocID="{B5F88252-ED57-4C4E-9384-58856CFFCA64}" presName="desTx" presStyleLbl="revTx" presStyleIdx="7" presStyleCnt="10" custLinFactNeighborX="1870" custLinFactNeighborY="-87668">
        <dgm:presLayoutVars/>
      </dgm:prSet>
      <dgm:spPr/>
    </dgm:pt>
    <dgm:pt modelId="{7FBA9C6D-06F8-4770-8040-105A95AF7CDF}" type="pres">
      <dgm:prSet presAssocID="{573AC046-6839-45A6-B9F9-A708B3C51DC8}" presName="sibTrans" presStyleCnt="0"/>
      <dgm:spPr/>
    </dgm:pt>
    <dgm:pt modelId="{C2C42BC7-4D5B-42FA-850E-80F2B6C00B6F}" type="pres">
      <dgm:prSet presAssocID="{FF377A5B-4B51-4D67-ADEC-EBBBA5BEA75D}" presName="compNode" presStyleCnt="0"/>
      <dgm:spPr/>
    </dgm:pt>
    <dgm:pt modelId="{6B00DF62-6CEA-40A1-AA78-BBEF741AD495}" type="pres">
      <dgm:prSet presAssocID="{FF377A5B-4B51-4D67-ADEC-EBBBA5BEA75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egister"/>
        </a:ext>
      </dgm:extLst>
    </dgm:pt>
    <dgm:pt modelId="{46A2BC91-43D2-47DA-AB37-60759BFA9BB0}" type="pres">
      <dgm:prSet presAssocID="{FF377A5B-4B51-4D67-ADEC-EBBBA5BEA75D}" presName="iconSpace" presStyleCnt="0"/>
      <dgm:spPr/>
    </dgm:pt>
    <dgm:pt modelId="{C823DB65-035C-46F8-8DC7-38BE50951FF8}" type="pres">
      <dgm:prSet presAssocID="{FF377A5B-4B51-4D67-ADEC-EBBBA5BEA75D}" presName="parTx" presStyleLbl="revTx" presStyleIdx="8" presStyleCnt="10">
        <dgm:presLayoutVars>
          <dgm:chMax val="0"/>
          <dgm:chPref val="0"/>
        </dgm:presLayoutVars>
      </dgm:prSet>
      <dgm:spPr/>
    </dgm:pt>
    <dgm:pt modelId="{3447EB92-7D51-4763-A6C7-EA32EBEE4196}" type="pres">
      <dgm:prSet presAssocID="{FF377A5B-4B51-4D67-ADEC-EBBBA5BEA75D}" presName="txSpace" presStyleCnt="0"/>
      <dgm:spPr/>
    </dgm:pt>
    <dgm:pt modelId="{A8FB814B-3233-405F-9D93-AC8C1EB473CA}" type="pres">
      <dgm:prSet presAssocID="{FF377A5B-4B51-4D67-ADEC-EBBBA5BEA75D}" presName="desTx" presStyleLbl="revTx" presStyleIdx="9" presStyleCnt="10">
        <dgm:presLayoutVars/>
      </dgm:prSet>
      <dgm:spPr/>
    </dgm:pt>
  </dgm:ptLst>
  <dgm:cxnLst>
    <dgm:cxn modelId="{391D6B11-D449-4F41-B077-FCAAB7D280C7}" srcId="{62DC045E-D746-4FC7-AFC6-703E72C6B2EC}" destId="{FF377A5B-4B51-4D67-ADEC-EBBBA5BEA75D}" srcOrd="4" destOrd="0" parTransId="{3D3B9425-F611-4CF2-903D-2A9E3CD86AAE}" sibTransId="{3E3D3E5B-04D0-4D40-BA57-65E1728BB0DD}"/>
    <dgm:cxn modelId="{59306033-5E67-4F0A-A8B1-465137F2A70F}" type="presOf" srcId="{B5F88252-ED57-4C4E-9384-58856CFFCA64}" destId="{0B0063A5-3438-4430-899B-D825D2D53E17}" srcOrd="0" destOrd="0" presId="urn:microsoft.com/office/officeart/2018/5/layout/CenteredIconLabelDescriptionList"/>
    <dgm:cxn modelId="{4B0DDC3B-099C-40AC-AD86-772FB67B15AE}" type="presOf" srcId="{F4A01C97-960C-49D0-A7FB-F6FA73B33582}" destId="{22E516C2-7006-4399-8BC8-3097D10413DB}" srcOrd="0" destOrd="0" presId="urn:microsoft.com/office/officeart/2018/5/layout/CenteredIconLabelDescriptionList"/>
    <dgm:cxn modelId="{448D5B43-1A69-4EC4-B94B-9059810EBA91}" srcId="{62DC045E-D746-4FC7-AFC6-703E72C6B2EC}" destId="{B5F88252-ED57-4C4E-9384-58856CFFCA64}" srcOrd="3" destOrd="0" parTransId="{626F6901-D320-40F9-B2F3-5FE36D93DE82}" sibTransId="{573AC046-6839-45A6-B9F9-A708B3C51DC8}"/>
    <dgm:cxn modelId="{A81A8163-DE4C-424E-8A4B-CC45CF08D8AF}" type="presOf" srcId="{B1D9642D-3A8A-4577-AFBB-0D2869AAD2B2}" destId="{2DD12173-8D80-4098-BA32-48B8D67C98EB}" srcOrd="0" destOrd="0" presId="urn:microsoft.com/office/officeart/2018/5/layout/CenteredIconLabelDescriptionList"/>
    <dgm:cxn modelId="{1D40EE58-8244-453F-91C5-262148C0F1A1}" type="presOf" srcId="{4FDB7221-6D21-44AD-A807-9BA47522B45B}" destId="{9199FD6C-012A-4960-ADAF-E56B7A3A7AD9}" srcOrd="0" destOrd="0" presId="urn:microsoft.com/office/officeart/2018/5/layout/CenteredIconLabelDescriptionList"/>
    <dgm:cxn modelId="{A62152A3-9CB4-4E0B-B727-F3EA3243BBB0}" srcId="{62DC045E-D746-4FC7-AFC6-703E72C6B2EC}" destId="{4FDB7221-6D21-44AD-A807-9BA47522B45B}" srcOrd="0" destOrd="0" parTransId="{4B80F44E-99B4-400C-954E-122BE9809AD9}" sibTransId="{00730236-9089-40C0-9C71-5F7F653F23F6}"/>
    <dgm:cxn modelId="{CAD6CAA5-FF82-402B-A73E-79ED4750722B}" srcId="{62DC045E-D746-4FC7-AFC6-703E72C6B2EC}" destId="{B1D9642D-3A8A-4577-AFBB-0D2869AAD2B2}" srcOrd="2" destOrd="0" parTransId="{4E0FB666-0ECD-49B9-B5CC-B91FF05B6F77}" sibTransId="{E1EC0F83-8CA6-4310-B3DB-2B4719092C47}"/>
    <dgm:cxn modelId="{19B8A4B7-F805-46A0-B000-A4E3A1F6296D}" type="presOf" srcId="{FF377A5B-4B51-4D67-ADEC-EBBBA5BEA75D}" destId="{C823DB65-035C-46F8-8DC7-38BE50951FF8}" srcOrd="0" destOrd="0" presId="urn:microsoft.com/office/officeart/2018/5/layout/CenteredIconLabelDescriptionList"/>
    <dgm:cxn modelId="{9A5A6DE7-19A3-4201-8937-3E659CE7DAA9}" srcId="{62DC045E-D746-4FC7-AFC6-703E72C6B2EC}" destId="{F4A01C97-960C-49D0-A7FB-F6FA73B33582}" srcOrd="1" destOrd="0" parTransId="{A3FEC611-A7FA-40FB-8020-295D0980089A}" sibTransId="{AB27BC21-73E4-4BF4-BFB8-FF7F307CAB47}"/>
    <dgm:cxn modelId="{C5F62DF8-A498-4041-BDC7-DCB5F7EB9965}" type="presOf" srcId="{62DC045E-D746-4FC7-AFC6-703E72C6B2EC}" destId="{E2FDC421-FB6E-483A-AC5B-6408E37B709D}" srcOrd="0" destOrd="0" presId="urn:microsoft.com/office/officeart/2018/5/layout/CenteredIconLabelDescriptionList"/>
    <dgm:cxn modelId="{3CE4BC7F-1C67-49AC-BC9C-DAA0B29BD43E}" type="presParOf" srcId="{E2FDC421-FB6E-483A-AC5B-6408E37B709D}" destId="{C6E73BD8-6B47-4DCB-B023-DCE9C2024125}" srcOrd="0" destOrd="0" presId="urn:microsoft.com/office/officeart/2018/5/layout/CenteredIconLabelDescriptionList"/>
    <dgm:cxn modelId="{4AFC4B9E-6BAA-4213-84A9-D7FF6397CFC2}" type="presParOf" srcId="{C6E73BD8-6B47-4DCB-B023-DCE9C2024125}" destId="{C2C32A10-A43B-4570-AAE1-6D32DD596CCE}" srcOrd="0" destOrd="0" presId="urn:microsoft.com/office/officeart/2018/5/layout/CenteredIconLabelDescriptionList"/>
    <dgm:cxn modelId="{7695CCF4-1670-442B-9178-4FF03AB1AF9D}" type="presParOf" srcId="{C6E73BD8-6B47-4DCB-B023-DCE9C2024125}" destId="{4FC8D0B9-CE65-4D03-B6C9-35B0C690A9D1}" srcOrd="1" destOrd="0" presId="urn:microsoft.com/office/officeart/2018/5/layout/CenteredIconLabelDescriptionList"/>
    <dgm:cxn modelId="{1C150BFC-24B4-41FF-9F64-C081C92679D1}" type="presParOf" srcId="{C6E73BD8-6B47-4DCB-B023-DCE9C2024125}" destId="{9199FD6C-012A-4960-ADAF-E56B7A3A7AD9}" srcOrd="2" destOrd="0" presId="urn:microsoft.com/office/officeart/2018/5/layout/CenteredIconLabelDescriptionList"/>
    <dgm:cxn modelId="{9F6299EE-2412-4BE2-8D23-34E1CFEE6E86}" type="presParOf" srcId="{C6E73BD8-6B47-4DCB-B023-DCE9C2024125}" destId="{7BC3B012-3BEC-48EC-8E91-7487179CBBC1}" srcOrd="3" destOrd="0" presId="urn:microsoft.com/office/officeart/2018/5/layout/CenteredIconLabelDescriptionList"/>
    <dgm:cxn modelId="{C8E91852-0F47-4D8A-9CC2-2E40546FB71D}" type="presParOf" srcId="{C6E73BD8-6B47-4DCB-B023-DCE9C2024125}" destId="{F5DDE7ED-623E-45B0-9278-405F5218E36E}" srcOrd="4" destOrd="0" presId="urn:microsoft.com/office/officeart/2018/5/layout/CenteredIconLabelDescriptionList"/>
    <dgm:cxn modelId="{B2789187-E585-4D8D-BE9A-23BD2D191E15}" type="presParOf" srcId="{E2FDC421-FB6E-483A-AC5B-6408E37B709D}" destId="{52BD4371-91EB-4541-8936-F290FA9D74D5}" srcOrd="1" destOrd="0" presId="urn:microsoft.com/office/officeart/2018/5/layout/CenteredIconLabelDescriptionList"/>
    <dgm:cxn modelId="{6A3DDC72-DBEC-46A2-8EB9-97AFAF00AB0C}" type="presParOf" srcId="{E2FDC421-FB6E-483A-AC5B-6408E37B709D}" destId="{5877B5EB-2D05-49FA-92F5-E508FE60DE16}" srcOrd="2" destOrd="0" presId="urn:microsoft.com/office/officeart/2018/5/layout/CenteredIconLabelDescriptionList"/>
    <dgm:cxn modelId="{2FA8A076-9E41-4165-B3E7-20676E960E49}" type="presParOf" srcId="{5877B5EB-2D05-49FA-92F5-E508FE60DE16}" destId="{8D7A35F8-F15E-4778-ABAB-9CFB823E9AC0}" srcOrd="0" destOrd="0" presId="urn:microsoft.com/office/officeart/2018/5/layout/CenteredIconLabelDescriptionList"/>
    <dgm:cxn modelId="{5E33EEAA-033C-44FE-916E-5FC45B7EB2FD}" type="presParOf" srcId="{5877B5EB-2D05-49FA-92F5-E508FE60DE16}" destId="{B2373206-3EE9-47FA-B80B-39E3982AEB03}" srcOrd="1" destOrd="0" presId="urn:microsoft.com/office/officeart/2018/5/layout/CenteredIconLabelDescriptionList"/>
    <dgm:cxn modelId="{1DE26075-F83F-4FAA-BC6F-7A85A41A271A}" type="presParOf" srcId="{5877B5EB-2D05-49FA-92F5-E508FE60DE16}" destId="{22E516C2-7006-4399-8BC8-3097D10413DB}" srcOrd="2" destOrd="0" presId="urn:microsoft.com/office/officeart/2018/5/layout/CenteredIconLabelDescriptionList"/>
    <dgm:cxn modelId="{96F5859C-242C-4B04-975F-B9F9F164A15A}" type="presParOf" srcId="{5877B5EB-2D05-49FA-92F5-E508FE60DE16}" destId="{D63E281D-4278-4901-9D73-E96F3985DE73}" srcOrd="3" destOrd="0" presId="urn:microsoft.com/office/officeart/2018/5/layout/CenteredIconLabelDescriptionList"/>
    <dgm:cxn modelId="{E111439E-5744-4076-B9B2-228F12B9DDD7}" type="presParOf" srcId="{5877B5EB-2D05-49FA-92F5-E508FE60DE16}" destId="{6148BA57-6496-41D9-B870-6EEF1C7C4B86}" srcOrd="4" destOrd="0" presId="urn:microsoft.com/office/officeart/2018/5/layout/CenteredIconLabelDescriptionList"/>
    <dgm:cxn modelId="{FC47D104-D411-4C12-BFF0-4AB530EB319E}" type="presParOf" srcId="{E2FDC421-FB6E-483A-AC5B-6408E37B709D}" destId="{01DDA507-E1D8-4215-9B9F-AD3AA3944A41}" srcOrd="3" destOrd="0" presId="urn:microsoft.com/office/officeart/2018/5/layout/CenteredIconLabelDescriptionList"/>
    <dgm:cxn modelId="{3A39FB00-13AF-4DD6-9FA4-73BD814493BA}" type="presParOf" srcId="{E2FDC421-FB6E-483A-AC5B-6408E37B709D}" destId="{E844A07E-12B2-4FF2-88B2-24AF198DE670}" srcOrd="4" destOrd="0" presId="urn:microsoft.com/office/officeart/2018/5/layout/CenteredIconLabelDescriptionList"/>
    <dgm:cxn modelId="{685536A8-0235-4DE7-84A3-BB69FEE9D7AC}" type="presParOf" srcId="{E844A07E-12B2-4FF2-88B2-24AF198DE670}" destId="{F5DD84A9-7D09-49C7-85D7-A44F5086B6C8}" srcOrd="0" destOrd="0" presId="urn:microsoft.com/office/officeart/2018/5/layout/CenteredIconLabelDescriptionList"/>
    <dgm:cxn modelId="{6D3E091F-9E91-45BD-A03B-E41CC137D691}" type="presParOf" srcId="{E844A07E-12B2-4FF2-88B2-24AF198DE670}" destId="{04F39CE5-34DC-4F2B-8460-7BF428718F1C}" srcOrd="1" destOrd="0" presId="urn:microsoft.com/office/officeart/2018/5/layout/CenteredIconLabelDescriptionList"/>
    <dgm:cxn modelId="{6B12DA3F-8795-4314-ADFE-1422E900FB9F}" type="presParOf" srcId="{E844A07E-12B2-4FF2-88B2-24AF198DE670}" destId="{2DD12173-8D80-4098-BA32-48B8D67C98EB}" srcOrd="2" destOrd="0" presId="urn:microsoft.com/office/officeart/2018/5/layout/CenteredIconLabelDescriptionList"/>
    <dgm:cxn modelId="{6CB5DCC2-296E-4DDC-830C-B9F7C806B638}" type="presParOf" srcId="{E844A07E-12B2-4FF2-88B2-24AF198DE670}" destId="{AFB447DF-F9B5-4DDE-A422-4B496A5544FA}" srcOrd="3" destOrd="0" presId="urn:microsoft.com/office/officeart/2018/5/layout/CenteredIconLabelDescriptionList"/>
    <dgm:cxn modelId="{FF264064-B273-4FBC-BC5E-B60C73D7D449}" type="presParOf" srcId="{E844A07E-12B2-4FF2-88B2-24AF198DE670}" destId="{293A1919-FF72-495E-884E-803B467075E4}" srcOrd="4" destOrd="0" presId="urn:microsoft.com/office/officeart/2018/5/layout/CenteredIconLabelDescriptionList"/>
    <dgm:cxn modelId="{CE5CAF21-701D-4751-A74E-3AB61AE7E0FC}" type="presParOf" srcId="{E2FDC421-FB6E-483A-AC5B-6408E37B709D}" destId="{E5636CFD-1D89-462B-88EB-3ED988F69C12}" srcOrd="5" destOrd="0" presId="urn:microsoft.com/office/officeart/2018/5/layout/CenteredIconLabelDescriptionList"/>
    <dgm:cxn modelId="{32E7D95D-A56F-4E22-91C0-E5B183303947}" type="presParOf" srcId="{E2FDC421-FB6E-483A-AC5B-6408E37B709D}" destId="{F2999389-DECF-45B3-9843-9C4AA77E481B}" srcOrd="6" destOrd="0" presId="urn:microsoft.com/office/officeart/2018/5/layout/CenteredIconLabelDescriptionList"/>
    <dgm:cxn modelId="{1D2A2503-6EF0-437A-9796-2B5E94460725}" type="presParOf" srcId="{F2999389-DECF-45B3-9843-9C4AA77E481B}" destId="{31BDD7D6-CB31-412D-AFE5-F2390911D975}" srcOrd="0" destOrd="0" presId="urn:microsoft.com/office/officeart/2018/5/layout/CenteredIconLabelDescriptionList"/>
    <dgm:cxn modelId="{F7E616BD-2219-4866-9C47-18D07F8966B0}" type="presParOf" srcId="{F2999389-DECF-45B3-9843-9C4AA77E481B}" destId="{A63F3E8C-B9ED-4988-A1B4-4B503EC37688}" srcOrd="1" destOrd="0" presId="urn:microsoft.com/office/officeart/2018/5/layout/CenteredIconLabelDescriptionList"/>
    <dgm:cxn modelId="{D5003789-CB65-4F2D-8AD2-86835D524FBA}" type="presParOf" srcId="{F2999389-DECF-45B3-9843-9C4AA77E481B}" destId="{0B0063A5-3438-4430-899B-D825D2D53E17}" srcOrd="2" destOrd="0" presId="urn:microsoft.com/office/officeart/2018/5/layout/CenteredIconLabelDescriptionList"/>
    <dgm:cxn modelId="{D78E1930-EDEE-499E-AD5E-63D1D582DD4A}" type="presParOf" srcId="{F2999389-DECF-45B3-9843-9C4AA77E481B}" destId="{C8AA1679-E97A-4695-A6AA-1E9C99164EE9}" srcOrd="3" destOrd="0" presId="urn:microsoft.com/office/officeart/2018/5/layout/CenteredIconLabelDescriptionList"/>
    <dgm:cxn modelId="{2EB0EB83-CD9A-4728-97E2-080A7B1C52EB}" type="presParOf" srcId="{F2999389-DECF-45B3-9843-9C4AA77E481B}" destId="{64C0AE80-AE13-4CF8-9060-B8E86B3A8204}" srcOrd="4" destOrd="0" presId="urn:microsoft.com/office/officeart/2018/5/layout/CenteredIconLabelDescriptionList"/>
    <dgm:cxn modelId="{139E2354-A645-4D4C-B3E1-72EFA6C8152D}" type="presParOf" srcId="{E2FDC421-FB6E-483A-AC5B-6408E37B709D}" destId="{7FBA9C6D-06F8-4770-8040-105A95AF7CDF}" srcOrd="7" destOrd="0" presId="urn:microsoft.com/office/officeart/2018/5/layout/CenteredIconLabelDescriptionList"/>
    <dgm:cxn modelId="{67BBB15D-FB42-436C-9489-1F46240B5C1A}" type="presParOf" srcId="{E2FDC421-FB6E-483A-AC5B-6408E37B709D}" destId="{C2C42BC7-4D5B-42FA-850E-80F2B6C00B6F}" srcOrd="8" destOrd="0" presId="urn:microsoft.com/office/officeart/2018/5/layout/CenteredIconLabelDescriptionList"/>
    <dgm:cxn modelId="{DC4BA81B-9A22-4D87-A4D2-D3518CC49499}" type="presParOf" srcId="{C2C42BC7-4D5B-42FA-850E-80F2B6C00B6F}" destId="{6B00DF62-6CEA-40A1-AA78-BBEF741AD495}" srcOrd="0" destOrd="0" presId="urn:microsoft.com/office/officeart/2018/5/layout/CenteredIconLabelDescriptionList"/>
    <dgm:cxn modelId="{F3596988-D975-467E-9528-3666F6FF9629}" type="presParOf" srcId="{C2C42BC7-4D5B-42FA-850E-80F2B6C00B6F}" destId="{46A2BC91-43D2-47DA-AB37-60759BFA9BB0}" srcOrd="1" destOrd="0" presId="urn:microsoft.com/office/officeart/2018/5/layout/CenteredIconLabelDescriptionList"/>
    <dgm:cxn modelId="{B48AB549-1623-40BB-BA2E-6F2D9F7FC8FE}" type="presParOf" srcId="{C2C42BC7-4D5B-42FA-850E-80F2B6C00B6F}" destId="{C823DB65-035C-46F8-8DC7-38BE50951FF8}" srcOrd="2" destOrd="0" presId="urn:microsoft.com/office/officeart/2018/5/layout/CenteredIconLabelDescriptionList"/>
    <dgm:cxn modelId="{3391EC38-80F8-4738-9E45-995268B3FE1A}" type="presParOf" srcId="{C2C42BC7-4D5B-42FA-850E-80F2B6C00B6F}" destId="{3447EB92-7D51-4763-A6C7-EA32EBEE4196}" srcOrd="3" destOrd="0" presId="urn:microsoft.com/office/officeart/2018/5/layout/CenteredIconLabelDescriptionList"/>
    <dgm:cxn modelId="{7186A940-FB0F-4A05-AEFB-A571EC63C19B}" type="presParOf" srcId="{C2C42BC7-4D5B-42FA-850E-80F2B6C00B6F}" destId="{A8FB814B-3233-405F-9D93-AC8C1EB473CA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C32A10-A43B-4570-AAE1-6D32DD596CCE}">
      <dsp:nvSpPr>
        <dsp:cNvPr id="0" name=""/>
        <dsp:cNvSpPr/>
      </dsp:nvSpPr>
      <dsp:spPr>
        <a:xfrm>
          <a:off x="637529" y="1183957"/>
          <a:ext cx="684386" cy="68438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99FD6C-012A-4960-ADAF-E56B7A3A7AD9}">
      <dsp:nvSpPr>
        <dsp:cNvPr id="0" name=""/>
        <dsp:cNvSpPr/>
      </dsp:nvSpPr>
      <dsp:spPr>
        <a:xfrm>
          <a:off x="2027" y="1951651"/>
          <a:ext cx="1955390" cy="872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de-DE" sz="1400" kern="1200"/>
            <a:t>Intro </a:t>
          </a:r>
        </a:p>
      </dsp:txBody>
      <dsp:txXfrm>
        <a:off x="2027" y="1951651"/>
        <a:ext cx="1955390" cy="872621"/>
      </dsp:txXfrm>
    </dsp:sp>
    <dsp:sp modelId="{F5DDE7ED-623E-45B0-9278-405F5218E36E}">
      <dsp:nvSpPr>
        <dsp:cNvPr id="0" name=""/>
        <dsp:cNvSpPr/>
      </dsp:nvSpPr>
      <dsp:spPr>
        <a:xfrm>
          <a:off x="2027" y="2863021"/>
          <a:ext cx="1955390" cy="25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7A35F8-F15E-4778-ABAB-9CFB823E9AC0}">
      <dsp:nvSpPr>
        <dsp:cNvPr id="0" name=""/>
        <dsp:cNvSpPr/>
      </dsp:nvSpPr>
      <dsp:spPr>
        <a:xfrm>
          <a:off x="2935113" y="1183957"/>
          <a:ext cx="684386" cy="68438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E516C2-7006-4399-8BC8-3097D10413DB}">
      <dsp:nvSpPr>
        <dsp:cNvPr id="0" name=""/>
        <dsp:cNvSpPr/>
      </dsp:nvSpPr>
      <dsp:spPr>
        <a:xfrm>
          <a:off x="2299611" y="1951651"/>
          <a:ext cx="1955390" cy="872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/>
            <a:t>How invoice formats impacting VAT-reporting capabilities</a:t>
          </a:r>
        </a:p>
      </dsp:txBody>
      <dsp:txXfrm>
        <a:off x="2299611" y="1951651"/>
        <a:ext cx="1955390" cy="872621"/>
      </dsp:txXfrm>
    </dsp:sp>
    <dsp:sp modelId="{6148BA57-6496-41D9-B870-6EEF1C7C4B86}">
      <dsp:nvSpPr>
        <dsp:cNvPr id="0" name=""/>
        <dsp:cNvSpPr/>
      </dsp:nvSpPr>
      <dsp:spPr>
        <a:xfrm>
          <a:off x="2299611" y="2863021"/>
          <a:ext cx="1955390" cy="25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DD84A9-7D09-49C7-85D7-A44F5086B6C8}">
      <dsp:nvSpPr>
        <dsp:cNvPr id="0" name=""/>
        <dsp:cNvSpPr/>
      </dsp:nvSpPr>
      <dsp:spPr>
        <a:xfrm>
          <a:off x="5232697" y="1183957"/>
          <a:ext cx="684386" cy="68438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D12173-8D80-4098-BA32-48B8D67C98EB}">
      <dsp:nvSpPr>
        <dsp:cNvPr id="0" name=""/>
        <dsp:cNvSpPr/>
      </dsp:nvSpPr>
      <dsp:spPr>
        <a:xfrm>
          <a:off x="4597195" y="1951651"/>
          <a:ext cx="1955390" cy="872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/>
            <a:t>What challenges do regulatory developments in Germany and beyond bring with them?</a:t>
          </a:r>
        </a:p>
      </dsp:txBody>
      <dsp:txXfrm>
        <a:off x="4597195" y="1951651"/>
        <a:ext cx="1955390" cy="872621"/>
      </dsp:txXfrm>
    </dsp:sp>
    <dsp:sp modelId="{293A1919-FF72-495E-884E-803B467075E4}">
      <dsp:nvSpPr>
        <dsp:cNvPr id="0" name=""/>
        <dsp:cNvSpPr/>
      </dsp:nvSpPr>
      <dsp:spPr>
        <a:xfrm>
          <a:off x="4597195" y="2863021"/>
          <a:ext cx="1955390" cy="25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BDD7D6-CB31-412D-AFE5-F2390911D975}">
      <dsp:nvSpPr>
        <dsp:cNvPr id="0" name=""/>
        <dsp:cNvSpPr/>
      </dsp:nvSpPr>
      <dsp:spPr>
        <a:xfrm>
          <a:off x="7530281" y="1183957"/>
          <a:ext cx="684386" cy="68438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0063A5-3438-4430-899B-D825D2D53E17}">
      <dsp:nvSpPr>
        <dsp:cNvPr id="0" name=""/>
        <dsp:cNvSpPr/>
      </dsp:nvSpPr>
      <dsp:spPr>
        <a:xfrm>
          <a:off x="6894779" y="1951651"/>
          <a:ext cx="1955390" cy="872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/>
            <a:t>How can Vertex support you?</a:t>
          </a:r>
        </a:p>
      </dsp:txBody>
      <dsp:txXfrm>
        <a:off x="6894779" y="1951651"/>
        <a:ext cx="1955390" cy="872621"/>
      </dsp:txXfrm>
    </dsp:sp>
    <dsp:sp modelId="{64C0AE80-AE13-4CF8-9060-B8E86B3A8204}">
      <dsp:nvSpPr>
        <dsp:cNvPr id="0" name=""/>
        <dsp:cNvSpPr/>
      </dsp:nvSpPr>
      <dsp:spPr>
        <a:xfrm>
          <a:off x="6931344" y="2636556"/>
          <a:ext cx="1955390" cy="25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00DF62-6CEA-40A1-AA78-BBEF741AD495}">
      <dsp:nvSpPr>
        <dsp:cNvPr id="0" name=""/>
        <dsp:cNvSpPr/>
      </dsp:nvSpPr>
      <dsp:spPr>
        <a:xfrm>
          <a:off x="9827865" y="1183957"/>
          <a:ext cx="684386" cy="68438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23DB65-035C-46F8-8DC7-38BE50951FF8}">
      <dsp:nvSpPr>
        <dsp:cNvPr id="0" name=""/>
        <dsp:cNvSpPr/>
      </dsp:nvSpPr>
      <dsp:spPr>
        <a:xfrm>
          <a:off x="9192363" y="1951651"/>
          <a:ext cx="1955390" cy="872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/>
            <a:t>What are the advantages of the changed legal framework?</a:t>
          </a:r>
        </a:p>
      </dsp:txBody>
      <dsp:txXfrm>
        <a:off x="9192363" y="1951651"/>
        <a:ext cx="1955390" cy="872621"/>
      </dsp:txXfrm>
    </dsp:sp>
    <dsp:sp modelId="{A8FB814B-3233-405F-9D93-AC8C1EB473CA}">
      <dsp:nvSpPr>
        <dsp:cNvPr id="0" name=""/>
        <dsp:cNvSpPr/>
      </dsp:nvSpPr>
      <dsp:spPr>
        <a:xfrm>
          <a:off x="9192363" y="2863021"/>
          <a:ext cx="1955390" cy="25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5FEF67-4611-4601-A3A8-576CCBEC911C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F74024-671E-4958-8EA4-1D54BB25A9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135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A2D15-A947-952E-4668-2F8F90A8CA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7786CB-5F7D-0DEC-37B6-6CD28B5192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0429EA-A18C-A3C2-F89B-BAFAFC7F7B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A1894-0131-E6BA-3C8F-4500B7D28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F74024-671E-4958-8EA4-1D54BB25A97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445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F74024-671E-4958-8EA4-1D54BB25A97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008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1700" y="569913"/>
            <a:ext cx="4800600" cy="270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C85CF1-CA76-402F-9742-AFDAE7B8178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662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63C282-6196-716E-02C8-6ACF89D44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7FD654-E6BC-D941-2D42-424A798F5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171700" y="569913"/>
            <a:ext cx="4800600" cy="270033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0C13EF-7A38-8FDD-5D4B-1FA4A3FBE3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ertex is building the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lobal Tax Network of the Future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connecting the platforms, systems, and people to get the job done wherever transactions take place, scalable to grow wherever you go.</a:t>
            </a: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th Vertex, you’ll leverage a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d-to-end global tax platform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manage: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tinually updated global tax content for the latest taxability rules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stomer location identification and B2B validation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ne-item taxability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lculation of sales, use, and value added tax including exemptions and cross-border logic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voicing and payment services integrated to your transaction systems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x returns and remittance. 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ailed reporting to help close audits faster and reduce penalties.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data-driven insight to accelerate compliance, and drive business decisions</a:t>
            </a:r>
            <a:endParaRPr lang="en-US" sz="180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endParaRPr lang="en-US"/>
          </a:p>
          <a:p>
            <a:r>
              <a:rPr lang="en-US" b="1"/>
              <a:t>PRODUCTS</a:t>
            </a:r>
          </a:p>
          <a:p>
            <a:r>
              <a:rPr lang="en-US" b="1"/>
              <a:t>Tax Content: 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Communications (Telco)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Leasing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Medic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Discretionary Fee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Business &amp; Occupancy &amp; </a:t>
            </a: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Environmen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Location Identification &amp; </a:t>
            </a:r>
            <a:r>
              <a:rPr lang="en-US" sz="1200" b="1">
                <a:solidFill>
                  <a:srgbClr val="0070C0"/>
                </a:solidFill>
                <a:latin typeface="Calibri" panose="020F0502020204030204"/>
              </a:rPr>
              <a:t>Registration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ID Valida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 Validator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latin typeface="Calibri" panose="020F0502020204030204"/>
              </a:rPr>
              <a:t>Address Cleaning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t/Long Loc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Liability Determination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Vertex SMB online sellers </a:t>
            </a: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(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Non-US based)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Vertex for Marketplaces 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Vertex for Ecommer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Intra-regional, </a:t>
            </a:r>
            <a:r>
              <a:rPr lang="en-US" sz="1200" b="1">
                <a:solidFill>
                  <a:srgbClr val="0070C0"/>
                </a:solidFill>
                <a:latin typeface="Calibri" panose="020F0502020204030204"/>
              </a:rPr>
              <a:t>I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nter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-regional, &amp; Cross-Border Calculatio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Accelerators for SAP &amp; Oracl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Certificate Center (dropship suppor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Invoicing &amp; Pa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Invoice I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Tax Returns &amp; Remittanc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E-Invoicing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VAT Complianc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SUT Complianc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Express Return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Advantage Plu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Assur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rgbClr val="0070C0"/>
                </a:solidFill>
                <a:latin typeface="Calibri" panose="020F0502020204030204"/>
              </a:rPr>
              <a:t>System Reports, Analytics &amp; Document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Certificate Center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Indirect Tax Intelligenc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Roadmap: Tax Categor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Consistent Structured Tax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>
                <a:solidFill>
                  <a:srgbClr val="343433"/>
                </a:solidFill>
                <a:latin typeface="Calibri" panose="020F0502020204030204"/>
              </a:rPr>
              <a:t>The Vertex Portfoli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>
              <a:solidFill>
                <a:srgbClr val="343433"/>
              </a:solidFill>
              <a:latin typeface="Calibri" panose="020F0502020204030204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728C70-A8FA-C885-9F43-340D85287B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B5B806-7E36-4F06-B163-390E657288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656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F74024-671E-4958-8EA4-1D54BB25A97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435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AA9944-D05E-2D5B-143E-1C1DDF5B7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FB801A-F439-CD0D-F675-7E3E3FEA23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4BB159-83C9-C9CD-C496-C9A3C1A8D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239EAD-104D-6154-5C03-D05321CC3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F74024-671E-4958-8EA4-1D54BB25A97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57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5" Type="http://schemas.openxmlformats.org/officeDocument/2006/relationships/image" Target="../media/image25.png"/><Relationship Id="rId4" Type="http://schemas.openxmlformats.org/officeDocument/2006/relationships/image" Target="../media/image2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.sv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13" Type="http://schemas.openxmlformats.org/officeDocument/2006/relationships/image" Target="../media/image37.png"/><Relationship Id="rId18" Type="http://schemas.openxmlformats.org/officeDocument/2006/relationships/image" Target="../media/image102.svg"/><Relationship Id="rId26" Type="http://schemas.openxmlformats.org/officeDocument/2006/relationships/image" Target="../media/image106.svg"/><Relationship Id="rId3" Type="http://schemas.openxmlformats.org/officeDocument/2006/relationships/image" Target="../media/image2.svg"/><Relationship Id="rId21" Type="http://schemas.openxmlformats.org/officeDocument/2006/relationships/image" Target="../media/image45.png"/><Relationship Id="rId7" Type="http://schemas.openxmlformats.org/officeDocument/2006/relationships/image" Target="../media/image97.svg"/><Relationship Id="rId12" Type="http://schemas.openxmlformats.org/officeDocument/2006/relationships/image" Target="../media/image99.sv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image" Target="../media/image1.png"/><Relationship Id="rId16" Type="http://schemas.openxmlformats.org/officeDocument/2006/relationships/image" Target="../media/image101.svg"/><Relationship Id="rId20" Type="http://schemas.openxmlformats.org/officeDocument/2006/relationships/image" Target="../media/image103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105.svg"/><Relationship Id="rId5" Type="http://schemas.openxmlformats.org/officeDocument/2006/relationships/image" Target="../media/image96.sv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107.svg"/><Relationship Id="rId10" Type="http://schemas.openxmlformats.org/officeDocument/2006/relationships/image" Target="../media/image98.sv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100.svg"/><Relationship Id="rId22" Type="http://schemas.openxmlformats.org/officeDocument/2006/relationships/image" Target="../media/image104.svg"/><Relationship Id="rId27" Type="http://schemas.openxmlformats.org/officeDocument/2006/relationships/image" Target="../media/image51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4.svg"/><Relationship Id="rId4" Type="http://schemas.openxmlformats.org/officeDocument/2006/relationships/image" Target="../media/image53.png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26" Type="http://schemas.openxmlformats.org/officeDocument/2006/relationships/image" Target="../media/image76.png"/><Relationship Id="rId3" Type="http://schemas.openxmlformats.org/officeDocument/2006/relationships/image" Target="../media/image2.svg"/><Relationship Id="rId21" Type="http://schemas.openxmlformats.org/officeDocument/2006/relationships/image" Target="../media/image71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image" Target="../media/image1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6.png"/><Relationship Id="rId11" Type="http://schemas.openxmlformats.org/officeDocument/2006/relationships/image" Target="../media/image61.jpeg"/><Relationship Id="rId24" Type="http://schemas.openxmlformats.org/officeDocument/2006/relationships/image" Target="../media/image74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9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10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5.png"/><Relationship Id="rId4" Type="http://schemas.openxmlformats.org/officeDocument/2006/relationships/image" Target="../media/image2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0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18" Type="http://schemas.openxmlformats.org/officeDocument/2006/relationships/image" Target="../media/image42.svg"/><Relationship Id="rId26" Type="http://schemas.openxmlformats.org/officeDocument/2006/relationships/image" Target="../media/image50.svg"/><Relationship Id="rId3" Type="http://schemas.openxmlformats.org/officeDocument/2006/relationships/image" Target="../media/image20.svg"/><Relationship Id="rId21" Type="http://schemas.openxmlformats.org/officeDocument/2006/relationships/image" Target="../media/image45.png"/><Relationship Id="rId7" Type="http://schemas.openxmlformats.org/officeDocument/2006/relationships/image" Target="../media/image31.svg"/><Relationship Id="rId12" Type="http://schemas.openxmlformats.org/officeDocument/2006/relationships/image" Target="../media/image36.sv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image" Target="../media/image1.png"/><Relationship Id="rId16" Type="http://schemas.openxmlformats.org/officeDocument/2006/relationships/image" Target="../media/image40.svg"/><Relationship Id="rId20" Type="http://schemas.openxmlformats.org/officeDocument/2006/relationships/image" Target="../media/image44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svg"/><Relationship Id="rId5" Type="http://schemas.openxmlformats.org/officeDocument/2006/relationships/image" Target="../media/image29.sv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svg"/><Relationship Id="rId10" Type="http://schemas.openxmlformats.org/officeDocument/2006/relationships/image" Target="../media/image34.sv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svg"/><Relationship Id="rId22" Type="http://schemas.openxmlformats.org/officeDocument/2006/relationships/image" Target="../media/image46.svg"/><Relationship Id="rId27" Type="http://schemas.openxmlformats.org/officeDocument/2006/relationships/image" Target="../media/image5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53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26" Type="http://schemas.openxmlformats.org/officeDocument/2006/relationships/image" Target="../media/image76.png"/><Relationship Id="rId3" Type="http://schemas.openxmlformats.org/officeDocument/2006/relationships/image" Target="../media/image20.svg"/><Relationship Id="rId21" Type="http://schemas.openxmlformats.org/officeDocument/2006/relationships/image" Target="../media/image71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image" Target="../media/image1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6.png"/><Relationship Id="rId11" Type="http://schemas.openxmlformats.org/officeDocument/2006/relationships/image" Target="../media/image61.jpeg"/><Relationship Id="rId24" Type="http://schemas.openxmlformats.org/officeDocument/2006/relationships/image" Target="../media/image74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32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25.png"/><Relationship Id="rId4" Type="http://schemas.openxmlformats.org/officeDocument/2006/relationships/image" Target="../media/image2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.sv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7.png"/><Relationship Id="rId18" Type="http://schemas.openxmlformats.org/officeDocument/2006/relationships/image" Target="../media/image92.png"/><Relationship Id="rId3" Type="http://schemas.openxmlformats.org/officeDocument/2006/relationships/image" Target="../media/image2.svg"/><Relationship Id="rId7" Type="http://schemas.openxmlformats.org/officeDocument/2006/relationships/image" Target="../media/image83.svg"/><Relationship Id="rId12" Type="http://schemas.openxmlformats.org/officeDocument/2006/relationships/image" Target="../media/image86.png"/><Relationship Id="rId17" Type="http://schemas.openxmlformats.org/officeDocument/2006/relationships/image" Target="../media/image91.png"/><Relationship Id="rId2" Type="http://schemas.openxmlformats.org/officeDocument/2006/relationships/image" Target="../media/image1.png"/><Relationship Id="rId16" Type="http://schemas.openxmlformats.org/officeDocument/2006/relationships/image" Target="../media/image9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2.png"/><Relationship Id="rId11" Type="http://schemas.openxmlformats.org/officeDocument/2006/relationships/image" Target="../media/image85.png"/><Relationship Id="rId5" Type="http://schemas.openxmlformats.org/officeDocument/2006/relationships/image" Target="../media/image81.svg"/><Relationship Id="rId15" Type="http://schemas.openxmlformats.org/officeDocument/2006/relationships/image" Target="../media/image89.png"/><Relationship Id="rId10" Type="http://schemas.openxmlformats.org/officeDocument/2006/relationships/image" Target="../media/image84.png"/><Relationship Id="rId19" Type="http://schemas.openxmlformats.org/officeDocument/2006/relationships/image" Target="../media/image93.png"/><Relationship Id="rId4" Type="http://schemas.openxmlformats.org/officeDocument/2006/relationships/image" Target="../media/image80.png"/><Relationship Id="rId9" Type="http://schemas.openxmlformats.org/officeDocument/2006/relationships/image" Target="../media/image6.svg"/><Relationship Id="rId14" Type="http://schemas.openxmlformats.org/officeDocument/2006/relationships/image" Target="../media/image88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4.svg"/><Relationship Id="rId4" Type="http://schemas.openxmlformats.org/officeDocument/2006/relationships/image" Target="../media/image53.pn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26" Type="http://schemas.openxmlformats.org/officeDocument/2006/relationships/image" Target="../media/image76.png"/><Relationship Id="rId3" Type="http://schemas.openxmlformats.org/officeDocument/2006/relationships/image" Target="../media/image2.svg"/><Relationship Id="rId21" Type="http://schemas.openxmlformats.org/officeDocument/2006/relationships/image" Target="../media/image71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image" Target="../media/image1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6.png"/><Relationship Id="rId11" Type="http://schemas.openxmlformats.org/officeDocument/2006/relationships/image" Target="../media/image61.jpeg"/><Relationship Id="rId24" Type="http://schemas.openxmlformats.org/officeDocument/2006/relationships/image" Target="../media/image74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9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1" y="4917"/>
            <a:ext cx="7081519" cy="685308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BC61742-86B8-F346-9444-531C23E3AA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89162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3D5274-C6B6-CD4E-B11C-AB1268E583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2088727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" y="1"/>
            <a:ext cx="12179296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79FC6-F3A8-134B-BF24-E167D09194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209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665D7-FDAB-4008-A3D8-11FCD1F08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3CDB8-0693-4364-BFA2-2C1083259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7E6389-7A21-4526-AEAD-AFA1E577C6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95246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C6978771-152E-4BCE-AC99-D9115D77B1F3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F56B896-8B47-406D-BD5B-BDF0E20854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FFAC594-D115-5648-B252-640CDF9FC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093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0D20D-9478-4A5A-83C3-E26F5E1FF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5156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E3562-3A44-4322-B20F-5D9E96C20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85900"/>
            <a:ext cx="5157787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DAC937-554C-4EBA-9E0F-06E897FA7D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910862"/>
            <a:ext cx="5157787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70D055-BC7A-4B14-B2B7-120E97FF72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9212" y="1485900"/>
            <a:ext cx="5183188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A130D9-D09B-4649-BE44-45F04723F3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2" y="1910862"/>
            <a:ext cx="5183188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639FEBEA-CADE-4AE0-AF86-4D8332EE551F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7CD4E9A-4F2F-40A4-B786-9121C3A7D0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6DCF484-7B1D-E24C-A484-801A0D601A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5459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38001-05D4-4866-88EA-6E19C4928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lIns="0" tIns="0" rIns="0" bIns="0"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52A40-2194-46D5-BDAF-533B1A317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72895"/>
            <a:ext cx="6399212" cy="421830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EFF356-43E6-4906-AACD-7CF52A9E3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298C5CF9-6F66-479B-ADBD-F083D1AAC9FC}"/>
              </a:ext>
            </a:extLst>
          </p:cNvPr>
          <p:cNvSpPr/>
          <p:nvPr userDrawn="1"/>
        </p:nvSpPr>
        <p:spPr>
          <a:xfrm>
            <a:off x="4808011" y="735806"/>
            <a:ext cx="109003" cy="53863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79E8E9-2E84-4144-80F9-BD627EB36C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5C06ED-2551-E64A-B92B-7C85FF541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3543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83DC5C4-FE6F-5A46-8F14-E4EDB5FA4A7F}"/>
              </a:ext>
            </a:extLst>
          </p:cNvPr>
          <p:cNvSpPr/>
          <p:nvPr userDrawn="1"/>
        </p:nvSpPr>
        <p:spPr>
          <a:xfrm>
            <a:off x="0" y="0"/>
            <a:ext cx="49131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D4532-AAA3-41B9-8A8E-F43DECA63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B23307-4B55-4681-8D36-96C79C8E73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62100"/>
            <a:ext cx="6172200" cy="42989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9C1076-86E6-4DE1-9E63-27EB18EB40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F128DC-831E-45EA-BE33-CCEE7C767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026AB6-A899-5D4E-8803-A996797B69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909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BCAEA-C486-40AA-8D4A-8423F214F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D8CDF-E4F6-42ED-BA0C-E47B35166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10972799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981A2D-ECA3-4C1B-BFE9-C5BB4E0FA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095CDE1-6935-A541-93FC-AEE74EA932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7831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A64BDB-32B2-49DA-860B-26D5DC13F17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067800" y="1562100"/>
            <a:ext cx="2514600" cy="4229100"/>
          </a:xfrm>
        </p:spPr>
        <p:txBody>
          <a:bodyPr vert="eaVert"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4D75D-2FCB-44C0-A185-865DF040E5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8115300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2CDD81-7FCD-406B-A32E-A81CD6B999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6882BC-614B-3049-A1D0-E7D1B10E8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1855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tx1"/>
                </a:solidFill>
              </a:rPr>
              <a:t>Q&amp;A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998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687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tx1"/>
                </a:solidFill>
              </a:rPr>
              <a:t>Thank You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FE60A725-5089-0642-9952-7CEF8B931E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2444468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or Headline and Two Column Cop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143E2B8-37C4-614D-9D0F-C3C668BE68AD}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406963-3576-4540-97AA-8C7ED657E0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8929"/>
            <a:ext cx="9144000" cy="91489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lide for Headline and Two Column Copy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90355D5-A614-B14F-ABE4-80BE530BFC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1371600"/>
            <a:ext cx="4878371" cy="3750733"/>
          </a:xfrm>
        </p:spPr>
        <p:txBody>
          <a:bodyPr/>
          <a:lstStyle>
            <a:lvl1pPr marL="344488" indent="-344488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C330028-5AD1-0B43-9B4B-937AB3D3B1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2623" y="1382598"/>
            <a:ext cx="4878371" cy="3750733"/>
          </a:xfrm>
        </p:spPr>
        <p:txBody>
          <a:bodyPr/>
          <a:lstStyle>
            <a:lvl1pPr marL="344488" indent="-344488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E3F5F60-7954-B94C-8CA5-0204FFB9DC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53186" y="6488170"/>
            <a:ext cx="478456" cy="35273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AD49DDB3-B568-AE4C-9294-41C1AF3F5C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87907556-90CF-F34F-A131-A4C615D61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252" y="6483147"/>
            <a:ext cx="4526793" cy="365125"/>
          </a:xfrm>
        </p:spPr>
        <p:txBody>
          <a:bodyPr/>
          <a:lstStyle/>
          <a:p>
            <a:pPr>
              <a:defRPr/>
            </a:pPr>
            <a:r>
              <a:rPr lang="en-US"/>
              <a:t>Copyright © 2021 Vertex, Inc. All rights reserved. Proprietary and confidential.</a:t>
            </a:r>
            <a:endParaRPr lang="en-US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4727B8-6C22-0E4B-86AD-F7ADAD6E4A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48053" y="6348210"/>
            <a:ext cx="1663815" cy="55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0135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1] Flexible Conten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E0D276-A4F9-4AFF-9A9B-AF757E516A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F2D9DA-979B-4554-8B0E-2953EB5C6B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29A0870-F668-42D4-AA75-04A9CCCD5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551194"/>
            <a:ext cx="10983092" cy="598158"/>
          </a:xfrm>
        </p:spPr>
        <p:txBody>
          <a:bodyPr lIns="45720" tIns="45720" rIns="45720" bIns="45720" anchor="t" anchorCtr="0">
            <a:noAutofit/>
          </a:bodyPr>
          <a:lstStyle>
            <a:lvl1pPr>
              <a:lnSpc>
                <a:spcPct val="90000"/>
              </a:lnSpc>
              <a:defRPr sz="4000" b="1" spc="-67">
                <a:solidFill>
                  <a:schemeClr val="tx2"/>
                </a:solidFill>
              </a:defRPr>
            </a:lvl1pPr>
          </a:lstStyle>
          <a:p>
            <a:r>
              <a:rPr lang="en-US"/>
              <a:t>Add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0ACB74C-002E-4095-8FAD-67B89897FC5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2153" y="1849121"/>
            <a:ext cx="11002948" cy="441426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D1B233-1EC2-48FC-A140-E57347FD82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1352" y="286654"/>
            <a:ext cx="1042660" cy="1035709"/>
            <a:chOff x="495299" y="1071881"/>
            <a:chExt cx="1428750" cy="141922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11F278C-BA66-433E-98D5-F2763C306BBF}"/>
                </a:ext>
              </a:extLst>
            </p:cNvPr>
            <p:cNvSpPr/>
            <p:nvPr userDrawn="1"/>
          </p:nvSpPr>
          <p:spPr>
            <a:xfrm>
              <a:off x="495299" y="1071881"/>
              <a:ext cx="180975" cy="1419225"/>
            </a:xfrm>
            <a:custGeom>
              <a:avLst/>
              <a:gdLst>
                <a:gd name="connsiteX0" fmla="*/ 0 w 180975"/>
                <a:gd name="connsiteY0" fmla="*/ 1427321 h 1419225"/>
                <a:gd name="connsiteX1" fmla="*/ 0 w 180975"/>
                <a:gd name="connsiteY1" fmla="*/ 186785 h 1419225"/>
                <a:gd name="connsiteX2" fmla="*/ 186785 w 180975"/>
                <a:gd name="connsiteY2" fmla="*/ 0 h 1419225"/>
                <a:gd name="connsiteX3" fmla="*/ 186785 w 180975"/>
                <a:gd name="connsiteY3" fmla="*/ 1240536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419225">
                  <a:moveTo>
                    <a:pt x="0" y="1427321"/>
                  </a:moveTo>
                  <a:lnTo>
                    <a:pt x="0" y="186785"/>
                  </a:lnTo>
                  <a:lnTo>
                    <a:pt x="186785" y="0"/>
                  </a:lnTo>
                  <a:lnTo>
                    <a:pt x="186785" y="1240536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6A91493-4B36-4A7C-8527-A6B3EB2BD6F7}"/>
                </a:ext>
              </a:extLst>
            </p:cNvPr>
            <p:cNvSpPr/>
            <p:nvPr userDrawn="1"/>
          </p:nvSpPr>
          <p:spPr>
            <a:xfrm>
              <a:off x="495299" y="1071881"/>
              <a:ext cx="1428750" cy="180975"/>
            </a:xfrm>
            <a:custGeom>
              <a:avLst/>
              <a:gdLst>
                <a:gd name="connsiteX0" fmla="*/ 1436465 w 1428750"/>
                <a:gd name="connsiteY0" fmla="*/ 0 h 180975"/>
                <a:gd name="connsiteX1" fmla="*/ 186785 w 1428750"/>
                <a:gd name="connsiteY1" fmla="*/ 0 h 180975"/>
                <a:gd name="connsiteX2" fmla="*/ 0 w 1428750"/>
                <a:gd name="connsiteY2" fmla="*/ 186785 h 180975"/>
                <a:gd name="connsiteX3" fmla="*/ 1249680 w 1428750"/>
                <a:gd name="connsiteY3" fmla="*/ 18678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80975">
                  <a:moveTo>
                    <a:pt x="1436465" y="0"/>
                  </a:moveTo>
                  <a:lnTo>
                    <a:pt x="186785" y="0"/>
                  </a:lnTo>
                  <a:lnTo>
                    <a:pt x="0" y="186785"/>
                  </a:lnTo>
                  <a:lnTo>
                    <a:pt x="1249680" y="18678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664575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DB4306-E29A-3140-8CE1-834AAC1FDD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496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1592579" y="5462584"/>
            <a:ext cx="1741172" cy="858842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11" name="Text Placeholder 36"/>
          <p:cNvSpPr>
            <a:spLocks noGrp="1"/>
          </p:cNvSpPr>
          <p:nvPr>
            <p:ph type="body" sz="quarter" idx="16" hasCustomPrompt="1"/>
          </p:nvPr>
        </p:nvSpPr>
        <p:spPr>
          <a:xfrm>
            <a:off x="1592580" y="5191915"/>
            <a:ext cx="1741172" cy="270669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0</a:t>
            </a:r>
            <a:r>
              <a:rPr lang="uk-UA"/>
              <a:t>4</a:t>
            </a:r>
            <a:endParaRPr lang="ru-RU"/>
          </a:p>
        </p:txBody>
      </p:sp>
      <p:sp>
        <p:nvSpPr>
          <p:cNvPr id="26" name="Text Placehold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1141729" y="4027484"/>
            <a:ext cx="1741172" cy="858842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27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1141730" y="3756815"/>
            <a:ext cx="1741172" cy="270669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03</a:t>
            </a:r>
            <a:endParaRPr lang="ru-RU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141729" y="2586034"/>
            <a:ext cx="1741172" cy="858842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20" hasCustomPrompt="1"/>
          </p:nvPr>
        </p:nvSpPr>
        <p:spPr>
          <a:xfrm>
            <a:off x="1141730" y="2315365"/>
            <a:ext cx="1741172" cy="270669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</a:t>
            </a:r>
            <a:r>
              <a:rPr lang="uk-UA"/>
              <a:t>02</a:t>
            </a:r>
            <a:endParaRPr lang="ru-RU"/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9115598" y="1129643"/>
            <a:ext cx="1741172" cy="858842"/>
          </a:xfr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22" hasCustomPrompt="1"/>
          </p:nvPr>
        </p:nvSpPr>
        <p:spPr>
          <a:xfrm>
            <a:off x="9115599" y="858974"/>
            <a:ext cx="1741172" cy="270669"/>
          </a:xfrm>
        </p:spPr>
        <p:txBody>
          <a:bodyPr>
            <a:noAutofit/>
          </a:bodyPr>
          <a:lstStyle>
            <a:lvl1pPr marL="0" indent="0" algn="r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0</a:t>
            </a:r>
            <a:r>
              <a:rPr lang="uk-UA"/>
              <a:t>5</a:t>
            </a:r>
            <a:endParaRPr lang="ru-RU"/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23" hasCustomPrompt="1"/>
          </p:nvPr>
        </p:nvSpPr>
        <p:spPr>
          <a:xfrm>
            <a:off x="9321338" y="3015455"/>
            <a:ext cx="1741172" cy="858842"/>
          </a:xfr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33" name="Text Placeholder 36"/>
          <p:cNvSpPr>
            <a:spLocks noGrp="1"/>
          </p:cNvSpPr>
          <p:nvPr>
            <p:ph type="body" sz="quarter" idx="24" hasCustomPrompt="1"/>
          </p:nvPr>
        </p:nvSpPr>
        <p:spPr>
          <a:xfrm>
            <a:off x="9321339" y="2744786"/>
            <a:ext cx="1741172" cy="270669"/>
          </a:xfrm>
        </p:spPr>
        <p:txBody>
          <a:bodyPr>
            <a:noAutofit/>
          </a:bodyPr>
          <a:lstStyle>
            <a:lvl1pPr marL="0" indent="0" algn="r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0</a:t>
            </a:r>
            <a:r>
              <a:rPr lang="uk-UA"/>
              <a:t>6</a:t>
            </a:r>
            <a:endParaRPr lang="ru-RU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25" hasCustomPrompt="1"/>
          </p:nvPr>
        </p:nvSpPr>
        <p:spPr>
          <a:xfrm>
            <a:off x="9115598" y="4901267"/>
            <a:ext cx="1741172" cy="858842"/>
          </a:xfr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35" name="Text Placeholder 36"/>
          <p:cNvSpPr>
            <a:spLocks noGrp="1"/>
          </p:cNvSpPr>
          <p:nvPr>
            <p:ph type="body" sz="quarter" idx="26" hasCustomPrompt="1"/>
          </p:nvPr>
        </p:nvSpPr>
        <p:spPr>
          <a:xfrm>
            <a:off x="9115599" y="4630598"/>
            <a:ext cx="1741172" cy="270669"/>
          </a:xfrm>
        </p:spPr>
        <p:txBody>
          <a:bodyPr>
            <a:noAutofit/>
          </a:bodyPr>
          <a:lstStyle>
            <a:lvl1pPr marL="0" indent="0" algn="r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0</a:t>
            </a:r>
            <a:r>
              <a:rPr lang="uk-UA"/>
              <a:t>7</a:t>
            </a:r>
            <a:endParaRPr lang="ru-RU"/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7" hasCustomPrompt="1"/>
          </p:nvPr>
        </p:nvSpPr>
        <p:spPr>
          <a:xfrm>
            <a:off x="1592579" y="1129643"/>
            <a:ext cx="1741172" cy="858842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r adipiscing elit, sed do eiusmod tempor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28" hasCustomPrompt="1"/>
          </p:nvPr>
        </p:nvSpPr>
        <p:spPr>
          <a:xfrm>
            <a:off x="1592580" y="858974"/>
            <a:ext cx="1741172" cy="270669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INFODATA </a:t>
            </a:r>
            <a:r>
              <a:rPr lang="uk-UA"/>
              <a:t>01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7195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- Q&amp;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tx1"/>
                </a:solidFill>
              </a:rPr>
              <a:t>Q&amp;A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65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3341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08AC1DDE-D431-1D63-C76C-4BFDD796ED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50" y="8834"/>
            <a:ext cx="4144144" cy="332399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0000"/>
                </a:solidFill>
              </a:rPr>
              <a:t>DRAFT – still under review</a:t>
            </a:r>
          </a:p>
        </p:txBody>
      </p:sp>
    </p:spTree>
    <p:extLst>
      <p:ext uri="{BB962C8B-B14F-4D97-AF65-F5344CB8AC3E}">
        <p14:creationId xmlns:p14="http://schemas.microsoft.com/office/powerpoint/2010/main" val="8420062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- Thank You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687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tx1"/>
                </a:solidFill>
              </a:rPr>
              <a:t>Thank You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FE60A725-5089-0642-9952-7CEF8B931E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1354832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1" y="4917"/>
            <a:ext cx="7081519" cy="685308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BC61742-86B8-F346-9444-531C23E3AA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5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3D5274-C6B6-CD4E-B11C-AB1268E583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86501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0" y="2458"/>
            <a:ext cx="7081519" cy="6853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DCC9C26-A55E-5444-8645-28FB5C7E1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4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42CF1C5-8EDB-1643-BF99-9784BB315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1885166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8843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D6EAEDD7-7368-FE43-880A-74703893A7BB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9BC134-962A-A145-84E3-69E6A7767F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64294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B3C16569-087E-F141-B443-C074BE0E3BF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235D8C6-52B4-754E-987F-C0BDD7F4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68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8EB599-FF9F-434A-A786-176C54F16097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289D8E4-F7B7-7640-B323-05091B0BC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01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4">
            <a:extLst>
              <a:ext uri="{FF2B5EF4-FFF2-40B4-BE49-F238E27FC236}">
                <a16:creationId xmlns:a16="http://schemas.microsoft.com/office/drawing/2014/main" id="{35B4658E-A6EB-4BCE-B278-BA7251A9685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513FAA4-8204-470B-B1C1-1180C641F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638ED00A-687D-D447-8DC1-1867AEAF4739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7DE761-B4B8-7246-951F-51A4506594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011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FCF12-2F2E-4661-8E8D-7D8BA19EB6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>
                <a:solidFill>
                  <a:srgbClr val="00609C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9E71735-F065-4DE2-A648-07679A8D4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18ED3E9C-3476-B942-9568-53BDB4D2118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1FB6F1-339B-CB45-9BA2-C1B3E592F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05008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1584E716-F7AA-4578-8F00-3394E8AE48DD}"/>
              </a:ext>
            </a:extLst>
          </p:cNvPr>
          <p:cNvSpPr/>
          <p:nvPr userDrawn="1"/>
        </p:nvSpPr>
        <p:spPr>
          <a:xfrm>
            <a:off x="609600" y="2377791"/>
            <a:ext cx="109003" cy="260730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2258FB2-39F7-465A-A088-B6E461A3F6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69299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0846B96-0154-4114-AFAF-9BBF0FCAD5C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769299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F1B30A0B-EA3F-4B6B-909B-2629F9764B0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052713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74CD4E2-B2BF-4AB8-8F9D-8FD77CA3170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052713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8629EAB8-CBF3-411C-B84F-79A4BB16668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335845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6D1ADCA-9D66-48BD-95E7-01BA582C313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335845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518226A-CA13-4867-A8F3-EBA00B0628B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052431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81FFB85E-6C1B-413E-9C66-B01BE74E5B4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6769299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9849030-B82B-4519-B35A-7F3935B0C637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335563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224BE1A4-50E0-49D4-9CAF-95B9E10F29E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488424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3D3334C-E082-4416-8DF1-1203EB9EE35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488424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54FC8659-D240-4A26-9CB1-7FC8BAF42D26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488424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4238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Icon U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251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M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urpose, Mission and 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A5B832-27C1-0A4A-99F9-5B9ABE38A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3798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6F6B25-4B2C-B94E-8911-9A1FD2F5F0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0299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9F7F46-BDE9-C340-A871-1618B19D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800" y="1600200"/>
            <a:ext cx="3048000" cy="3436047"/>
          </a:xfrm>
          <a:prstGeom prst="roundRect">
            <a:avLst>
              <a:gd name="adj" fmla="val 8631"/>
            </a:avLst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FA691F0-E837-5741-9629-FF013C922851}"/>
              </a:ext>
            </a:extLst>
          </p:cNvPr>
          <p:cNvSpPr/>
          <p:nvPr userDrawn="1"/>
        </p:nvSpPr>
        <p:spPr>
          <a:xfrm>
            <a:off x="8204131" y="4648200"/>
            <a:ext cx="2675618" cy="1004530"/>
          </a:xfrm>
          <a:prstGeom prst="roundRect">
            <a:avLst/>
          </a:prstGeom>
          <a:solidFill>
            <a:srgbClr val="00933C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Vision</a:t>
            </a:r>
          </a:p>
          <a:p>
            <a:r>
              <a:rPr lang="en-US" sz="1200">
                <a:solidFill>
                  <a:schemeClr val="bg1"/>
                </a:solidFill>
              </a:rPr>
              <a:t>We will accelerate global commerce, one transaction at a time.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9492FBA-5B9B-2E4F-BB59-9C6A172025E7}"/>
              </a:ext>
            </a:extLst>
          </p:cNvPr>
          <p:cNvSpPr/>
          <p:nvPr userDrawn="1"/>
        </p:nvSpPr>
        <p:spPr>
          <a:xfrm>
            <a:off x="4723802" y="4648200"/>
            <a:ext cx="2675618" cy="100453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Mission</a:t>
            </a:r>
          </a:p>
          <a:p>
            <a:r>
              <a:rPr lang="en-US" sz="1200">
                <a:solidFill>
                  <a:schemeClr val="bg1"/>
                </a:solidFill>
              </a:rPr>
              <a:t>Empower businesses to transact, comply and grow with confidence.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C8EB1EA8-A962-794C-934B-DF1C16274E9E}"/>
              </a:ext>
            </a:extLst>
          </p:cNvPr>
          <p:cNvSpPr/>
          <p:nvPr userDrawn="1"/>
        </p:nvSpPr>
        <p:spPr>
          <a:xfrm>
            <a:off x="1243472" y="4648200"/>
            <a:ext cx="2675618" cy="1004530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Purpose</a:t>
            </a:r>
          </a:p>
          <a:p>
            <a:r>
              <a:rPr lang="en-US" sz="1200">
                <a:solidFill>
                  <a:schemeClr val="bg1"/>
                </a:solidFill>
              </a:rPr>
              <a:t>Build trusted relationships at work, 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in business and in our communities.</a:t>
            </a:r>
          </a:p>
        </p:txBody>
      </p:sp>
    </p:spTree>
    <p:extLst>
      <p:ext uri="{BB962C8B-B14F-4D97-AF65-F5344CB8AC3E}">
        <p14:creationId xmlns:p14="http://schemas.microsoft.com/office/powerpoint/2010/main" val="17050481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sted Name in Tax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object 2">
            <a:extLst>
              <a:ext uri="{FF2B5EF4-FFF2-40B4-BE49-F238E27FC236}">
                <a16:creationId xmlns:a16="http://schemas.microsoft.com/office/drawing/2014/main" id="{DA05C91D-B761-9F47-BB1B-5B79171CE6B7}"/>
              </a:ext>
            </a:extLst>
          </p:cNvPr>
          <p:cNvSpPr/>
          <p:nvPr userDrawn="1"/>
        </p:nvSpPr>
        <p:spPr>
          <a:xfrm>
            <a:off x="3124200" y="2611223"/>
            <a:ext cx="45719" cy="1143000"/>
          </a:xfrm>
          <a:custGeom>
            <a:avLst/>
            <a:gdLst/>
            <a:ahLst/>
            <a:cxnLst/>
            <a:rect l="l" t="t" r="r" b="b"/>
            <a:pathLst>
              <a:path h="5299709">
                <a:moveTo>
                  <a:pt x="0" y="0"/>
                </a:moveTo>
                <a:lnTo>
                  <a:pt x="0" y="5299367"/>
                </a:lnTo>
              </a:path>
            </a:pathLst>
          </a:custGeom>
          <a:ln w="12700">
            <a:solidFill>
              <a:srgbClr val="BCDEFF"/>
            </a:solidFill>
            <a:prstDash val="solid"/>
          </a:ln>
        </p:spPr>
        <p:txBody>
          <a:bodyPr wrap="square" lIns="0" tIns="0" rIns="0" bIns="0" rtlCol="0"/>
          <a:lstStyle/>
          <a:p>
            <a:endParaRPr>
              <a:latin typeface="+mj-lt"/>
            </a:endParaRPr>
          </a:p>
        </p:txBody>
      </p:sp>
      <p:sp>
        <p:nvSpPr>
          <p:cNvPr id="24" name="object 5">
            <a:extLst>
              <a:ext uri="{FF2B5EF4-FFF2-40B4-BE49-F238E27FC236}">
                <a16:creationId xmlns:a16="http://schemas.microsoft.com/office/drawing/2014/main" id="{5C09CB55-67F6-F641-84C9-F257215DF235}"/>
              </a:ext>
            </a:extLst>
          </p:cNvPr>
          <p:cNvSpPr txBox="1"/>
          <p:nvPr userDrawn="1"/>
        </p:nvSpPr>
        <p:spPr>
          <a:xfrm>
            <a:off x="924203" y="2711323"/>
            <a:ext cx="159067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4</a:t>
            </a:r>
            <a:r>
              <a:rPr sz="4000" b="1" spc="-15">
                <a:solidFill>
                  <a:srgbClr val="003970"/>
                </a:solidFill>
                <a:latin typeface="+mj-lt"/>
                <a:cs typeface="Arial"/>
              </a:rPr>
              <a:t>,</a:t>
            </a: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000+</a:t>
            </a:r>
            <a:endParaRPr sz="4000" b="1">
              <a:latin typeface="+mj-lt"/>
              <a:cs typeface="Arial"/>
            </a:endParaRPr>
          </a:p>
          <a:p>
            <a:pPr marL="1905"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usto</a:t>
            </a:r>
            <a:r>
              <a:rPr sz="1200" spc="5">
                <a:latin typeface="+mj-lt"/>
                <a:cs typeface="Arial"/>
              </a:rPr>
              <a:t>m</a:t>
            </a:r>
            <a:r>
              <a:rPr sz="1200">
                <a:latin typeface="+mj-lt"/>
                <a:cs typeface="Arial"/>
              </a:rPr>
              <a:t>e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s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EEFC15D8-9C8F-8946-8CFF-B79ED39799F0}"/>
              </a:ext>
            </a:extLst>
          </p:cNvPr>
          <p:cNvSpPr txBox="1"/>
          <p:nvPr userDrawn="1"/>
        </p:nvSpPr>
        <p:spPr>
          <a:xfrm>
            <a:off x="3615049" y="2711323"/>
            <a:ext cx="1521460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&gt;13</a:t>
            </a:r>
            <a:r>
              <a:rPr sz="4000" b="1" spc="-25">
                <a:solidFill>
                  <a:srgbClr val="003970"/>
                </a:solidFill>
                <a:latin typeface="+mj-lt"/>
                <a:cs typeface="Arial"/>
              </a:rPr>
              <a:t>0</a:t>
            </a:r>
            <a:endParaRPr sz="4000" b="1">
              <a:latin typeface="+mj-lt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ount</a:t>
            </a:r>
            <a:r>
              <a:rPr sz="1200" spc="-5">
                <a:latin typeface="+mj-lt"/>
                <a:cs typeface="Arial"/>
              </a:rPr>
              <a:t>ri</a:t>
            </a:r>
            <a:r>
              <a:rPr sz="1200">
                <a:latin typeface="+mj-lt"/>
                <a:cs typeface="Arial"/>
              </a:rPr>
              <a:t>es</a:t>
            </a:r>
            <a:r>
              <a:rPr sz="1200" spc="-35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supp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e</a:t>
            </a:r>
            <a:r>
              <a:rPr sz="1200" spc="-10">
                <a:latin typeface="+mj-lt"/>
                <a:cs typeface="Arial"/>
              </a:rPr>
              <a:t>d</a:t>
            </a:r>
            <a:r>
              <a:rPr lang="en-US" sz="1200" spc="-1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6" name="object 8">
            <a:extLst>
              <a:ext uri="{FF2B5EF4-FFF2-40B4-BE49-F238E27FC236}">
                <a16:creationId xmlns:a16="http://schemas.microsoft.com/office/drawing/2014/main" id="{616644B8-E198-694B-A45A-A203CEAC4841}"/>
              </a:ext>
            </a:extLst>
          </p:cNvPr>
          <p:cNvSpPr txBox="1"/>
          <p:nvPr userDrawn="1"/>
        </p:nvSpPr>
        <p:spPr>
          <a:xfrm>
            <a:off x="2426017" y="3932783"/>
            <a:ext cx="139636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2545" algn="ctr">
              <a:lnSpc>
                <a:spcPct val="100000"/>
              </a:lnSpc>
            </a:pPr>
            <a:r>
              <a:rPr sz="4000" b="1" spc="-30">
                <a:solidFill>
                  <a:srgbClr val="0058B0"/>
                </a:solidFill>
                <a:latin typeface="+mj-lt"/>
                <a:cs typeface="Arial"/>
              </a:rPr>
              <a:t>5</a:t>
            </a:r>
            <a:r>
              <a:rPr lang="en-US" sz="4000" b="1" spc="-30">
                <a:solidFill>
                  <a:srgbClr val="0058B0"/>
                </a:solidFill>
                <a:latin typeface="+mj-lt"/>
                <a:cs typeface="Arial"/>
              </a:rPr>
              <a:t>9</a:t>
            </a:r>
            <a:r>
              <a:rPr sz="4000" b="1" spc="-40">
                <a:solidFill>
                  <a:srgbClr val="0058B0"/>
                </a:solidFill>
                <a:latin typeface="+mj-lt"/>
                <a:cs typeface="Arial"/>
              </a:rPr>
              <a:t>%</a:t>
            </a:r>
            <a:endParaRPr sz="4000" b="1">
              <a:latin typeface="+mj-lt"/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455"/>
              </a:spcBef>
            </a:pPr>
            <a:r>
              <a:rPr sz="1200">
                <a:latin typeface="+mj-lt"/>
                <a:cs typeface="Arial"/>
              </a:rPr>
              <a:t>of</a:t>
            </a:r>
            <a:r>
              <a:rPr sz="1200" spc="-1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the</a:t>
            </a:r>
            <a:r>
              <a:rPr sz="1200" spc="-5">
                <a:latin typeface="+mj-lt"/>
                <a:cs typeface="Arial"/>
              </a:rPr>
              <a:t> F</a:t>
            </a:r>
            <a:r>
              <a:rPr sz="1200">
                <a:latin typeface="+mj-lt"/>
                <a:cs typeface="Arial"/>
              </a:rPr>
              <a:t>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une</a:t>
            </a:r>
            <a:r>
              <a:rPr sz="1200" spc="-2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500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4A556A-04D8-484A-96CF-539E8971E4D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5774933" y="6001279"/>
            <a:ext cx="4648007" cy="127000"/>
          </a:xfrm>
          <a:prstGeom prst="rect">
            <a:avLst/>
          </a:prstGeom>
          <a:noFill/>
        </p:spPr>
        <p:txBody>
          <a:bodyPr wrap="square" lIns="40341" tIns="40341" rIns="40341" bIns="40341" rtlCol="0" anchor="b">
            <a:noAutofit/>
          </a:bodyPr>
          <a:lstStyle/>
          <a:p>
            <a:r>
              <a:rPr lang="en-US" sz="530">
                <a:latin typeface="+mj-lt"/>
              </a:rPr>
              <a:t>Notes: </a:t>
            </a:r>
            <a:r>
              <a:rPr lang="en-US" sz="530" baseline="30000"/>
              <a:t>(1)</a:t>
            </a:r>
            <a:r>
              <a:rPr lang="en-US" sz="530"/>
              <a:t> Based on information as of December 31, 2020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A7A339F-9C86-964F-A1FF-D7307C482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4" r="8773"/>
          <a:stretch/>
        </p:blipFill>
        <p:spPr>
          <a:xfrm>
            <a:off x="5791200" y="1630680"/>
            <a:ext cx="6400800" cy="4307840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The trusted name in tax technology for over 40 years </a:t>
            </a:r>
          </a:p>
        </p:txBody>
      </p:sp>
    </p:spTree>
    <p:extLst>
      <p:ext uri="{BB962C8B-B14F-4D97-AF65-F5344CB8AC3E}">
        <p14:creationId xmlns:p14="http://schemas.microsoft.com/office/powerpoint/2010/main" val="1511371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o End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Flowchart: Terminator 18">
            <a:extLst>
              <a:ext uri="{FF2B5EF4-FFF2-40B4-BE49-F238E27FC236}">
                <a16:creationId xmlns:a16="http://schemas.microsoft.com/office/drawing/2014/main" id="{E5D17620-1EB9-8640-95F5-9E1EAE2EF6EC}"/>
              </a:ext>
            </a:extLst>
          </p:cNvPr>
          <p:cNvSpPr/>
          <p:nvPr userDrawn="1"/>
        </p:nvSpPr>
        <p:spPr>
          <a:xfrm>
            <a:off x="640339" y="5401717"/>
            <a:ext cx="2116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gistration</a:t>
            </a:r>
          </a:p>
        </p:txBody>
      </p:sp>
      <p:sp>
        <p:nvSpPr>
          <p:cNvPr id="24" name="Flowchart: Terminator 19">
            <a:extLst>
              <a:ext uri="{FF2B5EF4-FFF2-40B4-BE49-F238E27FC236}">
                <a16:creationId xmlns:a16="http://schemas.microsoft.com/office/drawing/2014/main" id="{B38B2E1D-391A-124D-B951-857117AA045E}"/>
              </a:ext>
            </a:extLst>
          </p:cNvPr>
          <p:cNvSpPr/>
          <p:nvPr userDrawn="1"/>
        </p:nvSpPr>
        <p:spPr>
          <a:xfrm>
            <a:off x="1893237" y="5401709"/>
            <a:ext cx="245790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Product Mapping</a:t>
            </a:r>
          </a:p>
        </p:txBody>
      </p:sp>
      <p:sp>
        <p:nvSpPr>
          <p:cNvPr id="25" name="Flowchart: Terminator 20">
            <a:extLst>
              <a:ext uri="{FF2B5EF4-FFF2-40B4-BE49-F238E27FC236}">
                <a16:creationId xmlns:a16="http://schemas.microsoft.com/office/drawing/2014/main" id="{6D53C892-6202-B945-85F9-B238251C5FAE}"/>
              </a:ext>
            </a:extLst>
          </p:cNvPr>
          <p:cNvSpPr/>
          <p:nvPr userDrawn="1"/>
        </p:nvSpPr>
        <p:spPr>
          <a:xfrm>
            <a:off x="3561103" y="5401708"/>
            <a:ext cx="2114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26" name="Flowchart: Terminator 15">
            <a:extLst>
              <a:ext uri="{FF2B5EF4-FFF2-40B4-BE49-F238E27FC236}">
                <a16:creationId xmlns:a16="http://schemas.microsoft.com/office/drawing/2014/main" id="{D3C8D301-9158-FD42-80F1-46FC49903874}"/>
              </a:ext>
            </a:extLst>
          </p:cNvPr>
          <p:cNvSpPr/>
          <p:nvPr userDrawn="1"/>
        </p:nvSpPr>
        <p:spPr>
          <a:xfrm>
            <a:off x="4863208" y="5401721"/>
            <a:ext cx="190926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Exemptions</a:t>
            </a:r>
          </a:p>
        </p:txBody>
      </p:sp>
      <p:sp>
        <p:nvSpPr>
          <p:cNvPr id="27" name="Flowchart: Terminator 16">
            <a:extLst>
              <a:ext uri="{FF2B5EF4-FFF2-40B4-BE49-F238E27FC236}">
                <a16:creationId xmlns:a16="http://schemas.microsoft.com/office/drawing/2014/main" id="{BE553782-844C-A94B-BC27-B98379A903BF}"/>
              </a:ext>
            </a:extLst>
          </p:cNvPr>
          <p:cNvSpPr/>
          <p:nvPr userDrawn="1"/>
        </p:nvSpPr>
        <p:spPr>
          <a:xfrm>
            <a:off x="6114108" y="5401722"/>
            <a:ext cx="2055570" cy="7229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28" name="Flowchart: Terminator 17">
            <a:extLst>
              <a:ext uri="{FF2B5EF4-FFF2-40B4-BE49-F238E27FC236}">
                <a16:creationId xmlns:a16="http://schemas.microsoft.com/office/drawing/2014/main" id="{4D68D29C-FC48-2244-B92E-31758B4C9542}"/>
              </a:ext>
            </a:extLst>
          </p:cNvPr>
          <p:cNvSpPr/>
          <p:nvPr userDrawn="1"/>
        </p:nvSpPr>
        <p:spPr>
          <a:xfrm>
            <a:off x="7386952" y="5401722"/>
            <a:ext cx="2084831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Invoicing</a:t>
            </a:r>
          </a:p>
        </p:txBody>
      </p:sp>
      <p:sp>
        <p:nvSpPr>
          <p:cNvPr id="29" name="Flowchart: Terminator 10">
            <a:extLst>
              <a:ext uri="{FF2B5EF4-FFF2-40B4-BE49-F238E27FC236}">
                <a16:creationId xmlns:a16="http://schemas.microsoft.com/office/drawing/2014/main" id="{27FA8512-0A45-2741-B191-9C91BDECB701}"/>
              </a:ext>
            </a:extLst>
          </p:cNvPr>
          <p:cNvSpPr/>
          <p:nvPr userDrawn="1"/>
        </p:nvSpPr>
        <p:spPr>
          <a:xfrm>
            <a:off x="8457769" y="5401708"/>
            <a:ext cx="2074719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/>
            <a:r>
              <a:rPr lang="en-US" sz="1300">
                <a:solidFill>
                  <a:schemeClr val="bg1"/>
                </a:solidFill>
              </a:rPr>
              <a:t>Payments</a:t>
            </a:r>
          </a:p>
        </p:txBody>
      </p:sp>
      <p:sp>
        <p:nvSpPr>
          <p:cNvPr id="30" name="Flowchart: Terminator 12">
            <a:extLst>
              <a:ext uri="{FF2B5EF4-FFF2-40B4-BE49-F238E27FC236}">
                <a16:creationId xmlns:a16="http://schemas.microsoft.com/office/drawing/2014/main" id="{BBD08C35-1188-274A-BE14-568D43435D95}"/>
              </a:ext>
            </a:extLst>
          </p:cNvPr>
          <p:cNvSpPr/>
          <p:nvPr userDrawn="1"/>
        </p:nvSpPr>
        <p:spPr>
          <a:xfrm>
            <a:off x="9715450" y="5401699"/>
            <a:ext cx="1813305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D0272C-5B72-AB47-BCCC-771358560196}"/>
              </a:ext>
            </a:extLst>
          </p:cNvPr>
          <p:cNvSpPr txBox="1"/>
          <p:nvPr userDrawn="1"/>
        </p:nvSpPr>
        <p:spPr>
          <a:xfrm>
            <a:off x="927652" y="4996893"/>
            <a:ext cx="10545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TAX DETERMINATION		COMPLIANCE &amp; REPORTING	TAX DATA MANAGEMENT	DOCUMENT MANAGEMENT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ECFB994-B060-2946-91CB-5E9BBD0CCF50}"/>
              </a:ext>
            </a:extLst>
          </p:cNvPr>
          <p:cNvGrpSpPr/>
          <p:nvPr userDrawn="1"/>
        </p:nvGrpSpPr>
        <p:grpSpPr>
          <a:xfrm>
            <a:off x="6114107" y="1240435"/>
            <a:ext cx="6004411" cy="3707932"/>
            <a:chOff x="5567705" y="769661"/>
            <a:chExt cx="6550814" cy="3869629"/>
          </a:xfrm>
        </p:grpSpPr>
        <p:pic>
          <p:nvPicPr>
            <p:cNvPr id="33" name="Picture 5" descr="A screenshot of a computer screen&#10;&#10;Description automatically generated">
              <a:extLst>
                <a:ext uri="{FF2B5EF4-FFF2-40B4-BE49-F238E27FC236}">
                  <a16:creationId xmlns:a16="http://schemas.microsoft.com/office/drawing/2014/main" id="{43F7C9F7-AB87-E843-97B9-4CD063A63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3026" t="391" r="-7940" b="151"/>
            <a:stretch/>
          </p:blipFill>
          <p:spPr>
            <a:xfrm>
              <a:off x="5567705" y="769661"/>
              <a:ext cx="6550814" cy="3869629"/>
            </a:xfrm>
            <a:prstGeom prst="rect">
              <a:avLst/>
            </a:prstGeom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DC9D523-7B8E-5148-BF66-9B79797B3588}"/>
                </a:ext>
              </a:extLst>
            </p:cNvPr>
            <p:cNvGrpSpPr/>
            <p:nvPr/>
          </p:nvGrpSpPr>
          <p:grpSpPr>
            <a:xfrm>
              <a:off x="6437328" y="955518"/>
              <a:ext cx="4511088" cy="3177570"/>
              <a:chOff x="6437328" y="955518"/>
              <a:chExt cx="4511088" cy="3177570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619BC44-B683-7D40-AAFC-ACC6C721CC26}"/>
                  </a:ext>
                </a:extLst>
              </p:cNvPr>
              <p:cNvSpPr/>
              <p:nvPr/>
            </p:nvSpPr>
            <p:spPr>
              <a:xfrm>
                <a:off x="6437376" y="3651504"/>
                <a:ext cx="4511040" cy="4815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E612FE43-F5AF-CE49-99A1-BEE9F00930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254"/>
              <a:stretch/>
            </p:blipFill>
            <p:spPr>
              <a:xfrm>
                <a:off x="6437328" y="955518"/>
                <a:ext cx="4507817" cy="2927634"/>
              </a:xfrm>
              <a:prstGeom prst="rect">
                <a:avLst/>
              </a:prstGeom>
            </p:spPr>
          </p:pic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D57B80-3192-C140-8C7F-F8E46E22BEFB}"/>
              </a:ext>
            </a:extLst>
          </p:cNvPr>
          <p:cNvSpPr txBox="1"/>
          <p:nvPr userDrawn="1"/>
        </p:nvSpPr>
        <p:spPr>
          <a:xfrm>
            <a:off x="817533" y="1594008"/>
            <a:ext cx="492059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/>
              <a:t>Our solutions address the complexities of the broadest set of global businesses, commerce platforms and B2B / B2C marketpla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FB20FF7-2163-0A43-8C1A-CC3822E41C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17533" y="2719882"/>
            <a:ext cx="5616524" cy="781545"/>
          </a:xfrm>
          <a:prstGeom prst="rect">
            <a:avLst/>
          </a:prstGeom>
          <a:noFill/>
          <a:ln w="19050">
            <a:noFill/>
          </a:ln>
        </p:spPr>
        <p:txBody>
          <a:bodyPr wrap="square" lIns="80682" tIns="80682" rIns="80682" bIns="80682" numCol="2" anchor="t">
            <a:noAutofit/>
          </a:bodyPr>
          <a:lstStyle/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jurisdictions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channel distribution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ple transaction systems 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High transaction volum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EDC53E-7548-8348-BFED-B9954892B972}"/>
              </a:ext>
            </a:extLst>
          </p:cNvPr>
          <p:cNvSpPr txBox="1"/>
          <p:nvPr userDrawn="1"/>
        </p:nvSpPr>
        <p:spPr>
          <a:xfrm>
            <a:off x="920032" y="4153639"/>
            <a:ext cx="4688287" cy="64633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/>
              <a:t>Modular capabilities supporting multiple end-to-end use cases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E3A7C29-A6C5-9945-94E3-F323269D76FC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owerful end-to-end solutions</a:t>
            </a:r>
          </a:p>
        </p:txBody>
      </p:sp>
    </p:spTree>
    <p:extLst>
      <p:ext uri="{BB962C8B-B14F-4D97-AF65-F5344CB8AC3E}">
        <p14:creationId xmlns:p14="http://schemas.microsoft.com/office/powerpoint/2010/main" val="224084345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obal Commerce and Compli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D054ABA-6502-2046-AD9A-E9D6D73C7623}"/>
              </a:ext>
            </a:extLst>
          </p:cNvPr>
          <p:cNvSpPr/>
          <p:nvPr userDrawn="1"/>
        </p:nvSpPr>
        <p:spPr>
          <a:xfrm>
            <a:off x="0" y="0"/>
            <a:ext cx="12192000" cy="64928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F2664C8-9026-784E-A51E-90AFC4DE3B67}"/>
              </a:ext>
            </a:extLst>
          </p:cNvPr>
          <p:cNvSpPr/>
          <p:nvPr userDrawn="1"/>
        </p:nvSpPr>
        <p:spPr>
          <a:xfrm>
            <a:off x="3199858" y="2792971"/>
            <a:ext cx="1961852" cy="19618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D94C7D85-3EC1-A041-A185-E80C76C9FF95}"/>
              </a:ext>
            </a:extLst>
          </p:cNvPr>
          <p:cNvSpPr/>
          <p:nvPr userDrawn="1"/>
        </p:nvSpPr>
        <p:spPr>
          <a:xfrm>
            <a:off x="6502963" y="2794074"/>
            <a:ext cx="1948464" cy="19484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7472B4BC-3A49-E64D-A4D0-13A21E2F56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83" name="Title 1">
            <a:extLst>
              <a:ext uri="{FF2B5EF4-FFF2-40B4-BE49-F238E27FC236}">
                <a16:creationId xmlns:a16="http://schemas.microsoft.com/office/drawing/2014/main" id="{686EE6CB-EA60-AE4A-9AFD-370651A9B6E2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Global commerce and compliance </a:t>
            </a:r>
            <a:br>
              <a:rPr lang="en-US" sz="4000" b="0" kern="0">
                <a:solidFill>
                  <a:schemeClr val="tx2"/>
                </a:solidFill>
                <a:effectLst/>
              </a:rPr>
            </a:br>
            <a:r>
              <a:rPr lang="en-US" sz="4000" b="0" kern="0">
                <a:solidFill>
                  <a:schemeClr val="tx2"/>
                </a:solidFill>
                <a:effectLst/>
              </a:rPr>
              <a:t>that’s seamlessly connected</a:t>
            </a:r>
          </a:p>
        </p:txBody>
      </p:sp>
      <p:sp>
        <p:nvSpPr>
          <p:cNvPr id="68" name="Freihandform: Form 23">
            <a:extLst>
              <a:ext uri="{FF2B5EF4-FFF2-40B4-BE49-F238E27FC236}">
                <a16:creationId xmlns:a16="http://schemas.microsoft.com/office/drawing/2014/main" id="{2EB9534E-C42D-8A46-8A41-C2037FE44E46}"/>
              </a:ext>
            </a:extLst>
          </p:cNvPr>
          <p:cNvSpPr/>
          <p:nvPr userDrawn="1"/>
        </p:nvSpPr>
        <p:spPr bwMode="gray">
          <a:xfrm>
            <a:off x="6191176" y="2481919"/>
            <a:ext cx="2576168" cy="2576368"/>
          </a:xfrm>
          <a:custGeom>
            <a:avLst/>
            <a:gdLst>
              <a:gd name="connsiteX0" fmla="*/ 2231983 w 4463968"/>
              <a:gd name="connsiteY0" fmla="*/ 630299 h 4463628"/>
              <a:gd name="connsiteX1" fmla="*/ 630347 w 4463968"/>
              <a:gd name="connsiteY1" fmla="*/ 2231813 h 4463628"/>
              <a:gd name="connsiteX2" fmla="*/ 2231983 w 4463968"/>
              <a:gd name="connsiteY2" fmla="*/ 3833327 h 4463628"/>
              <a:gd name="connsiteX3" fmla="*/ 3833619 w 4463968"/>
              <a:gd name="connsiteY3" fmla="*/ 2231813 h 4463628"/>
              <a:gd name="connsiteX4" fmla="*/ 2231983 w 4463968"/>
              <a:gd name="connsiteY4" fmla="*/ 630299 h 4463628"/>
              <a:gd name="connsiteX5" fmla="*/ 2231984 w 4463968"/>
              <a:gd name="connsiteY5" fmla="*/ 0 h 4463628"/>
              <a:gd name="connsiteX6" fmla="*/ 4463968 w 4463968"/>
              <a:gd name="connsiteY6" fmla="*/ 2231814 h 4463628"/>
              <a:gd name="connsiteX7" fmla="*/ 2231984 w 4463968"/>
              <a:gd name="connsiteY7" fmla="*/ 4463628 h 4463628"/>
              <a:gd name="connsiteX8" fmla="*/ 0 w 4463968"/>
              <a:gd name="connsiteY8" fmla="*/ 2231814 h 4463628"/>
              <a:gd name="connsiteX9" fmla="*/ 2231984 w 4463968"/>
              <a:gd name="connsiteY9" fmla="*/ 0 h 4463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968" h="4463628">
                <a:moveTo>
                  <a:pt x="2231983" y="630299"/>
                </a:moveTo>
                <a:cubicBezTo>
                  <a:pt x="1347424" y="630299"/>
                  <a:pt x="630347" y="1347321"/>
                  <a:pt x="630347" y="2231813"/>
                </a:cubicBezTo>
                <a:cubicBezTo>
                  <a:pt x="630347" y="3116305"/>
                  <a:pt x="1347424" y="3833327"/>
                  <a:pt x="2231983" y="3833327"/>
                </a:cubicBezTo>
                <a:cubicBezTo>
                  <a:pt x="3116542" y="3833327"/>
                  <a:pt x="3833619" y="3116305"/>
                  <a:pt x="3833619" y="2231813"/>
                </a:cubicBezTo>
                <a:cubicBezTo>
                  <a:pt x="3833619" y="1347321"/>
                  <a:pt x="3116542" y="630299"/>
                  <a:pt x="2231983" y="630299"/>
                </a:cubicBezTo>
                <a:close/>
                <a:moveTo>
                  <a:pt x="2231984" y="0"/>
                </a:moveTo>
                <a:cubicBezTo>
                  <a:pt x="3464675" y="0"/>
                  <a:pt x="4463968" y="999217"/>
                  <a:pt x="4463968" y="2231814"/>
                </a:cubicBezTo>
                <a:cubicBezTo>
                  <a:pt x="4463968" y="3464411"/>
                  <a:pt x="3464675" y="4463628"/>
                  <a:pt x="2231984" y="4463628"/>
                </a:cubicBezTo>
                <a:cubicBezTo>
                  <a:pt x="999293" y="4463628"/>
                  <a:pt x="0" y="3464411"/>
                  <a:pt x="0" y="2231814"/>
                </a:cubicBezTo>
                <a:cubicBezTo>
                  <a:pt x="0" y="999217"/>
                  <a:pt x="999293" y="0"/>
                  <a:pt x="2231984" y="0"/>
                </a:cubicBezTo>
                <a:close/>
              </a:path>
            </a:pathLst>
          </a:custGeom>
          <a:solidFill>
            <a:srgbClr val="008FDC">
              <a:alpha val="4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" name="Freihandform: Form 24">
            <a:extLst>
              <a:ext uri="{FF2B5EF4-FFF2-40B4-BE49-F238E27FC236}">
                <a16:creationId xmlns:a16="http://schemas.microsoft.com/office/drawing/2014/main" id="{28D23AD2-1D5A-B04C-936A-EC7AE30B6B5D}"/>
              </a:ext>
            </a:extLst>
          </p:cNvPr>
          <p:cNvSpPr/>
          <p:nvPr userDrawn="1"/>
        </p:nvSpPr>
        <p:spPr bwMode="gray">
          <a:xfrm>
            <a:off x="6278007" y="2566624"/>
            <a:ext cx="2406772" cy="2406959"/>
          </a:xfrm>
          <a:custGeom>
            <a:avLst/>
            <a:gdLst>
              <a:gd name="connsiteX0" fmla="*/ 2085219 w 4170440"/>
              <a:gd name="connsiteY0" fmla="*/ 483546 h 4170122"/>
              <a:gd name="connsiteX1" fmla="*/ 483583 w 4170440"/>
              <a:gd name="connsiteY1" fmla="*/ 2085060 h 4170122"/>
              <a:gd name="connsiteX2" fmla="*/ 2085219 w 4170440"/>
              <a:gd name="connsiteY2" fmla="*/ 3686574 h 4170122"/>
              <a:gd name="connsiteX3" fmla="*/ 3686855 w 4170440"/>
              <a:gd name="connsiteY3" fmla="*/ 2085060 h 4170122"/>
              <a:gd name="connsiteX4" fmla="*/ 2085219 w 4170440"/>
              <a:gd name="connsiteY4" fmla="*/ 483546 h 4170122"/>
              <a:gd name="connsiteX5" fmla="*/ 2085220 w 4170440"/>
              <a:gd name="connsiteY5" fmla="*/ 0 h 4170122"/>
              <a:gd name="connsiteX6" fmla="*/ 4170440 w 4170440"/>
              <a:gd name="connsiteY6" fmla="*/ 2085061 h 4170122"/>
              <a:gd name="connsiteX7" fmla="*/ 2085220 w 4170440"/>
              <a:gd name="connsiteY7" fmla="*/ 4170122 h 4170122"/>
              <a:gd name="connsiteX8" fmla="*/ 0 w 4170440"/>
              <a:gd name="connsiteY8" fmla="*/ 2085061 h 4170122"/>
              <a:gd name="connsiteX9" fmla="*/ 2085220 w 4170440"/>
              <a:gd name="connsiteY9" fmla="*/ 0 h 4170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440" h="4170122">
                <a:moveTo>
                  <a:pt x="2085219" y="483546"/>
                </a:moveTo>
                <a:cubicBezTo>
                  <a:pt x="1200660" y="483546"/>
                  <a:pt x="483583" y="1200568"/>
                  <a:pt x="483583" y="2085060"/>
                </a:cubicBezTo>
                <a:cubicBezTo>
                  <a:pt x="483583" y="2969552"/>
                  <a:pt x="1200660" y="3686574"/>
                  <a:pt x="2085219" y="3686574"/>
                </a:cubicBezTo>
                <a:cubicBezTo>
                  <a:pt x="2969778" y="3686574"/>
                  <a:pt x="3686855" y="2969552"/>
                  <a:pt x="3686855" y="2085060"/>
                </a:cubicBezTo>
                <a:cubicBezTo>
                  <a:pt x="3686855" y="1200568"/>
                  <a:pt x="2969778" y="483546"/>
                  <a:pt x="2085219" y="483546"/>
                </a:cubicBezTo>
                <a:close/>
                <a:moveTo>
                  <a:pt x="2085220" y="0"/>
                </a:moveTo>
                <a:cubicBezTo>
                  <a:pt x="3236855" y="0"/>
                  <a:pt x="4170440" y="933514"/>
                  <a:pt x="4170440" y="2085061"/>
                </a:cubicBezTo>
                <a:cubicBezTo>
                  <a:pt x="4170440" y="3236608"/>
                  <a:pt x="3236855" y="4170122"/>
                  <a:pt x="2085220" y="4170122"/>
                </a:cubicBezTo>
                <a:cubicBezTo>
                  <a:pt x="933585" y="4170122"/>
                  <a:pt x="0" y="3236608"/>
                  <a:pt x="0" y="2085061"/>
                </a:cubicBezTo>
                <a:cubicBezTo>
                  <a:pt x="0" y="933514"/>
                  <a:pt x="933585" y="0"/>
                  <a:pt x="2085220" y="0"/>
                </a:cubicBezTo>
                <a:close/>
              </a:path>
            </a:pathLst>
          </a:custGeom>
          <a:solidFill>
            <a:srgbClr val="008FDC">
              <a:alpha val="5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70" name="Gerade Verbindung 354">
            <a:extLst>
              <a:ext uri="{FF2B5EF4-FFF2-40B4-BE49-F238E27FC236}">
                <a16:creationId xmlns:a16="http://schemas.microsoft.com/office/drawing/2014/main" id="{FD813779-A7C1-5F47-8AD2-1D72D263A5E1}"/>
              </a:ext>
            </a:extLst>
          </p:cNvPr>
          <p:cNvCxnSpPr>
            <a:cxnSpLocks/>
          </p:cNvCxnSpPr>
          <p:nvPr userDrawn="1"/>
        </p:nvCxnSpPr>
        <p:spPr>
          <a:xfrm>
            <a:off x="2253655" y="3805219"/>
            <a:ext cx="636443" cy="496"/>
          </a:xfrm>
          <a:prstGeom prst="line">
            <a:avLst/>
          </a:prstGeom>
          <a:noFill/>
          <a:ln w="12700" cap="rnd" cmpd="sng" algn="ctr">
            <a:solidFill>
              <a:schemeClr val="accent4"/>
            </a:solidFill>
            <a:prstDash val="solid"/>
            <a:round/>
          </a:ln>
          <a:effectLst/>
        </p:spPr>
      </p:cxnSp>
      <p:sp>
        <p:nvSpPr>
          <p:cNvPr id="71" name="Freihandform: Form 26">
            <a:extLst>
              <a:ext uri="{FF2B5EF4-FFF2-40B4-BE49-F238E27FC236}">
                <a16:creationId xmlns:a16="http://schemas.microsoft.com/office/drawing/2014/main" id="{BD157E4F-C01E-434E-989B-9BB183FA46E0}"/>
              </a:ext>
            </a:extLst>
          </p:cNvPr>
          <p:cNvSpPr/>
          <p:nvPr userDrawn="1"/>
        </p:nvSpPr>
        <p:spPr bwMode="gray">
          <a:xfrm>
            <a:off x="6393486" y="2690449"/>
            <a:ext cx="2159141" cy="2159309"/>
          </a:xfrm>
          <a:custGeom>
            <a:avLst/>
            <a:gdLst>
              <a:gd name="connsiteX0" fmla="*/ 1870672 w 3741346"/>
              <a:gd name="connsiteY0" fmla="*/ 269015 h 3741062"/>
              <a:gd name="connsiteX1" fmla="*/ 269036 w 3741346"/>
              <a:gd name="connsiteY1" fmla="*/ 1870529 h 3741062"/>
              <a:gd name="connsiteX2" fmla="*/ 1870672 w 3741346"/>
              <a:gd name="connsiteY2" fmla="*/ 3472043 h 3741062"/>
              <a:gd name="connsiteX3" fmla="*/ 3472308 w 3741346"/>
              <a:gd name="connsiteY3" fmla="*/ 1870529 h 3741062"/>
              <a:gd name="connsiteX4" fmla="*/ 1870672 w 3741346"/>
              <a:gd name="connsiteY4" fmla="*/ 269015 h 3741062"/>
              <a:gd name="connsiteX5" fmla="*/ 1870673 w 3741346"/>
              <a:gd name="connsiteY5" fmla="*/ 0 h 3741062"/>
              <a:gd name="connsiteX6" fmla="*/ 3741346 w 3741346"/>
              <a:gd name="connsiteY6" fmla="*/ 1870531 h 3741062"/>
              <a:gd name="connsiteX7" fmla="*/ 1870673 w 3741346"/>
              <a:gd name="connsiteY7" fmla="*/ 3741062 h 3741062"/>
              <a:gd name="connsiteX8" fmla="*/ 0 w 3741346"/>
              <a:gd name="connsiteY8" fmla="*/ 1870531 h 3741062"/>
              <a:gd name="connsiteX9" fmla="*/ 1870673 w 3741346"/>
              <a:gd name="connsiteY9" fmla="*/ 0 h 374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1346" h="3741062">
                <a:moveTo>
                  <a:pt x="1870672" y="269015"/>
                </a:moveTo>
                <a:cubicBezTo>
                  <a:pt x="986113" y="269015"/>
                  <a:pt x="269036" y="986037"/>
                  <a:pt x="269036" y="1870529"/>
                </a:cubicBezTo>
                <a:cubicBezTo>
                  <a:pt x="269036" y="2755021"/>
                  <a:pt x="986113" y="3472043"/>
                  <a:pt x="1870672" y="3472043"/>
                </a:cubicBezTo>
                <a:cubicBezTo>
                  <a:pt x="2755231" y="3472043"/>
                  <a:pt x="3472308" y="2755021"/>
                  <a:pt x="3472308" y="1870529"/>
                </a:cubicBezTo>
                <a:cubicBezTo>
                  <a:pt x="3472308" y="986037"/>
                  <a:pt x="2755231" y="269015"/>
                  <a:pt x="1870672" y="269015"/>
                </a:cubicBezTo>
                <a:close/>
                <a:moveTo>
                  <a:pt x="1870673" y="0"/>
                </a:moveTo>
                <a:cubicBezTo>
                  <a:pt x="2903817" y="0"/>
                  <a:pt x="3741346" y="837465"/>
                  <a:pt x="3741346" y="1870531"/>
                </a:cubicBezTo>
                <a:cubicBezTo>
                  <a:pt x="3741346" y="2903597"/>
                  <a:pt x="2903817" y="3741062"/>
                  <a:pt x="1870673" y="3741062"/>
                </a:cubicBezTo>
                <a:cubicBezTo>
                  <a:pt x="837529" y="3741062"/>
                  <a:pt x="0" y="2903597"/>
                  <a:pt x="0" y="1870531"/>
                </a:cubicBezTo>
                <a:cubicBezTo>
                  <a:pt x="0" y="837465"/>
                  <a:pt x="837529" y="0"/>
                  <a:pt x="1870673" y="0"/>
                </a:cubicBezTo>
                <a:close/>
              </a:path>
            </a:pathLst>
          </a:custGeom>
          <a:solidFill>
            <a:srgbClr val="008FDC"/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9" name="Freihandform: Form 23">
            <a:extLst>
              <a:ext uri="{FF2B5EF4-FFF2-40B4-BE49-F238E27FC236}">
                <a16:creationId xmlns:a16="http://schemas.microsoft.com/office/drawing/2014/main" id="{F1B18C9B-5FD1-1A45-9865-10CD3444BB8D}"/>
              </a:ext>
            </a:extLst>
          </p:cNvPr>
          <p:cNvSpPr/>
          <p:nvPr/>
        </p:nvSpPr>
        <p:spPr bwMode="gray">
          <a:xfrm>
            <a:off x="2892341" y="2481919"/>
            <a:ext cx="2576168" cy="2576368"/>
          </a:xfrm>
          <a:custGeom>
            <a:avLst/>
            <a:gdLst>
              <a:gd name="connsiteX0" fmla="*/ 2231983 w 4463968"/>
              <a:gd name="connsiteY0" fmla="*/ 630299 h 4463628"/>
              <a:gd name="connsiteX1" fmla="*/ 630347 w 4463968"/>
              <a:gd name="connsiteY1" fmla="*/ 2231813 h 4463628"/>
              <a:gd name="connsiteX2" fmla="*/ 2231983 w 4463968"/>
              <a:gd name="connsiteY2" fmla="*/ 3833327 h 4463628"/>
              <a:gd name="connsiteX3" fmla="*/ 3833619 w 4463968"/>
              <a:gd name="connsiteY3" fmla="*/ 2231813 h 4463628"/>
              <a:gd name="connsiteX4" fmla="*/ 2231983 w 4463968"/>
              <a:gd name="connsiteY4" fmla="*/ 630299 h 4463628"/>
              <a:gd name="connsiteX5" fmla="*/ 2231984 w 4463968"/>
              <a:gd name="connsiteY5" fmla="*/ 0 h 4463628"/>
              <a:gd name="connsiteX6" fmla="*/ 4463968 w 4463968"/>
              <a:gd name="connsiteY6" fmla="*/ 2231814 h 4463628"/>
              <a:gd name="connsiteX7" fmla="*/ 2231984 w 4463968"/>
              <a:gd name="connsiteY7" fmla="*/ 4463628 h 4463628"/>
              <a:gd name="connsiteX8" fmla="*/ 0 w 4463968"/>
              <a:gd name="connsiteY8" fmla="*/ 2231814 h 4463628"/>
              <a:gd name="connsiteX9" fmla="*/ 2231984 w 4463968"/>
              <a:gd name="connsiteY9" fmla="*/ 0 h 4463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968" h="4463628">
                <a:moveTo>
                  <a:pt x="2231983" y="630299"/>
                </a:moveTo>
                <a:cubicBezTo>
                  <a:pt x="1347424" y="630299"/>
                  <a:pt x="630347" y="1347321"/>
                  <a:pt x="630347" y="2231813"/>
                </a:cubicBezTo>
                <a:cubicBezTo>
                  <a:pt x="630347" y="3116305"/>
                  <a:pt x="1347424" y="3833327"/>
                  <a:pt x="2231983" y="3833327"/>
                </a:cubicBezTo>
                <a:cubicBezTo>
                  <a:pt x="3116542" y="3833327"/>
                  <a:pt x="3833619" y="3116305"/>
                  <a:pt x="3833619" y="2231813"/>
                </a:cubicBezTo>
                <a:cubicBezTo>
                  <a:pt x="3833619" y="1347321"/>
                  <a:pt x="3116542" y="630299"/>
                  <a:pt x="2231983" y="630299"/>
                </a:cubicBezTo>
                <a:close/>
                <a:moveTo>
                  <a:pt x="2231984" y="0"/>
                </a:moveTo>
                <a:cubicBezTo>
                  <a:pt x="3464675" y="0"/>
                  <a:pt x="4463968" y="999217"/>
                  <a:pt x="4463968" y="2231814"/>
                </a:cubicBezTo>
                <a:cubicBezTo>
                  <a:pt x="4463968" y="3464411"/>
                  <a:pt x="3464675" y="4463628"/>
                  <a:pt x="2231984" y="4463628"/>
                </a:cubicBezTo>
                <a:cubicBezTo>
                  <a:pt x="999293" y="4463628"/>
                  <a:pt x="0" y="3464411"/>
                  <a:pt x="0" y="2231814"/>
                </a:cubicBezTo>
                <a:cubicBezTo>
                  <a:pt x="0" y="999217"/>
                  <a:pt x="999293" y="0"/>
                  <a:pt x="2231984" y="0"/>
                </a:cubicBezTo>
                <a:close/>
              </a:path>
            </a:pathLst>
          </a:custGeom>
          <a:solidFill>
            <a:schemeClr val="accent4">
              <a:alpha val="45858"/>
            </a:scheme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0" name="Freihandform: Form 24">
            <a:extLst>
              <a:ext uri="{FF2B5EF4-FFF2-40B4-BE49-F238E27FC236}">
                <a16:creationId xmlns:a16="http://schemas.microsoft.com/office/drawing/2014/main" id="{9708FED6-8E3D-EE48-AB9A-3850BA524237}"/>
              </a:ext>
            </a:extLst>
          </p:cNvPr>
          <p:cNvSpPr/>
          <p:nvPr/>
        </p:nvSpPr>
        <p:spPr bwMode="gray">
          <a:xfrm>
            <a:off x="2977039" y="2566624"/>
            <a:ext cx="2406772" cy="2406959"/>
          </a:xfrm>
          <a:custGeom>
            <a:avLst/>
            <a:gdLst>
              <a:gd name="connsiteX0" fmla="*/ 2085219 w 4170440"/>
              <a:gd name="connsiteY0" fmla="*/ 483546 h 4170122"/>
              <a:gd name="connsiteX1" fmla="*/ 483583 w 4170440"/>
              <a:gd name="connsiteY1" fmla="*/ 2085060 h 4170122"/>
              <a:gd name="connsiteX2" fmla="*/ 2085219 w 4170440"/>
              <a:gd name="connsiteY2" fmla="*/ 3686574 h 4170122"/>
              <a:gd name="connsiteX3" fmla="*/ 3686855 w 4170440"/>
              <a:gd name="connsiteY3" fmla="*/ 2085060 h 4170122"/>
              <a:gd name="connsiteX4" fmla="*/ 2085219 w 4170440"/>
              <a:gd name="connsiteY4" fmla="*/ 483546 h 4170122"/>
              <a:gd name="connsiteX5" fmla="*/ 2085220 w 4170440"/>
              <a:gd name="connsiteY5" fmla="*/ 0 h 4170122"/>
              <a:gd name="connsiteX6" fmla="*/ 4170440 w 4170440"/>
              <a:gd name="connsiteY6" fmla="*/ 2085061 h 4170122"/>
              <a:gd name="connsiteX7" fmla="*/ 2085220 w 4170440"/>
              <a:gd name="connsiteY7" fmla="*/ 4170122 h 4170122"/>
              <a:gd name="connsiteX8" fmla="*/ 0 w 4170440"/>
              <a:gd name="connsiteY8" fmla="*/ 2085061 h 4170122"/>
              <a:gd name="connsiteX9" fmla="*/ 2085220 w 4170440"/>
              <a:gd name="connsiteY9" fmla="*/ 0 h 4170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440" h="4170122">
                <a:moveTo>
                  <a:pt x="2085219" y="483546"/>
                </a:moveTo>
                <a:cubicBezTo>
                  <a:pt x="1200660" y="483546"/>
                  <a:pt x="483583" y="1200568"/>
                  <a:pt x="483583" y="2085060"/>
                </a:cubicBezTo>
                <a:cubicBezTo>
                  <a:pt x="483583" y="2969552"/>
                  <a:pt x="1200660" y="3686574"/>
                  <a:pt x="2085219" y="3686574"/>
                </a:cubicBezTo>
                <a:cubicBezTo>
                  <a:pt x="2969778" y="3686574"/>
                  <a:pt x="3686855" y="2969552"/>
                  <a:pt x="3686855" y="2085060"/>
                </a:cubicBezTo>
                <a:cubicBezTo>
                  <a:pt x="3686855" y="1200568"/>
                  <a:pt x="2969778" y="483546"/>
                  <a:pt x="2085219" y="483546"/>
                </a:cubicBezTo>
                <a:close/>
                <a:moveTo>
                  <a:pt x="2085220" y="0"/>
                </a:moveTo>
                <a:cubicBezTo>
                  <a:pt x="3236855" y="0"/>
                  <a:pt x="4170440" y="933514"/>
                  <a:pt x="4170440" y="2085061"/>
                </a:cubicBezTo>
                <a:cubicBezTo>
                  <a:pt x="4170440" y="3236608"/>
                  <a:pt x="3236855" y="4170122"/>
                  <a:pt x="2085220" y="4170122"/>
                </a:cubicBezTo>
                <a:cubicBezTo>
                  <a:pt x="933585" y="4170122"/>
                  <a:pt x="0" y="3236608"/>
                  <a:pt x="0" y="2085061"/>
                </a:cubicBezTo>
                <a:cubicBezTo>
                  <a:pt x="0" y="933514"/>
                  <a:pt x="933585" y="0"/>
                  <a:pt x="2085220" y="0"/>
                </a:cubicBezTo>
                <a:close/>
              </a:path>
            </a:pathLst>
          </a:custGeom>
          <a:solidFill>
            <a:schemeClr val="accent4">
              <a:alpha val="57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1" name="Freihandform: Form 26">
            <a:extLst>
              <a:ext uri="{FF2B5EF4-FFF2-40B4-BE49-F238E27FC236}">
                <a16:creationId xmlns:a16="http://schemas.microsoft.com/office/drawing/2014/main" id="{437B39EF-EB52-2147-9FE5-470F40112F10}"/>
              </a:ext>
            </a:extLst>
          </p:cNvPr>
          <p:cNvSpPr/>
          <p:nvPr/>
        </p:nvSpPr>
        <p:spPr bwMode="gray">
          <a:xfrm>
            <a:off x="3100855" y="2690449"/>
            <a:ext cx="2159141" cy="2159309"/>
          </a:xfrm>
          <a:custGeom>
            <a:avLst/>
            <a:gdLst>
              <a:gd name="connsiteX0" fmla="*/ 1870672 w 3741346"/>
              <a:gd name="connsiteY0" fmla="*/ 269015 h 3741062"/>
              <a:gd name="connsiteX1" fmla="*/ 269036 w 3741346"/>
              <a:gd name="connsiteY1" fmla="*/ 1870529 h 3741062"/>
              <a:gd name="connsiteX2" fmla="*/ 1870672 w 3741346"/>
              <a:gd name="connsiteY2" fmla="*/ 3472043 h 3741062"/>
              <a:gd name="connsiteX3" fmla="*/ 3472308 w 3741346"/>
              <a:gd name="connsiteY3" fmla="*/ 1870529 h 3741062"/>
              <a:gd name="connsiteX4" fmla="*/ 1870672 w 3741346"/>
              <a:gd name="connsiteY4" fmla="*/ 269015 h 3741062"/>
              <a:gd name="connsiteX5" fmla="*/ 1870673 w 3741346"/>
              <a:gd name="connsiteY5" fmla="*/ 0 h 3741062"/>
              <a:gd name="connsiteX6" fmla="*/ 3741346 w 3741346"/>
              <a:gd name="connsiteY6" fmla="*/ 1870531 h 3741062"/>
              <a:gd name="connsiteX7" fmla="*/ 1870673 w 3741346"/>
              <a:gd name="connsiteY7" fmla="*/ 3741062 h 3741062"/>
              <a:gd name="connsiteX8" fmla="*/ 0 w 3741346"/>
              <a:gd name="connsiteY8" fmla="*/ 1870531 h 3741062"/>
              <a:gd name="connsiteX9" fmla="*/ 1870673 w 3741346"/>
              <a:gd name="connsiteY9" fmla="*/ 0 h 374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1346" h="3741062">
                <a:moveTo>
                  <a:pt x="1870672" y="269015"/>
                </a:moveTo>
                <a:cubicBezTo>
                  <a:pt x="986113" y="269015"/>
                  <a:pt x="269036" y="986037"/>
                  <a:pt x="269036" y="1870529"/>
                </a:cubicBezTo>
                <a:cubicBezTo>
                  <a:pt x="269036" y="2755021"/>
                  <a:pt x="986113" y="3472043"/>
                  <a:pt x="1870672" y="3472043"/>
                </a:cubicBezTo>
                <a:cubicBezTo>
                  <a:pt x="2755231" y="3472043"/>
                  <a:pt x="3472308" y="2755021"/>
                  <a:pt x="3472308" y="1870529"/>
                </a:cubicBezTo>
                <a:cubicBezTo>
                  <a:pt x="3472308" y="986037"/>
                  <a:pt x="2755231" y="269015"/>
                  <a:pt x="1870672" y="269015"/>
                </a:cubicBezTo>
                <a:close/>
                <a:moveTo>
                  <a:pt x="1870673" y="0"/>
                </a:moveTo>
                <a:cubicBezTo>
                  <a:pt x="2903817" y="0"/>
                  <a:pt x="3741346" y="837465"/>
                  <a:pt x="3741346" y="1870531"/>
                </a:cubicBezTo>
                <a:cubicBezTo>
                  <a:pt x="3741346" y="2903597"/>
                  <a:pt x="2903817" y="3741062"/>
                  <a:pt x="1870673" y="3741062"/>
                </a:cubicBezTo>
                <a:cubicBezTo>
                  <a:pt x="837529" y="3741062"/>
                  <a:pt x="0" y="2903597"/>
                  <a:pt x="0" y="1870531"/>
                </a:cubicBezTo>
                <a:cubicBezTo>
                  <a:pt x="0" y="837465"/>
                  <a:pt x="837529" y="0"/>
                  <a:pt x="1870673" y="0"/>
                </a:cubicBezTo>
                <a:close/>
              </a:path>
            </a:pathLst>
          </a:custGeom>
          <a:solidFill>
            <a:srgbClr val="6FD34E"/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73" name="Gruppieren 74">
            <a:extLst>
              <a:ext uri="{FF2B5EF4-FFF2-40B4-BE49-F238E27FC236}">
                <a16:creationId xmlns:a16="http://schemas.microsoft.com/office/drawing/2014/main" id="{3888FACE-FC78-724C-8F58-322A06A56F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610415" y="5354127"/>
            <a:ext cx="208544" cy="303153"/>
            <a:chOff x="6938963" y="3908426"/>
            <a:chExt cx="290513" cy="422275"/>
          </a:xfrm>
        </p:grpSpPr>
        <p:sp>
          <p:nvSpPr>
            <p:cNvPr id="186" name="Freeform 81">
              <a:extLst>
                <a:ext uri="{FF2B5EF4-FFF2-40B4-BE49-F238E27FC236}">
                  <a16:creationId xmlns:a16="http://schemas.microsoft.com/office/drawing/2014/main" id="{5E7EC299-C719-1942-B1D6-3D6982A6D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71926"/>
              <a:ext cx="144463" cy="309563"/>
            </a:xfrm>
            <a:custGeom>
              <a:avLst/>
              <a:gdLst>
                <a:gd name="T0" fmla="*/ 539 w 539"/>
                <a:gd name="T1" fmla="*/ 1150 h 1150"/>
                <a:gd name="T2" fmla="*/ 4 w 539"/>
                <a:gd name="T3" fmla="*/ 734 h 1150"/>
                <a:gd name="T4" fmla="*/ 539 w 539"/>
                <a:gd name="T5" fmla="*/ 1150 h 1150"/>
                <a:gd name="T6" fmla="*/ 0 w 539"/>
                <a:gd name="T7" fmla="*/ 200 h 1150"/>
                <a:gd name="T8" fmla="*/ 0 w 539"/>
                <a:gd name="T9" fmla="*/ 200 h 1150"/>
                <a:gd name="T10" fmla="*/ 63 w 539"/>
                <a:gd name="T11" fmla="*/ 101 h 1150"/>
                <a:gd name="T12" fmla="*/ 0 w 539"/>
                <a:gd name="T13" fmla="*/ 200 h 1150"/>
                <a:gd name="T14" fmla="*/ 539 w 539"/>
                <a:gd name="T15" fmla="*/ 102 h 1150"/>
                <a:gd name="T16" fmla="*/ 437 w 539"/>
                <a:gd name="T17" fmla="*/ 63 h 1150"/>
                <a:gd name="T18" fmla="*/ 376 w 539"/>
                <a:gd name="T19" fmla="*/ 55 h 1150"/>
                <a:gd name="T20" fmla="*/ 437 w 539"/>
                <a:gd name="T21" fmla="*/ 63 h 1150"/>
                <a:gd name="T22" fmla="*/ 539 w 539"/>
                <a:gd name="T23" fmla="*/ 102 h 1150"/>
                <a:gd name="T24" fmla="*/ 228 w 539"/>
                <a:gd name="T25" fmla="*/ 16 h 1150"/>
                <a:gd name="T26" fmla="*/ 215 w 539"/>
                <a:gd name="T27" fmla="*/ 9 h 1150"/>
                <a:gd name="T28" fmla="*/ 175 w 539"/>
                <a:gd name="T29" fmla="*/ 0 h 1150"/>
                <a:gd name="T30" fmla="*/ 169 w 539"/>
                <a:gd name="T31" fmla="*/ 0 h 1150"/>
                <a:gd name="T32" fmla="*/ 175 w 539"/>
                <a:gd name="T33" fmla="*/ 0 h 1150"/>
                <a:gd name="T34" fmla="*/ 215 w 539"/>
                <a:gd name="T35" fmla="*/ 9 h 1150"/>
                <a:gd name="T36" fmla="*/ 228 w 539"/>
                <a:gd name="T37" fmla="*/ 16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9" h="1150">
                  <a:moveTo>
                    <a:pt x="539" y="1150"/>
                  </a:moveTo>
                  <a:cubicBezTo>
                    <a:pt x="350" y="1034"/>
                    <a:pt x="133" y="859"/>
                    <a:pt x="4" y="734"/>
                  </a:cubicBezTo>
                  <a:cubicBezTo>
                    <a:pt x="133" y="859"/>
                    <a:pt x="350" y="1034"/>
                    <a:pt x="539" y="1150"/>
                  </a:cubicBezTo>
                  <a:close/>
                  <a:moveTo>
                    <a:pt x="0" y="200"/>
                  </a:moveTo>
                  <a:lnTo>
                    <a:pt x="0" y="200"/>
                  </a:lnTo>
                  <a:lnTo>
                    <a:pt x="63" y="101"/>
                  </a:lnTo>
                  <a:lnTo>
                    <a:pt x="0" y="200"/>
                  </a:lnTo>
                  <a:close/>
                  <a:moveTo>
                    <a:pt x="539" y="102"/>
                  </a:moveTo>
                  <a:cubicBezTo>
                    <a:pt x="501" y="85"/>
                    <a:pt x="466" y="71"/>
                    <a:pt x="437" y="63"/>
                  </a:cubicBezTo>
                  <a:cubicBezTo>
                    <a:pt x="421" y="58"/>
                    <a:pt x="398" y="56"/>
                    <a:pt x="376" y="55"/>
                  </a:cubicBezTo>
                  <a:cubicBezTo>
                    <a:pt x="398" y="56"/>
                    <a:pt x="421" y="58"/>
                    <a:pt x="437" y="63"/>
                  </a:cubicBezTo>
                  <a:cubicBezTo>
                    <a:pt x="466" y="71"/>
                    <a:pt x="501" y="85"/>
                    <a:pt x="539" y="102"/>
                  </a:cubicBezTo>
                  <a:close/>
                  <a:moveTo>
                    <a:pt x="228" y="16"/>
                  </a:moveTo>
                  <a:lnTo>
                    <a:pt x="215" y="9"/>
                  </a:lnTo>
                  <a:cubicBezTo>
                    <a:pt x="202" y="3"/>
                    <a:pt x="189" y="0"/>
                    <a:pt x="175" y="0"/>
                  </a:cubicBezTo>
                  <a:cubicBezTo>
                    <a:pt x="173" y="0"/>
                    <a:pt x="171" y="0"/>
                    <a:pt x="169" y="0"/>
                  </a:cubicBezTo>
                  <a:cubicBezTo>
                    <a:pt x="171" y="0"/>
                    <a:pt x="173" y="0"/>
                    <a:pt x="175" y="0"/>
                  </a:cubicBezTo>
                  <a:cubicBezTo>
                    <a:pt x="189" y="0"/>
                    <a:pt x="202" y="3"/>
                    <a:pt x="215" y="9"/>
                  </a:cubicBezTo>
                  <a:lnTo>
                    <a:pt x="228" y="16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7" name="Freeform 83">
              <a:extLst>
                <a:ext uri="{FF2B5EF4-FFF2-40B4-BE49-F238E27FC236}">
                  <a16:creationId xmlns:a16="http://schemas.microsoft.com/office/drawing/2014/main" id="{78FB8E83-62FD-B442-8827-993E03DF51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08426"/>
              <a:ext cx="31750" cy="84138"/>
            </a:xfrm>
            <a:custGeom>
              <a:avLst/>
              <a:gdLst>
                <a:gd name="T0" fmla="*/ 0 w 122"/>
                <a:gd name="T1" fmla="*/ 309 h 309"/>
                <a:gd name="T2" fmla="*/ 0 w 122"/>
                <a:gd name="T3" fmla="*/ 309 h 309"/>
                <a:gd name="T4" fmla="*/ 87 w 122"/>
                <a:gd name="T5" fmla="*/ 172 h 309"/>
                <a:gd name="T6" fmla="*/ 0 w 122"/>
                <a:gd name="T7" fmla="*/ 309 h 309"/>
                <a:gd name="T8" fmla="*/ 106 w 122"/>
                <a:gd name="T9" fmla="*/ 141 h 309"/>
                <a:gd name="T10" fmla="*/ 85 w 122"/>
                <a:gd name="T11" fmla="*/ 53 h 309"/>
                <a:gd name="T12" fmla="*/ 106 w 122"/>
                <a:gd name="T13" fmla="*/ 141 h 309"/>
                <a:gd name="T14" fmla="*/ 85 w 122"/>
                <a:gd name="T15" fmla="*/ 53 h 309"/>
                <a:gd name="T16" fmla="*/ 84 w 122"/>
                <a:gd name="T17" fmla="*/ 53 h 309"/>
                <a:gd name="T18" fmla="*/ 85 w 122"/>
                <a:gd name="T19" fmla="*/ 53 h 309"/>
                <a:gd name="T20" fmla="*/ 58 w 122"/>
                <a:gd name="T21" fmla="*/ 37 h 309"/>
                <a:gd name="T22" fmla="*/ 0 w 122"/>
                <a:gd name="T23" fmla="*/ 0 h 309"/>
                <a:gd name="T24" fmla="*/ 58 w 122"/>
                <a:gd name="T25" fmla="*/ 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309">
                  <a:moveTo>
                    <a:pt x="0" y="309"/>
                  </a:moveTo>
                  <a:lnTo>
                    <a:pt x="0" y="309"/>
                  </a:lnTo>
                  <a:lnTo>
                    <a:pt x="87" y="172"/>
                  </a:lnTo>
                  <a:lnTo>
                    <a:pt x="0" y="309"/>
                  </a:lnTo>
                  <a:close/>
                  <a:moveTo>
                    <a:pt x="106" y="141"/>
                  </a:moveTo>
                  <a:cubicBezTo>
                    <a:pt x="122" y="111"/>
                    <a:pt x="113" y="73"/>
                    <a:pt x="85" y="53"/>
                  </a:cubicBezTo>
                  <a:cubicBezTo>
                    <a:pt x="113" y="73"/>
                    <a:pt x="122" y="111"/>
                    <a:pt x="106" y="141"/>
                  </a:cubicBezTo>
                  <a:close/>
                  <a:moveTo>
                    <a:pt x="85" y="53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5" y="53"/>
                  </a:cubicBezTo>
                  <a:close/>
                  <a:moveTo>
                    <a:pt x="58" y="37"/>
                  </a:moveTo>
                  <a:lnTo>
                    <a:pt x="0" y="0"/>
                  </a:lnTo>
                  <a:lnTo>
                    <a:pt x="58" y="37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8" name="Freeform 85">
              <a:extLst>
                <a:ext uri="{FF2B5EF4-FFF2-40B4-BE49-F238E27FC236}">
                  <a16:creationId xmlns:a16="http://schemas.microsoft.com/office/drawing/2014/main" id="{443471DC-8801-F34F-A32C-BD7236DFF0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3998913"/>
              <a:ext cx="146050" cy="331788"/>
            </a:xfrm>
            <a:custGeom>
              <a:avLst/>
              <a:gdLst>
                <a:gd name="T0" fmla="*/ 459 w 538"/>
                <a:gd name="T1" fmla="*/ 1227 h 1227"/>
                <a:gd name="T2" fmla="*/ 429 w 538"/>
                <a:gd name="T3" fmla="*/ 1221 h 1227"/>
                <a:gd name="T4" fmla="*/ 459 w 538"/>
                <a:gd name="T5" fmla="*/ 1227 h 1227"/>
                <a:gd name="T6" fmla="*/ 535 w 538"/>
                <a:gd name="T7" fmla="*/ 1166 h 1227"/>
                <a:gd name="T8" fmla="*/ 505 w 538"/>
                <a:gd name="T9" fmla="*/ 1132 h 1227"/>
                <a:gd name="T10" fmla="*/ 535 w 538"/>
                <a:gd name="T11" fmla="*/ 1166 h 1227"/>
                <a:gd name="T12" fmla="*/ 58 w 538"/>
                <a:gd name="T13" fmla="*/ 1083 h 1227"/>
                <a:gd name="T14" fmla="*/ 0 w 538"/>
                <a:gd name="T15" fmla="*/ 1048 h 1227"/>
                <a:gd name="T16" fmla="*/ 58 w 538"/>
                <a:gd name="T17" fmla="*/ 1083 h 1227"/>
                <a:gd name="T18" fmla="*/ 323 w 538"/>
                <a:gd name="T19" fmla="*/ 997 h 1227"/>
                <a:gd name="T20" fmla="*/ 350 w 538"/>
                <a:gd name="T21" fmla="*/ 984 h 1227"/>
                <a:gd name="T22" fmla="*/ 356 w 538"/>
                <a:gd name="T23" fmla="*/ 984 h 1227"/>
                <a:gd name="T24" fmla="*/ 350 w 538"/>
                <a:gd name="T25" fmla="*/ 984 h 1227"/>
                <a:gd name="T26" fmla="*/ 323 w 538"/>
                <a:gd name="T27" fmla="*/ 997 h 1227"/>
                <a:gd name="T28" fmla="*/ 538 w 538"/>
                <a:gd name="T29" fmla="*/ 886 h 1227"/>
                <a:gd name="T30" fmla="*/ 432 w 538"/>
                <a:gd name="T31" fmla="*/ 827 h 1227"/>
                <a:gd name="T32" fmla="*/ 419 w 538"/>
                <a:gd name="T33" fmla="*/ 814 h 1227"/>
                <a:gd name="T34" fmla="*/ 432 w 538"/>
                <a:gd name="T35" fmla="*/ 827 h 1227"/>
                <a:gd name="T36" fmla="*/ 538 w 538"/>
                <a:gd name="T37" fmla="*/ 886 h 1227"/>
                <a:gd name="T38" fmla="*/ 419 w 538"/>
                <a:gd name="T39" fmla="*/ 783 h 1227"/>
                <a:gd name="T40" fmla="*/ 428 w 538"/>
                <a:gd name="T41" fmla="*/ 773 h 1227"/>
                <a:gd name="T42" fmla="*/ 419 w 538"/>
                <a:gd name="T43" fmla="*/ 783 h 1227"/>
                <a:gd name="T44" fmla="*/ 538 w 538"/>
                <a:gd name="T45" fmla="*/ 604 h 1227"/>
                <a:gd name="T46" fmla="*/ 536 w 538"/>
                <a:gd name="T47" fmla="*/ 602 h 1227"/>
                <a:gd name="T48" fmla="*/ 538 w 538"/>
                <a:gd name="T49" fmla="*/ 604 h 1227"/>
                <a:gd name="T50" fmla="*/ 516 w 538"/>
                <a:gd name="T51" fmla="*/ 573 h 1227"/>
                <a:gd name="T52" fmla="*/ 521 w 538"/>
                <a:gd name="T53" fmla="*/ 555 h 1227"/>
                <a:gd name="T54" fmla="*/ 531 w 538"/>
                <a:gd name="T55" fmla="*/ 545 h 1227"/>
                <a:gd name="T56" fmla="*/ 521 w 538"/>
                <a:gd name="T57" fmla="*/ 555 h 1227"/>
                <a:gd name="T58" fmla="*/ 516 w 538"/>
                <a:gd name="T59" fmla="*/ 573 h 1227"/>
                <a:gd name="T60" fmla="*/ 538 w 538"/>
                <a:gd name="T61" fmla="*/ 302 h 1227"/>
                <a:gd name="T62" fmla="*/ 293 w 538"/>
                <a:gd name="T63" fmla="*/ 154 h 1227"/>
                <a:gd name="T64" fmla="*/ 0 w 538"/>
                <a:gd name="T65" fmla="*/ 0 h 1227"/>
                <a:gd name="T66" fmla="*/ 293 w 538"/>
                <a:gd name="T67" fmla="*/ 154 h 1227"/>
                <a:gd name="T68" fmla="*/ 538 w 538"/>
                <a:gd name="T69" fmla="*/ 302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8" h="1227">
                  <a:moveTo>
                    <a:pt x="459" y="1227"/>
                  </a:moveTo>
                  <a:cubicBezTo>
                    <a:pt x="449" y="1225"/>
                    <a:pt x="439" y="1223"/>
                    <a:pt x="429" y="1221"/>
                  </a:cubicBezTo>
                  <a:cubicBezTo>
                    <a:pt x="439" y="1223"/>
                    <a:pt x="449" y="1225"/>
                    <a:pt x="459" y="1227"/>
                  </a:cubicBezTo>
                  <a:close/>
                  <a:moveTo>
                    <a:pt x="535" y="1166"/>
                  </a:moveTo>
                  <a:cubicBezTo>
                    <a:pt x="531" y="1153"/>
                    <a:pt x="521" y="1141"/>
                    <a:pt x="505" y="1132"/>
                  </a:cubicBezTo>
                  <a:cubicBezTo>
                    <a:pt x="521" y="1141"/>
                    <a:pt x="531" y="1153"/>
                    <a:pt x="535" y="1166"/>
                  </a:cubicBezTo>
                  <a:close/>
                  <a:moveTo>
                    <a:pt x="58" y="1083"/>
                  </a:moveTo>
                  <a:cubicBezTo>
                    <a:pt x="39" y="1072"/>
                    <a:pt x="20" y="1060"/>
                    <a:pt x="0" y="1048"/>
                  </a:cubicBezTo>
                  <a:cubicBezTo>
                    <a:pt x="20" y="1060"/>
                    <a:pt x="39" y="1072"/>
                    <a:pt x="58" y="1083"/>
                  </a:cubicBezTo>
                  <a:close/>
                  <a:moveTo>
                    <a:pt x="323" y="997"/>
                  </a:moveTo>
                  <a:cubicBezTo>
                    <a:pt x="330" y="989"/>
                    <a:pt x="339" y="984"/>
                    <a:pt x="350" y="984"/>
                  </a:cubicBezTo>
                  <a:cubicBezTo>
                    <a:pt x="352" y="984"/>
                    <a:pt x="354" y="984"/>
                    <a:pt x="356" y="984"/>
                  </a:cubicBezTo>
                  <a:cubicBezTo>
                    <a:pt x="354" y="984"/>
                    <a:pt x="352" y="984"/>
                    <a:pt x="350" y="984"/>
                  </a:cubicBezTo>
                  <a:cubicBezTo>
                    <a:pt x="339" y="984"/>
                    <a:pt x="330" y="989"/>
                    <a:pt x="323" y="997"/>
                  </a:cubicBezTo>
                  <a:close/>
                  <a:moveTo>
                    <a:pt x="538" y="886"/>
                  </a:moveTo>
                  <a:lnTo>
                    <a:pt x="432" y="827"/>
                  </a:lnTo>
                  <a:cubicBezTo>
                    <a:pt x="426" y="824"/>
                    <a:pt x="422" y="820"/>
                    <a:pt x="419" y="814"/>
                  </a:cubicBezTo>
                  <a:cubicBezTo>
                    <a:pt x="422" y="820"/>
                    <a:pt x="426" y="824"/>
                    <a:pt x="432" y="827"/>
                  </a:cubicBezTo>
                  <a:lnTo>
                    <a:pt x="538" y="886"/>
                  </a:lnTo>
                  <a:close/>
                  <a:moveTo>
                    <a:pt x="419" y="783"/>
                  </a:moveTo>
                  <a:cubicBezTo>
                    <a:pt x="421" y="779"/>
                    <a:pt x="424" y="775"/>
                    <a:pt x="428" y="773"/>
                  </a:cubicBezTo>
                  <a:cubicBezTo>
                    <a:pt x="424" y="775"/>
                    <a:pt x="421" y="779"/>
                    <a:pt x="419" y="783"/>
                  </a:cubicBezTo>
                  <a:close/>
                  <a:moveTo>
                    <a:pt x="538" y="604"/>
                  </a:moveTo>
                  <a:lnTo>
                    <a:pt x="536" y="602"/>
                  </a:lnTo>
                  <a:lnTo>
                    <a:pt x="538" y="604"/>
                  </a:lnTo>
                  <a:close/>
                  <a:moveTo>
                    <a:pt x="516" y="573"/>
                  </a:moveTo>
                  <a:cubicBezTo>
                    <a:pt x="516" y="567"/>
                    <a:pt x="517" y="561"/>
                    <a:pt x="521" y="555"/>
                  </a:cubicBezTo>
                  <a:cubicBezTo>
                    <a:pt x="523" y="551"/>
                    <a:pt x="527" y="548"/>
                    <a:pt x="531" y="545"/>
                  </a:cubicBezTo>
                  <a:cubicBezTo>
                    <a:pt x="527" y="548"/>
                    <a:pt x="523" y="551"/>
                    <a:pt x="521" y="555"/>
                  </a:cubicBezTo>
                  <a:cubicBezTo>
                    <a:pt x="517" y="561"/>
                    <a:pt x="516" y="567"/>
                    <a:pt x="516" y="573"/>
                  </a:cubicBezTo>
                  <a:close/>
                  <a:moveTo>
                    <a:pt x="538" y="302"/>
                  </a:moveTo>
                  <a:cubicBezTo>
                    <a:pt x="440" y="242"/>
                    <a:pt x="351" y="188"/>
                    <a:pt x="293" y="154"/>
                  </a:cubicBezTo>
                  <a:cubicBezTo>
                    <a:pt x="222" y="113"/>
                    <a:pt x="102" y="45"/>
                    <a:pt x="0" y="0"/>
                  </a:cubicBezTo>
                  <a:cubicBezTo>
                    <a:pt x="102" y="45"/>
                    <a:pt x="222" y="113"/>
                    <a:pt x="293" y="154"/>
                  </a:cubicBezTo>
                  <a:cubicBezTo>
                    <a:pt x="351" y="188"/>
                    <a:pt x="440" y="242"/>
                    <a:pt x="538" y="302"/>
                  </a:cubicBezTo>
                  <a:close/>
                </a:path>
              </a:pathLst>
            </a:custGeom>
            <a:solidFill>
              <a:srgbClr val="F4C3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74" name="TextBox 8">
            <a:extLst>
              <a:ext uri="{FF2B5EF4-FFF2-40B4-BE49-F238E27FC236}">
                <a16:creationId xmlns:a16="http://schemas.microsoft.com/office/drawing/2014/main" id="{99994E42-45B5-B248-9449-7AE81AA26431}"/>
              </a:ext>
            </a:extLst>
          </p:cNvPr>
          <p:cNvSpPr txBox="1"/>
          <p:nvPr userDrawn="1"/>
        </p:nvSpPr>
        <p:spPr>
          <a:xfrm>
            <a:off x="347067" y="4700248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Billing</a:t>
            </a:r>
          </a:p>
        </p:txBody>
      </p:sp>
      <p:sp>
        <p:nvSpPr>
          <p:cNvPr id="75" name="TextBox 8">
            <a:extLst>
              <a:ext uri="{FF2B5EF4-FFF2-40B4-BE49-F238E27FC236}">
                <a16:creationId xmlns:a16="http://schemas.microsoft.com/office/drawing/2014/main" id="{9E8457AB-74E0-CC47-B989-BEE2AF467BAD}"/>
              </a:ext>
            </a:extLst>
          </p:cNvPr>
          <p:cNvSpPr txBox="1"/>
          <p:nvPr userDrawn="1"/>
        </p:nvSpPr>
        <p:spPr>
          <a:xfrm>
            <a:off x="362968" y="3665932"/>
            <a:ext cx="1232654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Procurement</a:t>
            </a:r>
          </a:p>
        </p:txBody>
      </p:sp>
      <p:sp>
        <p:nvSpPr>
          <p:cNvPr id="77" name="TextBox 8">
            <a:extLst>
              <a:ext uri="{FF2B5EF4-FFF2-40B4-BE49-F238E27FC236}">
                <a16:creationId xmlns:a16="http://schemas.microsoft.com/office/drawing/2014/main" id="{99FB525D-E801-B94B-9FE4-F7F01E47B715}"/>
              </a:ext>
            </a:extLst>
          </p:cNvPr>
          <p:cNvSpPr txBox="1"/>
          <p:nvPr userDrawn="1"/>
        </p:nvSpPr>
        <p:spPr>
          <a:xfrm>
            <a:off x="819278" y="5463106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Supply Chain</a:t>
            </a:r>
          </a:p>
        </p:txBody>
      </p:sp>
      <p:sp>
        <p:nvSpPr>
          <p:cNvPr id="78" name="Rechteck 92">
            <a:extLst>
              <a:ext uri="{FF2B5EF4-FFF2-40B4-BE49-F238E27FC236}">
                <a16:creationId xmlns:a16="http://schemas.microsoft.com/office/drawing/2014/main" id="{364ADA3E-B65E-BA4F-9CA9-BB9FB4388B61}"/>
              </a:ext>
            </a:extLst>
          </p:cNvPr>
          <p:cNvSpPr/>
          <p:nvPr userDrawn="1"/>
        </p:nvSpPr>
        <p:spPr>
          <a:xfrm>
            <a:off x="282791" y="2675654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  <a:ea typeface="ＭＳ Ｐゴシック" charset="0"/>
                <a:cs typeface="ＭＳ Ｐゴシック" charset="0"/>
              </a:rPr>
              <a:t>eCommerce</a:t>
            </a:r>
          </a:p>
        </p:txBody>
      </p:sp>
      <p:cxnSp>
        <p:nvCxnSpPr>
          <p:cNvPr id="79" name="Gerade Verbindung 365">
            <a:extLst>
              <a:ext uri="{FF2B5EF4-FFF2-40B4-BE49-F238E27FC236}">
                <a16:creationId xmlns:a16="http://schemas.microsoft.com/office/drawing/2014/main" id="{0D3825B2-6C30-2346-9D36-B9D18DDFA212}"/>
              </a:ext>
            </a:extLst>
          </p:cNvPr>
          <p:cNvCxnSpPr>
            <a:cxnSpLocks/>
          </p:cNvCxnSpPr>
          <p:nvPr userDrawn="1"/>
        </p:nvCxnSpPr>
        <p:spPr>
          <a:xfrm>
            <a:off x="8761141" y="3795749"/>
            <a:ext cx="688813" cy="3204"/>
          </a:xfrm>
          <a:prstGeom prst="line">
            <a:avLst/>
          </a:prstGeom>
          <a:noFill/>
          <a:ln w="12700" cap="rnd" cmpd="sng" algn="ctr">
            <a:solidFill>
              <a:schemeClr val="accent2"/>
            </a:solidFill>
            <a:prstDash val="solid"/>
            <a:round/>
          </a:ln>
          <a:effectLst/>
        </p:spPr>
      </p:cxnSp>
      <p:grpSp>
        <p:nvGrpSpPr>
          <p:cNvPr id="142" name="Gruppieren 103">
            <a:extLst>
              <a:ext uri="{FF2B5EF4-FFF2-40B4-BE49-F238E27FC236}">
                <a16:creationId xmlns:a16="http://schemas.microsoft.com/office/drawing/2014/main" id="{DA857927-56F9-DA4F-B647-A13CE860BA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3179" y="4768528"/>
            <a:ext cx="52207" cy="12285"/>
            <a:chOff x="10272713" y="2805113"/>
            <a:chExt cx="134938" cy="31750"/>
          </a:xfrm>
        </p:grpSpPr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502F90A8-6ACE-7047-818F-80EC90BF1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3686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A9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5" name="Freeform 17">
              <a:extLst>
                <a:ext uri="{FF2B5EF4-FFF2-40B4-BE49-F238E27FC236}">
                  <a16:creationId xmlns:a16="http://schemas.microsoft.com/office/drawing/2014/main" id="{7B023C4C-2ABE-CE4B-8395-C8941BE7F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0511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A4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145" name="Rechteck 92">
            <a:extLst>
              <a:ext uri="{FF2B5EF4-FFF2-40B4-BE49-F238E27FC236}">
                <a16:creationId xmlns:a16="http://schemas.microsoft.com/office/drawing/2014/main" id="{F6C4359E-4567-A44C-ADCB-1BA7E0E0F9E2}"/>
              </a:ext>
            </a:extLst>
          </p:cNvPr>
          <p:cNvSpPr/>
          <p:nvPr userDrawn="1"/>
        </p:nvSpPr>
        <p:spPr>
          <a:xfrm>
            <a:off x="506500" y="1990516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  <a:ea typeface="ＭＳ Ｐゴシック" charset="0"/>
                <a:cs typeface="ＭＳ Ｐゴシック" charset="0"/>
              </a:rPr>
              <a:t>Accounting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4FC7C2E-45FD-E74F-8CCA-DC7638C56CC1}"/>
              </a:ext>
            </a:extLst>
          </p:cNvPr>
          <p:cNvSpPr txBox="1"/>
          <p:nvPr userDrawn="1"/>
        </p:nvSpPr>
        <p:spPr>
          <a:xfrm>
            <a:off x="5156731" y="4254245"/>
            <a:ext cx="1279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Strategic Insight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FF2A138-E01C-CA48-91D1-98E584C991C2}"/>
              </a:ext>
            </a:extLst>
          </p:cNvPr>
          <p:cNvSpPr txBox="1"/>
          <p:nvPr userDrawn="1"/>
        </p:nvSpPr>
        <p:spPr>
          <a:xfrm>
            <a:off x="4959652" y="2800012"/>
            <a:ext cx="16740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Transaction Volumes</a:t>
            </a:r>
          </a:p>
        </p:txBody>
      </p:sp>
      <p:pic>
        <p:nvPicPr>
          <p:cNvPr id="148" name="Picture 39">
            <a:extLst>
              <a:ext uri="{FF2B5EF4-FFF2-40B4-BE49-F238E27FC236}">
                <a16:creationId xmlns:a16="http://schemas.microsoft.com/office/drawing/2014/main" id="{79381892-386A-4D4E-ADDD-B988EFB699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551166" y="3016187"/>
            <a:ext cx="1220825" cy="1220825"/>
          </a:xfrm>
          <a:prstGeom prst="rect">
            <a:avLst/>
          </a:prstGeom>
        </p:spPr>
      </p:pic>
      <p:pic>
        <p:nvPicPr>
          <p:cNvPr id="149" name="Picture 40">
            <a:extLst>
              <a:ext uri="{FF2B5EF4-FFF2-40B4-BE49-F238E27FC236}">
                <a16:creationId xmlns:a16="http://schemas.microsoft.com/office/drawing/2014/main" id="{E3404E7D-4FE5-DA40-A824-D31E34C425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961668" y="3072740"/>
            <a:ext cx="1005059" cy="1005059"/>
          </a:xfrm>
          <a:prstGeom prst="rect">
            <a:avLst/>
          </a:prstGeom>
        </p:spPr>
      </p:pic>
      <p:pic>
        <p:nvPicPr>
          <p:cNvPr id="150" name="Picture 41">
            <a:extLst>
              <a:ext uri="{FF2B5EF4-FFF2-40B4-BE49-F238E27FC236}">
                <a16:creationId xmlns:a16="http://schemas.microsoft.com/office/drawing/2014/main" id="{14E4052B-BE8C-804D-B7B3-640785F943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190169" y="2246139"/>
            <a:ext cx="1100782" cy="237768"/>
          </a:xfrm>
          <a:prstGeom prst="rect">
            <a:avLst/>
          </a:prstGeom>
        </p:spPr>
      </p:pic>
      <p:sp>
        <p:nvSpPr>
          <p:cNvPr id="151" name="Bogen 42">
            <a:extLst>
              <a:ext uri="{FF2B5EF4-FFF2-40B4-BE49-F238E27FC236}">
                <a16:creationId xmlns:a16="http://schemas.microsoft.com/office/drawing/2014/main" id="{D48D6D2B-DBC1-564D-A681-667119BD5F6E}"/>
              </a:ext>
            </a:extLst>
          </p:cNvPr>
          <p:cNvSpPr/>
          <p:nvPr userDrawn="1"/>
        </p:nvSpPr>
        <p:spPr bwMode="gray">
          <a:xfrm rot="16200000">
            <a:off x="4700572" y="2851063"/>
            <a:ext cx="2102497" cy="2087619"/>
          </a:xfrm>
          <a:prstGeom prst="arc">
            <a:avLst>
              <a:gd name="adj1" fmla="val 7163904"/>
              <a:gd name="adj2" fmla="val 13964759"/>
            </a:avLst>
          </a:prstGeom>
          <a:noFill/>
          <a:ln w="15875">
            <a:solidFill>
              <a:schemeClr val="accent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2" name="Bogen 40">
            <a:extLst>
              <a:ext uri="{FF2B5EF4-FFF2-40B4-BE49-F238E27FC236}">
                <a16:creationId xmlns:a16="http://schemas.microsoft.com/office/drawing/2014/main" id="{CDC8DE82-6592-E24D-9458-D291DC321982}"/>
              </a:ext>
            </a:extLst>
          </p:cNvPr>
          <p:cNvSpPr/>
          <p:nvPr userDrawn="1"/>
        </p:nvSpPr>
        <p:spPr bwMode="gray">
          <a:xfrm rot="16200000">
            <a:off x="4700572" y="2701960"/>
            <a:ext cx="2102497" cy="2087619"/>
          </a:xfrm>
          <a:prstGeom prst="arc">
            <a:avLst>
              <a:gd name="adj1" fmla="val 18479587"/>
              <a:gd name="adj2" fmla="val 3491434"/>
            </a:avLst>
          </a:prstGeom>
          <a:noFill/>
          <a:ln w="15875">
            <a:solidFill>
              <a:schemeClr val="accent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" name="Bogen 43">
            <a:extLst>
              <a:ext uri="{FF2B5EF4-FFF2-40B4-BE49-F238E27FC236}">
                <a16:creationId xmlns:a16="http://schemas.microsoft.com/office/drawing/2014/main" id="{FEF3B430-2C87-E046-B837-7D261BF8DFF1}"/>
              </a:ext>
            </a:extLst>
          </p:cNvPr>
          <p:cNvSpPr/>
          <p:nvPr userDrawn="1"/>
        </p:nvSpPr>
        <p:spPr bwMode="gray">
          <a:xfrm rot="16200000">
            <a:off x="2078372" y="1892210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4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030966C-91A1-0145-B372-E28E5D61CA08}"/>
              </a:ext>
            </a:extLst>
          </p:cNvPr>
          <p:cNvGrpSpPr/>
          <p:nvPr userDrawn="1"/>
        </p:nvGrpSpPr>
        <p:grpSpPr>
          <a:xfrm>
            <a:off x="2764533" y="5257340"/>
            <a:ext cx="640080" cy="640080"/>
            <a:chOff x="2624929" y="5201499"/>
            <a:chExt cx="640080" cy="640080"/>
          </a:xfrm>
        </p:grpSpPr>
        <p:sp>
          <p:nvSpPr>
            <p:cNvPr id="182" name="Ellipse 132">
              <a:extLst>
                <a:ext uri="{FF2B5EF4-FFF2-40B4-BE49-F238E27FC236}">
                  <a16:creationId xmlns:a16="http://schemas.microsoft.com/office/drawing/2014/main" id="{D5185C45-A7C9-884E-91AE-B2B712C9940B}"/>
                </a:ext>
              </a:extLst>
            </p:cNvPr>
            <p:cNvSpPr/>
            <p:nvPr/>
          </p:nvSpPr>
          <p:spPr bwMode="gray">
            <a:xfrm rot="16200000">
              <a:off x="2624929" y="5201499"/>
              <a:ext cx="640080" cy="640080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83" name="Picture 47">
              <a:extLst>
                <a:ext uri="{FF2B5EF4-FFF2-40B4-BE49-F238E27FC236}">
                  <a16:creationId xmlns:a16="http://schemas.microsoft.com/office/drawing/2014/main" id="{CB5B086C-FCDF-1540-A3F9-18ECA3BC5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687751" y="5306291"/>
              <a:ext cx="466171" cy="466171"/>
            </a:xfrm>
            <a:prstGeom prst="rect">
              <a:avLst/>
            </a:prstGeom>
          </p:spPr>
        </p:pic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E59AD6E2-635C-7B48-B8EC-0D8D6D2B2A83}"/>
              </a:ext>
            </a:extLst>
          </p:cNvPr>
          <p:cNvGrpSpPr/>
          <p:nvPr userDrawn="1"/>
        </p:nvGrpSpPr>
        <p:grpSpPr>
          <a:xfrm>
            <a:off x="1999694" y="4489827"/>
            <a:ext cx="637271" cy="636991"/>
            <a:chOff x="1999694" y="4489827"/>
            <a:chExt cx="637271" cy="636991"/>
          </a:xfrm>
        </p:grpSpPr>
        <p:sp>
          <p:nvSpPr>
            <p:cNvPr id="180" name="Ellipse 132">
              <a:extLst>
                <a:ext uri="{FF2B5EF4-FFF2-40B4-BE49-F238E27FC236}">
                  <a16:creationId xmlns:a16="http://schemas.microsoft.com/office/drawing/2014/main" id="{40065096-0E98-CB43-87BC-88E27611E8D0}"/>
                </a:ext>
              </a:extLst>
            </p:cNvPr>
            <p:cNvSpPr/>
            <p:nvPr/>
          </p:nvSpPr>
          <p:spPr bwMode="gray">
            <a:xfrm rot="16200000">
              <a:off x="1999834" y="4489687"/>
              <a:ext cx="636991" cy="637271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81" name="Picture 50">
              <a:extLst>
                <a:ext uri="{FF2B5EF4-FFF2-40B4-BE49-F238E27FC236}">
                  <a16:creationId xmlns:a16="http://schemas.microsoft.com/office/drawing/2014/main" id="{BCAB3255-5635-5C48-98E2-D62F591FE8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2042462" y="4549389"/>
              <a:ext cx="507620" cy="507620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23EB011-CB3D-674A-82A4-EC716F190837}"/>
              </a:ext>
            </a:extLst>
          </p:cNvPr>
          <p:cNvGrpSpPr/>
          <p:nvPr userDrawn="1"/>
        </p:nvGrpSpPr>
        <p:grpSpPr>
          <a:xfrm>
            <a:off x="1719600" y="3473659"/>
            <a:ext cx="640080" cy="640080"/>
            <a:chOff x="1719600" y="3473659"/>
            <a:chExt cx="640080" cy="640080"/>
          </a:xfrm>
        </p:grpSpPr>
        <p:sp>
          <p:nvSpPr>
            <p:cNvPr id="178" name="Ellipse 120">
              <a:extLst>
                <a:ext uri="{FF2B5EF4-FFF2-40B4-BE49-F238E27FC236}">
                  <a16:creationId xmlns:a16="http://schemas.microsoft.com/office/drawing/2014/main" id="{064E03F2-A2AE-084C-8C15-0306AE7B2580}"/>
                </a:ext>
              </a:extLst>
            </p:cNvPr>
            <p:cNvSpPr/>
            <p:nvPr/>
          </p:nvSpPr>
          <p:spPr bwMode="gray">
            <a:xfrm rot="16200000">
              <a:off x="1719600" y="3473659"/>
              <a:ext cx="640080" cy="640080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79" name="Picture 53">
              <a:extLst>
                <a:ext uri="{FF2B5EF4-FFF2-40B4-BE49-F238E27FC236}">
                  <a16:creationId xmlns:a16="http://schemas.microsoft.com/office/drawing/2014/main" id="{3836DB8C-B0A3-CE4A-88CD-E8399E8D1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770272" y="3536025"/>
              <a:ext cx="529093" cy="529093"/>
            </a:xfrm>
            <a:prstGeom prst="rect">
              <a:avLst/>
            </a:prstGeom>
          </p:spPr>
        </p:pic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AC5D2E8-FA2A-2F46-90A8-527FA3FCDB1D}"/>
              </a:ext>
            </a:extLst>
          </p:cNvPr>
          <p:cNvGrpSpPr/>
          <p:nvPr userDrawn="1"/>
        </p:nvGrpSpPr>
        <p:grpSpPr>
          <a:xfrm>
            <a:off x="1999694" y="2499322"/>
            <a:ext cx="637271" cy="636991"/>
            <a:chOff x="1999694" y="2534222"/>
            <a:chExt cx="637271" cy="636991"/>
          </a:xfrm>
        </p:grpSpPr>
        <p:sp>
          <p:nvSpPr>
            <p:cNvPr id="176" name="Ellipse 132">
              <a:extLst>
                <a:ext uri="{FF2B5EF4-FFF2-40B4-BE49-F238E27FC236}">
                  <a16:creationId xmlns:a16="http://schemas.microsoft.com/office/drawing/2014/main" id="{941885E5-5D00-1D4D-A2B1-3D8C73C1AAB2}"/>
                </a:ext>
              </a:extLst>
            </p:cNvPr>
            <p:cNvSpPr/>
            <p:nvPr/>
          </p:nvSpPr>
          <p:spPr bwMode="gray">
            <a:xfrm rot="16200000">
              <a:off x="1999834" y="2534082"/>
              <a:ext cx="636991" cy="637271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77" name="Picture 56">
              <a:extLst>
                <a:ext uri="{FF2B5EF4-FFF2-40B4-BE49-F238E27FC236}">
                  <a16:creationId xmlns:a16="http://schemas.microsoft.com/office/drawing/2014/main" id="{EFC7EE89-1109-A844-A1AC-6C75C5FA6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2085843" y="2633217"/>
              <a:ext cx="462961" cy="462961"/>
            </a:xfrm>
            <a:prstGeom prst="rect">
              <a:avLst/>
            </a:prstGeom>
          </p:spPr>
        </p:pic>
      </p:grpSp>
      <p:sp>
        <p:nvSpPr>
          <p:cNvPr id="158" name="Ellipse 132">
            <a:extLst>
              <a:ext uri="{FF2B5EF4-FFF2-40B4-BE49-F238E27FC236}">
                <a16:creationId xmlns:a16="http://schemas.microsoft.com/office/drawing/2014/main" id="{1755CA0C-C7DE-8448-92EA-BBE1C073DF8F}"/>
              </a:ext>
            </a:extLst>
          </p:cNvPr>
          <p:cNvSpPr/>
          <p:nvPr userDrawn="1"/>
        </p:nvSpPr>
        <p:spPr bwMode="gray">
          <a:xfrm rot="16200000">
            <a:off x="2812231" y="1801002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4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9" name="Picture 58">
            <a:extLst>
              <a:ext uri="{FF2B5EF4-FFF2-40B4-BE49-F238E27FC236}">
                <a16:creationId xmlns:a16="http://schemas.microsoft.com/office/drawing/2014/main" id="{45D18230-E63D-C04F-9ACD-9AA6EB0D9BF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2861017" y="1855383"/>
            <a:ext cx="541228" cy="541228"/>
          </a:xfrm>
          <a:prstGeom prst="rect">
            <a:avLst/>
          </a:prstGeom>
        </p:spPr>
      </p:pic>
      <p:sp>
        <p:nvSpPr>
          <p:cNvPr id="160" name="Bogen 43">
            <a:extLst>
              <a:ext uri="{FF2B5EF4-FFF2-40B4-BE49-F238E27FC236}">
                <a16:creationId xmlns:a16="http://schemas.microsoft.com/office/drawing/2014/main" id="{C1EAEB58-B40E-3547-9664-8D187266D66E}"/>
              </a:ext>
            </a:extLst>
          </p:cNvPr>
          <p:cNvSpPr/>
          <p:nvPr userDrawn="1"/>
        </p:nvSpPr>
        <p:spPr bwMode="gray">
          <a:xfrm rot="5400000" flipH="1">
            <a:off x="5732900" y="1891046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1" name="Ellipse 132">
            <a:extLst>
              <a:ext uri="{FF2B5EF4-FFF2-40B4-BE49-F238E27FC236}">
                <a16:creationId xmlns:a16="http://schemas.microsoft.com/office/drawing/2014/main" id="{690C11F0-9729-B945-B4E0-3402EA088C51}"/>
              </a:ext>
            </a:extLst>
          </p:cNvPr>
          <p:cNvSpPr/>
          <p:nvPr userDrawn="1"/>
        </p:nvSpPr>
        <p:spPr bwMode="gray">
          <a:xfrm rot="5400000" flipH="1">
            <a:off x="8375259" y="5256176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2" name="Ellipse 132">
            <a:extLst>
              <a:ext uri="{FF2B5EF4-FFF2-40B4-BE49-F238E27FC236}">
                <a16:creationId xmlns:a16="http://schemas.microsoft.com/office/drawing/2014/main" id="{1C9011F1-7A5A-D442-9B8F-060713748E4D}"/>
              </a:ext>
            </a:extLst>
          </p:cNvPr>
          <p:cNvSpPr/>
          <p:nvPr userDrawn="1"/>
        </p:nvSpPr>
        <p:spPr bwMode="gray">
          <a:xfrm rot="5400000" flipH="1">
            <a:off x="9143047" y="4488523"/>
            <a:ext cx="636991" cy="637271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3" name="Ellipse 120">
            <a:extLst>
              <a:ext uri="{FF2B5EF4-FFF2-40B4-BE49-F238E27FC236}">
                <a16:creationId xmlns:a16="http://schemas.microsoft.com/office/drawing/2014/main" id="{FD5AC648-E882-3B42-B4EB-646845653DB2}"/>
              </a:ext>
            </a:extLst>
          </p:cNvPr>
          <p:cNvSpPr/>
          <p:nvPr userDrawn="1"/>
        </p:nvSpPr>
        <p:spPr bwMode="gray">
          <a:xfrm rot="5400000" flipH="1">
            <a:off x="9420192" y="3472495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4" name="Ellipse 132">
            <a:extLst>
              <a:ext uri="{FF2B5EF4-FFF2-40B4-BE49-F238E27FC236}">
                <a16:creationId xmlns:a16="http://schemas.microsoft.com/office/drawing/2014/main" id="{4654AE05-4C33-D740-B004-C8B359DCBBCB}"/>
              </a:ext>
            </a:extLst>
          </p:cNvPr>
          <p:cNvSpPr/>
          <p:nvPr userDrawn="1"/>
        </p:nvSpPr>
        <p:spPr bwMode="gray">
          <a:xfrm rot="5400000" flipH="1">
            <a:off x="9143047" y="2498018"/>
            <a:ext cx="636991" cy="637271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5" name="Ellipse 132">
            <a:extLst>
              <a:ext uri="{FF2B5EF4-FFF2-40B4-BE49-F238E27FC236}">
                <a16:creationId xmlns:a16="http://schemas.microsoft.com/office/drawing/2014/main" id="{ACB6107B-0E72-5D44-91E5-39A8B5383591}"/>
              </a:ext>
            </a:extLst>
          </p:cNvPr>
          <p:cNvSpPr/>
          <p:nvPr userDrawn="1"/>
        </p:nvSpPr>
        <p:spPr bwMode="gray">
          <a:xfrm rot="5400000" flipH="1">
            <a:off x="8327561" y="1799838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6" name="TextBox 8">
            <a:extLst>
              <a:ext uri="{FF2B5EF4-FFF2-40B4-BE49-F238E27FC236}">
                <a16:creationId xmlns:a16="http://schemas.microsoft.com/office/drawing/2014/main" id="{F69DE359-E6B4-D045-A642-F77B8FDADABC}"/>
              </a:ext>
            </a:extLst>
          </p:cNvPr>
          <p:cNvSpPr txBox="1"/>
          <p:nvPr userDrawn="1"/>
        </p:nvSpPr>
        <p:spPr>
          <a:xfrm>
            <a:off x="9893298" y="4699084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Planning</a:t>
            </a:r>
          </a:p>
        </p:txBody>
      </p:sp>
      <p:sp>
        <p:nvSpPr>
          <p:cNvPr id="167" name="TextBox 8">
            <a:extLst>
              <a:ext uri="{FF2B5EF4-FFF2-40B4-BE49-F238E27FC236}">
                <a16:creationId xmlns:a16="http://schemas.microsoft.com/office/drawing/2014/main" id="{DF0DA8EE-A15E-DE41-99D9-D197954AB5C4}"/>
              </a:ext>
            </a:extLst>
          </p:cNvPr>
          <p:cNvSpPr txBox="1"/>
          <p:nvPr userDrawn="1"/>
        </p:nvSpPr>
        <p:spPr>
          <a:xfrm>
            <a:off x="10189859" y="3664768"/>
            <a:ext cx="176016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Data Management</a:t>
            </a:r>
          </a:p>
        </p:txBody>
      </p:sp>
      <p:sp>
        <p:nvSpPr>
          <p:cNvPr id="168" name="TextBox 8">
            <a:extLst>
              <a:ext uri="{FF2B5EF4-FFF2-40B4-BE49-F238E27FC236}">
                <a16:creationId xmlns:a16="http://schemas.microsoft.com/office/drawing/2014/main" id="{C2E04D37-EF54-8446-8923-86432AA0E74A}"/>
              </a:ext>
            </a:extLst>
          </p:cNvPr>
          <p:cNvSpPr txBox="1"/>
          <p:nvPr userDrawn="1"/>
        </p:nvSpPr>
        <p:spPr>
          <a:xfrm>
            <a:off x="9124497" y="5463106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Global Transparency</a:t>
            </a:r>
          </a:p>
        </p:txBody>
      </p:sp>
      <p:sp>
        <p:nvSpPr>
          <p:cNvPr id="169" name="Rechteck 92">
            <a:extLst>
              <a:ext uri="{FF2B5EF4-FFF2-40B4-BE49-F238E27FC236}">
                <a16:creationId xmlns:a16="http://schemas.microsoft.com/office/drawing/2014/main" id="{43AF0627-EC88-8844-BDAD-76A1670E7D25}"/>
              </a:ext>
            </a:extLst>
          </p:cNvPr>
          <p:cNvSpPr/>
          <p:nvPr userDrawn="1"/>
        </p:nvSpPr>
        <p:spPr>
          <a:xfrm>
            <a:off x="9893298" y="2674490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  <a:ea typeface="ＭＳ Ｐゴシック" charset="0"/>
                <a:cs typeface="ＭＳ Ｐゴシック" charset="0"/>
              </a:rPr>
              <a:t>Audit</a:t>
            </a:r>
          </a:p>
        </p:txBody>
      </p:sp>
      <p:sp>
        <p:nvSpPr>
          <p:cNvPr id="170" name="Rechteck 92">
            <a:extLst>
              <a:ext uri="{FF2B5EF4-FFF2-40B4-BE49-F238E27FC236}">
                <a16:creationId xmlns:a16="http://schemas.microsoft.com/office/drawing/2014/main" id="{37F87F77-48EE-D24E-89A0-29F7F4E6CF92}"/>
              </a:ext>
            </a:extLst>
          </p:cNvPr>
          <p:cNvSpPr/>
          <p:nvPr userDrawn="1"/>
        </p:nvSpPr>
        <p:spPr>
          <a:xfrm>
            <a:off x="9124497" y="1989352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Real-time Reporting</a:t>
            </a:r>
          </a:p>
        </p:txBody>
      </p:sp>
      <p:pic>
        <p:nvPicPr>
          <p:cNvPr id="171" name="Picture 70">
            <a:extLst>
              <a:ext uri="{FF2B5EF4-FFF2-40B4-BE49-F238E27FC236}">
                <a16:creationId xmlns:a16="http://schemas.microsoft.com/office/drawing/2014/main" id="{21F1B6C6-B57A-E449-ACB1-8CC3291EA09F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8457048" y="1863482"/>
            <a:ext cx="494597" cy="494597"/>
          </a:xfrm>
          <a:prstGeom prst="rect">
            <a:avLst/>
          </a:prstGeom>
        </p:spPr>
      </p:pic>
      <p:pic>
        <p:nvPicPr>
          <p:cNvPr id="172" name="Picture 71">
            <a:extLst>
              <a:ext uri="{FF2B5EF4-FFF2-40B4-BE49-F238E27FC236}">
                <a16:creationId xmlns:a16="http://schemas.microsoft.com/office/drawing/2014/main" id="{E4FCB152-E22E-CC46-90F5-4658F53A5BD6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9504615" y="3544396"/>
            <a:ext cx="483517" cy="483517"/>
          </a:xfrm>
          <a:prstGeom prst="rect">
            <a:avLst/>
          </a:prstGeom>
        </p:spPr>
      </p:pic>
      <p:pic>
        <p:nvPicPr>
          <p:cNvPr id="173" name="Picture 72">
            <a:extLst>
              <a:ext uri="{FF2B5EF4-FFF2-40B4-BE49-F238E27FC236}">
                <a16:creationId xmlns:a16="http://schemas.microsoft.com/office/drawing/2014/main" id="{C28B65EB-D0DF-CF46-AC26-7CE160B63A62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480444" y="5351779"/>
            <a:ext cx="448874" cy="4488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Picture 73">
            <a:extLst>
              <a:ext uri="{FF2B5EF4-FFF2-40B4-BE49-F238E27FC236}">
                <a16:creationId xmlns:a16="http://schemas.microsoft.com/office/drawing/2014/main" id="{D3546D1B-ACD3-8441-B08E-C8CC0A70DEBB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9321910" y="2616060"/>
            <a:ext cx="412836" cy="390641"/>
          </a:xfrm>
          <a:prstGeom prst="rect">
            <a:avLst/>
          </a:prstGeom>
        </p:spPr>
      </p:pic>
      <p:pic>
        <p:nvPicPr>
          <p:cNvPr id="175" name="Picture 74">
            <a:extLst>
              <a:ext uri="{FF2B5EF4-FFF2-40B4-BE49-F238E27FC236}">
                <a16:creationId xmlns:a16="http://schemas.microsoft.com/office/drawing/2014/main" id="{A54E844D-5E20-8649-9F9C-8FBBB3661F1B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9147047" y="4485687"/>
            <a:ext cx="642161" cy="642161"/>
          </a:xfrm>
          <a:prstGeom prst="rect">
            <a:avLst/>
          </a:prstGeom>
        </p:spPr>
      </p:pic>
      <p:sp>
        <p:nvSpPr>
          <p:cNvPr id="193" name="Rechteck 170">
            <a:extLst>
              <a:ext uri="{FF2B5EF4-FFF2-40B4-BE49-F238E27FC236}">
                <a16:creationId xmlns:a16="http://schemas.microsoft.com/office/drawing/2014/main" id="{E4A9F646-2378-FF49-BBE9-4FA6B3B1F268}"/>
              </a:ext>
            </a:extLst>
          </p:cNvPr>
          <p:cNvSpPr/>
          <p:nvPr userDrawn="1"/>
        </p:nvSpPr>
        <p:spPr>
          <a:xfrm>
            <a:off x="6869670" y="4158933"/>
            <a:ext cx="1206771" cy="234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chemeClr val="accent2"/>
                </a:solidFill>
                <a:latin typeface="Calibri"/>
                <a:ea typeface="ＭＳ Ｐゴシック" charset="0"/>
                <a:cs typeface="ＭＳ Ｐゴシック" charset="0"/>
              </a:rPr>
              <a:t>COMPLIANCE</a:t>
            </a:r>
          </a:p>
        </p:txBody>
      </p:sp>
      <p:sp>
        <p:nvSpPr>
          <p:cNvPr id="194" name="Rechteck 171">
            <a:extLst>
              <a:ext uri="{FF2B5EF4-FFF2-40B4-BE49-F238E27FC236}">
                <a16:creationId xmlns:a16="http://schemas.microsoft.com/office/drawing/2014/main" id="{FE71082A-B277-CB4C-81EB-95959FDEF035}"/>
              </a:ext>
            </a:extLst>
          </p:cNvPr>
          <p:cNvSpPr/>
          <p:nvPr userDrawn="1"/>
        </p:nvSpPr>
        <p:spPr>
          <a:xfrm>
            <a:off x="3155467" y="4144460"/>
            <a:ext cx="2045779" cy="263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rgbClr val="6FD44E"/>
                </a:solidFill>
                <a:latin typeface="Calibri"/>
                <a:ea typeface="ＭＳ Ｐゴシック" charset="0"/>
                <a:cs typeface="ＭＳ Ｐゴシック" charset="0"/>
              </a:rPr>
              <a:t>COMMERCE</a:t>
            </a:r>
          </a:p>
        </p:txBody>
      </p:sp>
    </p:spTree>
    <p:extLst>
      <p:ext uri="{BB962C8B-B14F-4D97-AF65-F5344CB8AC3E}">
        <p14:creationId xmlns:p14="http://schemas.microsoft.com/office/powerpoint/2010/main" val="4440626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g and differentiated capabili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EA9DC0-188C-6B45-8927-0AC670A2C3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6012" t="4829" r="5991" b="19317"/>
          <a:stretch/>
        </p:blipFill>
        <p:spPr>
          <a:xfrm rot="630688">
            <a:off x="3937000" y="2143377"/>
            <a:ext cx="3949700" cy="3949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20B068-BE0C-CC41-B7AF-AABC10B1E5BF}"/>
              </a:ext>
            </a:extLst>
          </p:cNvPr>
          <p:cNvSpPr txBox="1"/>
          <p:nvPr userDrawn="1"/>
        </p:nvSpPr>
        <p:spPr>
          <a:xfrm>
            <a:off x="1549480" y="1673189"/>
            <a:ext cx="8744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4"/>
                </a:solidFill>
              </a:rPr>
              <a:t>MULTI-TAX TYPES </a:t>
            </a:r>
            <a:r>
              <a:rPr lang="en-US" sz="1600"/>
              <a:t>integrated</a:t>
            </a:r>
            <a:r>
              <a:rPr lang="en-US" sz="1600" b="1"/>
              <a:t> </a:t>
            </a:r>
            <a:r>
              <a:rPr lang="en-US" sz="1600"/>
              <a:t>on a single platform and data model to centralize global tax oper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F7988A-EDB3-C74F-9170-11544470617E}"/>
              </a:ext>
            </a:extLst>
          </p:cNvPr>
          <p:cNvSpPr txBox="1"/>
          <p:nvPr userDrawn="1"/>
        </p:nvSpPr>
        <p:spPr>
          <a:xfrm>
            <a:off x="748322" y="5020137"/>
            <a:ext cx="29793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8F8F8F"/>
                </a:solidFill>
              </a:rPr>
              <a:t>MULTI-CLOUD</a:t>
            </a:r>
            <a:r>
              <a:rPr lang="en-US" sz="1600" b="1"/>
              <a:t> </a:t>
            </a:r>
            <a:r>
              <a:rPr lang="en-US" sz="1600"/>
              <a:t>delivery for rapid value and customer experi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5247F3-31BB-2344-B0AA-34FCF95DD030}"/>
              </a:ext>
            </a:extLst>
          </p:cNvPr>
          <p:cNvSpPr txBox="1"/>
          <p:nvPr userDrawn="1"/>
        </p:nvSpPr>
        <p:spPr>
          <a:xfrm>
            <a:off x="8028258" y="2490491"/>
            <a:ext cx="38134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6"/>
                </a:solidFill>
              </a:rPr>
              <a:t>GLOBAL CONTENT DATABASE </a:t>
            </a:r>
            <a:r>
              <a:rPr lang="en-US" sz="1600"/>
              <a:t>coverage across verticals, digital and physical goods to scale easily to support business growth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290B19-B6F5-2944-BA6F-891BACDDDEEE}"/>
              </a:ext>
            </a:extLst>
          </p:cNvPr>
          <p:cNvSpPr txBox="1"/>
          <p:nvPr userDrawn="1"/>
        </p:nvSpPr>
        <p:spPr>
          <a:xfrm>
            <a:off x="7870429" y="4996584"/>
            <a:ext cx="3470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/>
                </a:solidFill>
              </a:rPr>
              <a:t>ACCELERATORS</a:t>
            </a:r>
            <a:r>
              <a:rPr lang="en-US" sz="1600"/>
              <a:t> enable codeless configuration and native user experience for rapid time-to-benefi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73DF1D-835C-EE45-ABC2-5D53A5BDA0A9}"/>
              </a:ext>
            </a:extLst>
          </p:cNvPr>
          <p:cNvSpPr txBox="1"/>
          <p:nvPr userDrawn="1"/>
        </p:nvSpPr>
        <p:spPr>
          <a:xfrm>
            <a:off x="2102762" y="6255379"/>
            <a:ext cx="7507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MULTI-MODAL</a:t>
            </a:r>
            <a:r>
              <a:rPr lang="en-US" sz="1600" b="1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600"/>
              <a:t>support</a:t>
            </a:r>
            <a:r>
              <a:rPr lang="en-US" sz="1600" b="1"/>
              <a:t> </a:t>
            </a:r>
            <a:r>
              <a:rPr lang="en-US" sz="1600"/>
              <a:t>from mainframe to edge computing for deployment flexi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3C5E99-D835-4842-A629-B8CFCC28D6CD}"/>
              </a:ext>
            </a:extLst>
          </p:cNvPr>
          <p:cNvSpPr txBox="1"/>
          <p:nvPr userDrawn="1"/>
        </p:nvSpPr>
        <p:spPr>
          <a:xfrm>
            <a:off x="368300" y="2490491"/>
            <a:ext cx="34163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/>
              <a:t>Depth and breadth of </a:t>
            </a:r>
            <a:r>
              <a:rPr lang="en-US" sz="1600" b="1">
                <a:solidFill>
                  <a:schemeClr val="tx2"/>
                </a:solidFill>
              </a:rPr>
              <a:t>INTEGRATIONS</a:t>
            </a:r>
            <a:r>
              <a:rPr lang="en-US" sz="1600"/>
              <a:t> drives rapid time-to-benefit across core business process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C5FB423-EAB8-F34B-B63E-E7A637FAC762}"/>
              </a:ext>
            </a:extLst>
          </p:cNvPr>
          <p:cNvCxnSpPr>
            <a:cxnSpLocks/>
          </p:cNvCxnSpPr>
          <p:nvPr userDrawn="1"/>
        </p:nvCxnSpPr>
        <p:spPr>
          <a:xfrm>
            <a:off x="3683000" y="2994277"/>
            <a:ext cx="952500" cy="3175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17E248-4B54-3342-A6CC-24EA146A514D}"/>
              </a:ext>
            </a:extLst>
          </p:cNvPr>
          <p:cNvCxnSpPr>
            <a:cxnSpLocks/>
          </p:cNvCxnSpPr>
          <p:nvPr userDrawn="1"/>
        </p:nvCxnSpPr>
        <p:spPr>
          <a:xfrm>
            <a:off x="7226300" y="5000877"/>
            <a:ext cx="914400" cy="1651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7DD8C74-6875-8341-B742-76013FA75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7366000" y="2820106"/>
            <a:ext cx="718457" cy="45357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A9D2FD-3D49-7548-B23D-63BF7419D740}"/>
              </a:ext>
            </a:extLst>
          </p:cNvPr>
          <p:cNvCxnSpPr>
            <a:cxnSpLocks/>
          </p:cNvCxnSpPr>
          <p:nvPr userDrawn="1"/>
        </p:nvCxnSpPr>
        <p:spPr>
          <a:xfrm flipV="1">
            <a:off x="2730500" y="4607177"/>
            <a:ext cx="1663700" cy="3683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D29FA11-E53A-364D-89A4-99B6685C0970}"/>
              </a:ext>
            </a:extLst>
          </p:cNvPr>
          <p:cNvCxnSpPr>
            <a:cxnSpLocks/>
          </p:cNvCxnSpPr>
          <p:nvPr userDrawn="1"/>
        </p:nvCxnSpPr>
        <p:spPr>
          <a:xfrm>
            <a:off x="5921830" y="1992794"/>
            <a:ext cx="0" cy="449943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C26B32-ED63-7C46-B242-C8BC6D414C6A}"/>
              </a:ext>
            </a:extLst>
          </p:cNvPr>
          <p:cNvCxnSpPr>
            <a:cxnSpLocks/>
          </p:cNvCxnSpPr>
          <p:nvPr userDrawn="1"/>
        </p:nvCxnSpPr>
        <p:spPr>
          <a:xfrm>
            <a:off x="5856515" y="5759250"/>
            <a:ext cx="0" cy="449943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>
            <a:extLst>
              <a:ext uri="{FF2B5EF4-FFF2-40B4-BE49-F238E27FC236}">
                <a16:creationId xmlns:a16="http://schemas.microsoft.com/office/drawing/2014/main" id="{D8B923F6-DE25-0C44-9E3E-6E2653A1C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8839"/>
          <a:stretch/>
        </p:blipFill>
        <p:spPr>
          <a:xfrm>
            <a:off x="5334000" y="3487908"/>
            <a:ext cx="1235000" cy="1260637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977656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Strong and differentiated capabilities to accelerate commerce</a:t>
            </a:r>
          </a:p>
        </p:txBody>
      </p:sp>
    </p:spTree>
    <p:extLst>
      <p:ext uri="{BB962C8B-B14F-4D97-AF65-F5344CB8AC3E}">
        <p14:creationId xmlns:p14="http://schemas.microsoft.com/office/powerpoint/2010/main" val="7796125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ly-integrated ecosyste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7" y="264067"/>
            <a:ext cx="10995761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Deeply-integrated ecosystem with unparalleled scale on the platforms that power global commer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D1782FE-6A3E-3448-B4CE-87636591EB90}"/>
              </a:ext>
            </a:extLst>
          </p:cNvPr>
          <p:cNvGrpSpPr/>
          <p:nvPr userDrawn="1"/>
        </p:nvGrpSpPr>
        <p:grpSpPr>
          <a:xfrm>
            <a:off x="2879994" y="5124831"/>
            <a:ext cx="1451962" cy="304367"/>
            <a:chOff x="5398589" y="6044226"/>
            <a:chExt cx="730732" cy="145483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394BBAB-B259-3844-95AE-A20CD506E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5051" t="22284" r="10808" b="22284"/>
            <a:stretch/>
          </p:blipFill>
          <p:spPr>
            <a:xfrm>
              <a:off x="5686259" y="6044226"/>
              <a:ext cx="443062" cy="14548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C16484D-754C-ED43-95EA-CFF20249B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8589" y="6044226"/>
              <a:ext cx="297453" cy="145482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D8D0821C-8A2F-F54D-886E-876F974421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7325" b="27325"/>
          <a:stretch/>
        </p:blipFill>
        <p:spPr>
          <a:xfrm>
            <a:off x="5125078" y="4980401"/>
            <a:ext cx="1047122" cy="27739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15B4DE7-266A-EC4E-A8FA-4C3028A73E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549" t="14158" r="22549" b="14158"/>
          <a:stretch/>
        </p:blipFill>
        <p:spPr>
          <a:xfrm>
            <a:off x="2507366" y="3016233"/>
            <a:ext cx="545765" cy="51307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533BC1-ACDF-D846-9F22-64191F9710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37151" y="3936239"/>
            <a:ext cx="1029374" cy="7603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2FFC4E6-D083-EB44-9F87-E4EDE79DBEE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270775" y="1944109"/>
            <a:ext cx="964602" cy="40511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C545590-4E89-9A46-B9B7-609BEC1301F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12640" y="1846923"/>
            <a:ext cx="786670" cy="4051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5E9E8A3-9663-CA4E-B279-DB300624C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33174" b="34246"/>
          <a:stretch/>
        </p:blipFill>
        <p:spPr>
          <a:xfrm>
            <a:off x="1398227" y="2405465"/>
            <a:ext cx="1644272" cy="37533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3A72112-2CD9-CA4F-850B-7FE827DDE62C}"/>
              </a:ext>
            </a:extLst>
          </p:cNvPr>
          <p:cNvSpPr txBox="1"/>
          <p:nvPr userDrawn="1"/>
        </p:nvSpPr>
        <p:spPr>
          <a:xfrm rot="20667641">
            <a:off x="3516995" y="2837785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ER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186986-7E5D-5048-B9AF-8EFEA05562B5}"/>
              </a:ext>
            </a:extLst>
          </p:cNvPr>
          <p:cNvSpPr txBox="1"/>
          <p:nvPr userDrawn="1"/>
        </p:nvSpPr>
        <p:spPr>
          <a:xfrm rot="2520728">
            <a:off x="3325889" y="3809723"/>
            <a:ext cx="1386475" cy="78848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769572"/>
              </a:avLst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Procur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5606EB-2BCA-BB4C-B876-76EB348D13D2}"/>
              </a:ext>
            </a:extLst>
          </p:cNvPr>
          <p:cNvSpPr txBox="1"/>
          <p:nvPr userDrawn="1"/>
        </p:nvSpPr>
        <p:spPr>
          <a:xfrm rot="17321933">
            <a:off x="3243074" y="3280765"/>
            <a:ext cx="851937" cy="298649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CR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8DAACB-71D5-404D-90B3-C0A65E6C136D}"/>
              </a:ext>
            </a:extLst>
          </p:cNvPr>
          <p:cNvSpPr txBox="1"/>
          <p:nvPr userDrawn="1"/>
        </p:nvSpPr>
        <p:spPr>
          <a:xfrm rot="20283180">
            <a:off x="4430945" y="4397832"/>
            <a:ext cx="1025970" cy="349388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Billing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6FBC3446-2788-3C45-92AA-6884285943B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091" y="4420487"/>
            <a:ext cx="1448423" cy="565873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F3E1ECEB-5318-6345-909D-8FFC7AB2218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657842" y="2844911"/>
            <a:ext cx="1756429" cy="1760308"/>
          </a:xfrm>
          <a:prstGeom prst="ellips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682" tIns="121024" rIns="80682" bIns="403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8FD8"/>
              </a:buClr>
            </a:pPr>
            <a:endParaRPr lang="en-US" sz="1059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6392D6E-BF04-0843-8F0C-94DEADF936E4}"/>
              </a:ext>
            </a:extLst>
          </p:cNvPr>
          <p:cNvGrpSpPr/>
          <p:nvPr userDrawn="1"/>
        </p:nvGrpSpPr>
        <p:grpSpPr>
          <a:xfrm>
            <a:off x="5579614" y="2381901"/>
            <a:ext cx="5674673" cy="323737"/>
            <a:chOff x="6334452" y="1382122"/>
            <a:chExt cx="4644085" cy="25163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606CEA8-1C53-4E42-B5A0-B1F9EB0F4782}"/>
                </a:ext>
              </a:extLst>
            </p:cNvPr>
            <p:cNvSpPr txBox="1"/>
            <p:nvPr/>
          </p:nvSpPr>
          <p:spPr>
            <a:xfrm>
              <a:off x="6334452" y="1424397"/>
              <a:ext cx="790854" cy="16745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2"/>
                  </a:solidFill>
                </a:rPr>
                <a:t>Digital goods</a:t>
              </a:r>
            </a:p>
          </p:txBody>
        </p:sp>
        <p:pic>
          <p:nvPicPr>
            <p:cNvPr id="40" name="Picture 8" descr="https://static.thenounproject.com/png/3266546-200.png">
              <a:extLst>
                <a:ext uri="{FF2B5EF4-FFF2-40B4-BE49-F238E27FC236}">
                  <a16:creationId xmlns:a16="http://schemas.microsoft.com/office/drawing/2014/main" id="{682C3598-BE1C-E04C-9F8F-96F01CBB9F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2702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10" descr="https://static.thenounproject.com/png/1501124-200.png">
              <a:extLst>
                <a:ext uri="{FF2B5EF4-FFF2-40B4-BE49-F238E27FC236}">
                  <a16:creationId xmlns:a16="http://schemas.microsoft.com/office/drawing/2014/main" id="{D88DA179-95CD-CB44-9134-D84BBD60C9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607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 descr="https://static.thenounproject.com/png/2716216-200.png">
              <a:extLst>
                <a:ext uri="{FF2B5EF4-FFF2-40B4-BE49-F238E27FC236}">
                  <a16:creationId xmlns:a16="http://schemas.microsoft.com/office/drawing/2014/main" id="{44F8EFAF-995E-044D-856F-C77DFD3C38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63760" y="1418975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4" descr="https://static.thenounproject.com/png/1831247-200.png">
              <a:extLst>
                <a:ext uri="{FF2B5EF4-FFF2-40B4-BE49-F238E27FC236}">
                  <a16:creationId xmlns:a16="http://schemas.microsoft.com/office/drawing/2014/main" id="{DD0455AE-1C6B-0E4A-A691-92DF4A6619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7576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6" descr="https://static.thenounproject.com/png/2024244-200.png">
              <a:extLst>
                <a:ext uri="{FF2B5EF4-FFF2-40B4-BE49-F238E27FC236}">
                  <a16:creationId xmlns:a16="http://schemas.microsoft.com/office/drawing/2014/main" id="{3AD3529F-45A5-324D-802B-8489D3E0B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580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8" descr="https://static.thenounproject.com/png/1735590-200.png">
              <a:extLst>
                <a:ext uri="{FF2B5EF4-FFF2-40B4-BE49-F238E27FC236}">
                  <a16:creationId xmlns:a16="http://schemas.microsoft.com/office/drawing/2014/main" id="{3505A0D3-48FB-2647-9DF7-FBB244167B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1101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0" descr="https://static.thenounproject.com/png/2594329-200.png">
              <a:extLst>
                <a:ext uri="{FF2B5EF4-FFF2-40B4-BE49-F238E27FC236}">
                  <a16:creationId xmlns:a16="http://schemas.microsoft.com/office/drawing/2014/main" id="{61BE550A-CEA3-DF40-91D0-A003A750D4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048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2" descr="https://static.thenounproject.com/png/2608176-200.png">
              <a:extLst>
                <a:ext uri="{FF2B5EF4-FFF2-40B4-BE49-F238E27FC236}">
                  <a16:creationId xmlns:a16="http://schemas.microsoft.com/office/drawing/2014/main" id="{EA8F95FB-5DE2-7F4B-B903-6D686917EB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2305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1AF72A1-B52D-AB49-948D-5908277298CA}"/>
                </a:ext>
              </a:extLst>
            </p:cNvPr>
            <p:cNvSpPr txBox="1"/>
            <p:nvPr/>
          </p:nvSpPr>
          <p:spPr>
            <a:xfrm>
              <a:off x="7354647" y="1447572"/>
              <a:ext cx="327970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Gaming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0D652CB-68B0-EF46-9480-DB4720256AEF}"/>
                </a:ext>
              </a:extLst>
            </p:cNvPr>
            <p:cNvSpPr txBox="1"/>
            <p:nvPr/>
          </p:nvSpPr>
          <p:spPr>
            <a:xfrm>
              <a:off x="8752501" y="1466045"/>
              <a:ext cx="253193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Music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F1F8AB-1219-FE46-868C-6489C472F529}"/>
              </a:ext>
            </a:extLst>
          </p:cNvPr>
          <p:cNvCxnSpPr>
            <a:cxnSpLocks/>
          </p:cNvCxnSpPr>
          <p:nvPr userDrawn="1"/>
        </p:nvCxnSpPr>
        <p:spPr>
          <a:xfrm>
            <a:off x="6732857" y="2136642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22151CA-72B5-9C4E-A2BC-8AF0FDFFDE51}"/>
              </a:ext>
            </a:extLst>
          </p:cNvPr>
          <p:cNvGrpSpPr/>
          <p:nvPr userDrawn="1"/>
        </p:nvGrpSpPr>
        <p:grpSpPr>
          <a:xfrm>
            <a:off x="5867400" y="3233529"/>
            <a:ext cx="4546440" cy="736753"/>
            <a:chOff x="5775076" y="1915537"/>
            <a:chExt cx="4546440" cy="736753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81DAED0-5BD3-0541-91B9-C7EA85E0D9A8}"/>
                </a:ext>
              </a:extLst>
            </p:cNvPr>
            <p:cNvGrpSpPr/>
            <p:nvPr/>
          </p:nvGrpSpPr>
          <p:grpSpPr>
            <a:xfrm>
              <a:off x="5775076" y="2010780"/>
              <a:ext cx="4546440" cy="430253"/>
              <a:chOff x="7046290" y="2064472"/>
              <a:chExt cx="3720755" cy="334423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B84BA2DF-522B-6642-914B-6FBFCEB64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088806" y="2075714"/>
                <a:ext cx="1111102" cy="323181"/>
              </a:xfrm>
              <a:prstGeom prst="rect">
                <a:avLst/>
              </a:prstGeom>
            </p:spPr>
          </p:pic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9E314C03-C9E3-0541-A2D9-C1C04528B31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1"/>
              <a:srcRect l="8785" t="27066" r="8785" b="36872"/>
              <a:stretch/>
            </p:blipFill>
            <p:spPr>
              <a:xfrm>
                <a:off x="9288721" y="2064472"/>
                <a:ext cx="1478324" cy="327421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AEB6A5EC-DD92-7E41-9235-0209C5782D81}"/>
                  </a:ext>
                </a:extLst>
              </p:cNvPr>
              <p:cNvSpPr txBox="1"/>
              <p:nvPr/>
            </p:nvSpPr>
            <p:spPr>
              <a:xfrm>
                <a:off x="7046290" y="2205836"/>
                <a:ext cx="754121" cy="16745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accent2"/>
                    </a:solidFill>
                  </a:rPr>
                  <a:t>E-commerce</a:t>
                </a:r>
              </a:p>
            </p:txBody>
          </p: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DEC3F70-7698-AB40-9A09-E6F9B996C957}"/>
                </a:ext>
              </a:extLst>
            </p:cNvPr>
            <p:cNvCxnSpPr>
              <a:cxnSpLocks/>
            </p:cNvCxnSpPr>
            <p:nvPr/>
          </p:nvCxnSpPr>
          <p:spPr>
            <a:xfrm>
              <a:off x="6831613" y="1915537"/>
              <a:ext cx="0" cy="73675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F92A6D6-3B03-2244-AECA-5D97DB4C6AF5}"/>
              </a:ext>
            </a:extLst>
          </p:cNvPr>
          <p:cNvGrpSpPr/>
          <p:nvPr/>
        </p:nvGrpSpPr>
        <p:grpSpPr>
          <a:xfrm>
            <a:off x="7767704" y="4059377"/>
            <a:ext cx="2553600" cy="1130295"/>
            <a:chOff x="8566818" y="2678659"/>
            <a:chExt cx="2089837" cy="878541"/>
          </a:xfrm>
        </p:grpSpPr>
        <p:sp>
          <p:nvSpPr>
            <p:cNvPr id="60" name="Rounded Rectangle 59">
              <a:extLst>
                <a:ext uri="{FF2B5EF4-FFF2-40B4-BE49-F238E27FC236}">
                  <a16:creationId xmlns:a16="http://schemas.microsoft.com/office/drawing/2014/main" id="{56FE18C8-B457-EF4F-9D17-4642C4838080}"/>
                </a:ext>
              </a:extLst>
            </p:cNvPr>
            <p:cNvSpPr/>
            <p:nvPr/>
          </p:nvSpPr>
          <p:spPr bwMode="auto">
            <a:xfrm>
              <a:off x="8566818" y="2678659"/>
              <a:ext cx="1766047" cy="878541"/>
            </a:xfrm>
            <a:prstGeom prst="round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0341" tIns="40341" rIns="40341" bIns="403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70EFB91D-ECF4-DC4C-847E-E11AE8441F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t="40756" b="40756"/>
            <a:stretch/>
          </p:blipFill>
          <p:spPr>
            <a:xfrm>
              <a:off x="8671422" y="3062546"/>
              <a:ext cx="747070" cy="138123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C8A667FE-1AEF-7C45-8747-7CA8118F8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t="28110" b="28110"/>
            <a:stretch/>
          </p:blipFill>
          <p:spPr>
            <a:xfrm>
              <a:off x="9626089" y="3024819"/>
              <a:ext cx="1030566" cy="221363"/>
            </a:xfrm>
            <a:prstGeom prst="rect">
              <a:avLst/>
            </a:prstGeom>
          </p:spPr>
        </p:pic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9070592-BB8C-7C4E-896E-A9D755E1BCA7}"/>
              </a:ext>
            </a:extLst>
          </p:cNvPr>
          <p:cNvCxnSpPr>
            <a:cxnSpLocks/>
          </p:cNvCxnSpPr>
          <p:nvPr/>
        </p:nvCxnSpPr>
        <p:spPr>
          <a:xfrm>
            <a:off x="7716807" y="4249359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3315EEA2-389A-6640-9E57-B9DA3BC4E1E8}"/>
              </a:ext>
            </a:extLst>
          </p:cNvPr>
          <p:cNvSpPr txBox="1"/>
          <p:nvPr userDrawn="1"/>
        </p:nvSpPr>
        <p:spPr>
          <a:xfrm>
            <a:off x="10035874" y="2482012"/>
            <a:ext cx="468077" cy="1357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882">
                <a:solidFill>
                  <a:schemeClr val="accent2"/>
                </a:solidFill>
              </a:rPr>
              <a:t>Streamin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6EA632-7180-494C-A052-5BFA803C6823}"/>
              </a:ext>
            </a:extLst>
          </p:cNvPr>
          <p:cNvSpPr txBox="1"/>
          <p:nvPr userDrawn="1"/>
        </p:nvSpPr>
        <p:spPr>
          <a:xfrm rot="677337">
            <a:off x="4341577" y="2762932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HCM</a:t>
            </a:r>
          </a:p>
        </p:txBody>
      </p:sp>
      <p:pic>
        <p:nvPicPr>
          <p:cNvPr id="65" name="Picture 64" descr="Image result for recurly logo">
            <a:extLst>
              <a:ext uri="{FF2B5EF4-FFF2-40B4-BE49-F238E27FC236}">
                <a16:creationId xmlns:a16="http://schemas.microsoft.com/office/drawing/2014/main" id="{F592E142-6CB2-E640-BB55-8FF51F7CB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5470739"/>
            <a:ext cx="1058126" cy="320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32" descr="Image result for microsoft dynamics logo">
            <a:extLst>
              <a:ext uri="{FF2B5EF4-FFF2-40B4-BE49-F238E27FC236}">
                <a16:creationId xmlns:a16="http://schemas.microsoft.com/office/drawing/2014/main" id="{DEDF1641-E416-4F48-A7C3-EF7FF35068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9007" y="3675497"/>
            <a:ext cx="1216718" cy="44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object 20">
            <a:extLst>
              <a:ext uri="{FF2B5EF4-FFF2-40B4-BE49-F238E27FC236}">
                <a16:creationId xmlns:a16="http://schemas.microsoft.com/office/drawing/2014/main" id="{787A053F-B728-4241-911E-F021A3C08649}"/>
              </a:ext>
            </a:extLst>
          </p:cNvPr>
          <p:cNvSpPr>
            <a:spLocks noChangeAspect="1"/>
          </p:cNvSpPr>
          <p:nvPr userDrawn="1"/>
        </p:nvSpPr>
        <p:spPr>
          <a:xfrm>
            <a:off x="1176319" y="1982126"/>
            <a:ext cx="1179406" cy="170004"/>
          </a:xfrm>
          <a:prstGeom prst="rect">
            <a:avLst/>
          </a:prstGeom>
          <a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12">
              <a:latin typeface="Segoe UI Semibold" panose="020B0702040204020203" pitchFamily="34" charset="0"/>
            </a:endParaRPr>
          </a:p>
        </p:txBody>
      </p:sp>
      <p:pic>
        <p:nvPicPr>
          <p:cNvPr id="68" name="Picture 9">
            <a:extLst>
              <a:ext uri="{FF2B5EF4-FFF2-40B4-BE49-F238E27FC236}">
                <a16:creationId xmlns:a16="http://schemas.microsoft.com/office/drawing/2014/main" id="{D7EC8D72-BFBB-BA49-A653-B794890A9B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7891" y="3389779"/>
            <a:ext cx="1329297" cy="420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8BDDF724-15A9-1E45-98E3-9E44D2A63956}"/>
              </a:ext>
            </a:extLst>
          </p:cNvPr>
          <p:cNvSpPr txBox="1"/>
          <p:nvPr userDrawn="1"/>
        </p:nvSpPr>
        <p:spPr>
          <a:xfrm>
            <a:off x="6248400" y="4470635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ulti-cloud</a:t>
            </a:r>
          </a:p>
        </p:txBody>
      </p:sp>
      <p:pic>
        <p:nvPicPr>
          <p:cNvPr id="70" name="Picture 36" descr="Image result for oracle netsuite logo">
            <a:extLst>
              <a:ext uri="{FF2B5EF4-FFF2-40B4-BE49-F238E27FC236}">
                <a16:creationId xmlns:a16="http://schemas.microsoft.com/office/drawing/2014/main" id="{F492A5FD-227F-3B45-9477-089B69AA66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81" y="3059866"/>
            <a:ext cx="1204029" cy="492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7F6C056C-22C0-8A44-BEFA-04A465A0A85C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703" y="5463322"/>
            <a:ext cx="1317487" cy="35167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53D90C14-518E-1C49-84C1-66C070568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r="78839"/>
          <a:stretch/>
        </p:blipFill>
        <p:spPr>
          <a:xfrm>
            <a:off x="3988575" y="3100791"/>
            <a:ext cx="1235000" cy="1260637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E0AF94A-5E6B-054F-B2F5-9FE8E966D107}"/>
              </a:ext>
            </a:extLst>
          </p:cNvPr>
          <p:cNvCxnSpPr>
            <a:cxnSpLocks/>
          </p:cNvCxnSpPr>
          <p:nvPr userDrawn="1"/>
        </p:nvCxnSpPr>
        <p:spPr>
          <a:xfrm>
            <a:off x="8033782" y="5257800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99D08E09-0D49-A146-B0FF-0F6D2EDF1B72}"/>
              </a:ext>
            </a:extLst>
          </p:cNvPr>
          <p:cNvSpPr txBox="1"/>
          <p:nvPr userDrawn="1"/>
        </p:nvSpPr>
        <p:spPr>
          <a:xfrm>
            <a:off x="6565375" y="5479076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arketplaces</a:t>
            </a:r>
          </a:p>
        </p:txBody>
      </p:sp>
    </p:spTree>
    <p:extLst>
      <p:ext uri="{BB962C8B-B14F-4D97-AF65-F5344CB8AC3E}">
        <p14:creationId xmlns:p14="http://schemas.microsoft.com/office/powerpoint/2010/main" val="906229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1"/>
            <a:ext cx="121792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66A1211A-5A5E-4648-92E4-29EC7E237A85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84E856-8C9C-5F4F-87CD-D13BBB0D02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53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" y="1"/>
            <a:ext cx="12179296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79FC6-F3A8-134B-BF24-E167D09194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957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DB4306-E29A-3140-8CE1-834AAC1FDD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343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8EB599-FF9F-434A-A786-176C54F16097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289D8E4-F7B7-7640-B323-05091B0BC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224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1"/>
            <a:ext cx="121792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66A1211A-5A5E-4648-92E4-29EC7E237A85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84E856-8C9C-5F4F-87CD-D13BBB0D02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399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B9B6BF-CAEF-F049-80AA-027157A428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DFEF6469-74B7-114D-9E22-9CD17F9E9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13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187D8B-FB11-744F-9466-065B4333B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25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5ECE0-1D65-4CE5-AF49-45A248F6E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3863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4F55C-ADD4-49A6-8F8F-52FC2F01F0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B4C0BFE-C169-A54D-95C6-326EDD559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14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899DF-C1EF-4DFB-94E3-E16F54796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9938" y="2153722"/>
            <a:ext cx="7652125" cy="2550556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“Quote goes here –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nostrud</a:t>
            </a:r>
            <a:r>
              <a:rPr lang="en-US"/>
              <a:t> exercitation”. </a:t>
            </a:r>
          </a:p>
          <a:p>
            <a:pPr lvl="0"/>
            <a:br>
              <a:rPr lang="en-US"/>
            </a:br>
            <a:r>
              <a:rPr lang="en-US"/>
              <a:t>Name, Title, Compan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066395-5FCF-47ED-A438-8B3776A98B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887" y="1185860"/>
            <a:ext cx="1340577" cy="1340577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2907ACF-DB05-43C0-8192-1D5C1355E7A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CECE5A2-B765-8C4F-8D6E-7AB9BDACBA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5133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5030D4E-0BBF-47E8-AD90-68B0388310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3004" y="2049520"/>
            <a:ext cx="8165989" cy="2758960"/>
          </a:xfr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43C9E-F453-432B-AEB0-01083CA1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687336" y="4306477"/>
            <a:ext cx="1192405" cy="119240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4DE86FF-4FE8-4526-BED5-14BFED465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312259" y="1359118"/>
            <a:ext cx="1192405" cy="1192405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AE21E70-71C9-467E-BD1D-8F4D0CAC3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BC5940-5A39-6A4E-8AA2-A2FAAF0B90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450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B9B6BF-CAEF-F049-80AA-027157A428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DFEF6469-74B7-114D-9E22-9CD17F9E9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132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665D7-FDAB-4008-A3D8-11FCD1F08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3CDB8-0693-4364-BFA2-2C1083259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7E6389-7A21-4526-AEAD-AFA1E577C6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95246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C6978771-152E-4BCE-AC99-D9115D77B1F3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F56B896-8B47-406D-BD5B-BDF0E20854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FFAC594-D115-5648-B252-640CDF9FC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19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0D20D-9478-4A5A-83C3-E26F5E1FF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5156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E3562-3A44-4322-B20F-5D9E96C20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85900"/>
            <a:ext cx="5157787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DAC937-554C-4EBA-9E0F-06E897FA7D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910862"/>
            <a:ext cx="5157787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70D055-BC7A-4B14-B2B7-120E97FF72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9212" y="1485900"/>
            <a:ext cx="5183188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A130D9-D09B-4649-BE44-45F04723F3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2" y="1910862"/>
            <a:ext cx="5183188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639FEBEA-CADE-4AE0-AF86-4D8332EE551F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7CD4E9A-4F2F-40A4-B786-9121C3A7D0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6DCF484-7B1D-E24C-A484-801A0D601A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14994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38001-05D4-4866-88EA-6E19C4928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lIns="0" tIns="0" rIns="0" bIns="0"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52A40-2194-46D5-BDAF-533B1A317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72895"/>
            <a:ext cx="6399212" cy="421830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EFF356-43E6-4906-AACD-7CF52A9E3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298C5CF9-6F66-479B-ADBD-F083D1AAC9FC}"/>
              </a:ext>
            </a:extLst>
          </p:cNvPr>
          <p:cNvSpPr/>
          <p:nvPr userDrawn="1"/>
        </p:nvSpPr>
        <p:spPr>
          <a:xfrm>
            <a:off x="4808011" y="735806"/>
            <a:ext cx="109003" cy="53863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79E8E9-2E84-4144-80F9-BD627EB36C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5C06ED-2551-E64A-B92B-7C85FF541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6837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83DC5C4-FE6F-5A46-8F14-E4EDB5FA4A7F}"/>
              </a:ext>
            </a:extLst>
          </p:cNvPr>
          <p:cNvSpPr/>
          <p:nvPr userDrawn="1"/>
        </p:nvSpPr>
        <p:spPr>
          <a:xfrm>
            <a:off x="0" y="0"/>
            <a:ext cx="49131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D4532-AAA3-41B9-8A8E-F43DECA63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B23307-4B55-4681-8D36-96C79C8E73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62100"/>
            <a:ext cx="6172200" cy="42989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9C1076-86E6-4DE1-9E63-27EB18EB40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F128DC-831E-45EA-BE33-CCEE7C767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026AB6-A899-5D4E-8803-A996797B69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47276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BCAEA-C486-40AA-8D4A-8423F214F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D8CDF-E4F6-42ED-BA0C-E47B35166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10972799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981A2D-ECA3-4C1B-BFE9-C5BB4E0FA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095CDE1-6935-A541-93FC-AEE74EA932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58771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A64BDB-32B2-49DA-860B-26D5DC13F17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067800" y="1562100"/>
            <a:ext cx="2514600" cy="4229100"/>
          </a:xfrm>
        </p:spPr>
        <p:txBody>
          <a:bodyPr vert="eaVert"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4D75D-2FCB-44C0-A185-865DF040E5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8115300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2CDD81-7FCD-406B-A32E-A81CD6B999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6882BC-614B-3049-A1D0-E7D1B10E8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3630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bg2"/>
                </a:solidFill>
              </a:rPr>
              <a:t>Q&amp;A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985D397-65E6-C444-8686-897557BC48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031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tx1"/>
                </a:solidFill>
              </a:rPr>
              <a:t>Q&amp;A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974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- Thank You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bg2"/>
                </a:solidFill>
              </a:rPr>
              <a:t>Thank You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CE621F94-B810-044F-AC3B-C4C9871295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40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Thank You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687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tx1"/>
                </a:solidFill>
              </a:rPr>
              <a:t>Thank You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FE60A725-5089-0642-9952-7CEF8B931E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3011334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187D8B-FB11-744F-9466-065B4333B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22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566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side placeholder">
  <p:cSld name="6_side placeholder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6"/>
          <p:cNvSpPr>
            <a:spLocks noGrp="1"/>
          </p:cNvSpPr>
          <p:nvPr>
            <p:ph type="pic" idx="2"/>
          </p:nvPr>
        </p:nvSpPr>
        <p:spPr>
          <a:xfrm>
            <a:off x="0" y="1941442"/>
            <a:ext cx="12192000" cy="262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401371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08AC1DDE-D431-1D63-C76C-4BFDD796ED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50" y="8834"/>
            <a:ext cx="4144144" cy="332399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0000"/>
                </a:solidFill>
              </a:rPr>
              <a:t>DRAFT – still under review</a:t>
            </a:r>
          </a:p>
        </p:txBody>
      </p:sp>
    </p:spTree>
    <p:extLst>
      <p:ext uri="{BB962C8B-B14F-4D97-AF65-F5344CB8AC3E}">
        <p14:creationId xmlns:p14="http://schemas.microsoft.com/office/powerpoint/2010/main" val="58743452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5250BF-2F06-3A08-1F15-A4AFD4BDD7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5250BF-2F06-3A08-1F15-A4AFD4BDD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874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5ECE0-1D65-4CE5-AF49-45A248F6E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924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4F55C-ADD4-49A6-8F8F-52FC2F01F0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B4C0BFE-C169-A54D-95C6-326EDD559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58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899DF-C1EF-4DFB-94E3-E16F54796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9938" y="2153722"/>
            <a:ext cx="7652125" cy="2550556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“Quote goes here –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nostrud</a:t>
            </a:r>
            <a:r>
              <a:rPr lang="en-US"/>
              <a:t> exercitation”. </a:t>
            </a:r>
          </a:p>
          <a:p>
            <a:pPr lvl="0"/>
            <a:br>
              <a:rPr lang="en-US"/>
            </a:br>
            <a:r>
              <a:rPr lang="en-US"/>
              <a:t>Name, Title, Compan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066395-5FCF-47ED-A438-8B3776A98B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887" y="1185860"/>
            <a:ext cx="1340577" cy="1340577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2907ACF-DB05-43C0-8192-1D5C1355E7A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CECE5A2-B765-8C4F-8D6E-7AB9BDACBA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987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5030D4E-0BBF-47E8-AD90-68B0388310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3004" y="2049520"/>
            <a:ext cx="8165989" cy="2758960"/>
          </a:xfr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43C9E-F453-432B-AEB0-01083CA1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687336" y="4306477"/>
            <a:ext cx="1192405" cy="119240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4DE86FF-4FE8-4526-BED5-14BFED465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312259" y="1359118"/>
            <a:ext cx="1192405" cy="1192405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AE21E70-71C9-467E-BD1D-8F4D0CAC3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BC5940-5A39-6A4E-8AA2-A2FAAF0B90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722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0" y="2458"/>
            <a:ext cx="7081519" cy="6853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DCC9C26-A55E-5444-8645-28FB5C7E1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89162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42CF1C5-8EDB-1643-BF99-9784BB315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3831360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665D7-FDAB-4008-A3D8-11FCD1F08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3CDB8-0693-4364-BFA2-2C1083259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7E6389-7A21-4526-AEAD-AFA1E577C6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95246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C6978771-152E-4BCE-AC99-D9115D77B1F3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F56B896-8B47-406D-BD5B-BDF0E20854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FFAC594-D115-5648-B252-640CDF9FC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87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0D20D-9478-4A5A-83C3-E26F5E1FF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5156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E3562-3A44-4322-B20F-5D9E96C20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85900"/>
            <a:ext cx="5157787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DAC937-554C-4EBA-9E0F-06E897FA7D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910862"/>
            <a:ext cx="5157787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70D055-BC7A-4B14-B2B7-120E97FF72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9212" y="1485900"/>
            <a:ext cx="5183188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A130D9-D09B-4649-BE44-45F04723F3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2" y="1910862"/>
            <a:ext cx="5183188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639FEBEA-CADE-4AE0-AF86-4D8332EE551F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7CD4E9A-4F2F-40A4-B786-9121C3A7D0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6DCF484-7B1D-E24C-A484-801A0D601A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052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38001-05D4-4866-88EA-6E19C4928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lIns="0" tIns="0" rIns="0" bIns="0"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52A40-2194-46D5-BDAF-533B1A317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72895"/>
            <a:ext cx="6399212" cy="421830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EFF356-43E6-4906-AACD-7CF52A9E3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298C5CF9-6F66-479B-ADBD-F083D1AAC9FC}"/>
              </a:ext>
            </a:extLst>
          </p:cNvPr>
          <p:cNvSpPr/>
          <p:nvPr userDrawn="1"/>
        </p:nvSpPr>
        <p:spPr>
          <a:xfrm>
            <a:off x="4808011" y="735806"/>
            <a:ext cx="109003" cy="53863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79E8E9-2E84-4144-80F9-BD627EB36C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5C06ED-2551-E64A-B92B-7C85FF541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095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83DC5C4-FE6F-5A46-8F14-E4EDB5FA4A7F}"/>
              </a:ext>
            </a:extLst>
          </p:cNvPr>
          <p:cNvSpPr/>
          <p:nvPr userDrawn="1"/>
        </p:nvSpPr>
        <p:spPr>
          <a:xfrm>
            <a:off x="0" y="0"/>
            <a:ext cx="49131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D4532-AAA3-41B9-8A8E-F43DECA63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B23307-4B55-4681-8D36-96C79C8E73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62100"/>
            <a:ext cx="6172200" cy="42989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9C1076-86E6-4DE1-9E63-27EB18EB40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F128DC-831E-45EA-BE33-CCEE7C767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026AB6-A899-5D4E-8803-A996797B69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39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BCAEA-C486-40AA-8D4A-8423F214F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D8CDF-E4F6-42ED-BA0C-E47B35166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10972799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981A2D-ECA3-4C1B-BFE9-C5BB4E0FA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095CDE1-6935-A541-93FC-AEE74EA932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3635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A64BDB-32B2-49DA-860B-26D5DC13F17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067800" y="1562100"/>
            <a:ext cx="2514600" cy="4229100"/>
          </a:xfrm>
        </p:spPr>
        <p:txBody>
          <a:bodyPr vert="eaVert"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4D75D-2FCB-44C0-A185-865DF040E5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8115300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2CDD81-7FCD-406B-A32E-A81CD6B999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6882BC-614B-3049-A1D0-E7D1B10E8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0819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bg2"/>
                </a:solidFill>
              </a:rPr>
              <a:t>Q&amp;A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5446CA7-CF44-7141-973E-02D5DE76F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948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tx1"/>
                </a:solidFill>
              </a:rPr>
              <a:t>Q&amp;A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108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– Thank You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bg2"/>
                </a:solidFill>
              </a:rPr>
              <a:t>Thank You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0F7868A5-484B-DC42-AE70-9EB7220B8B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217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Thank You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687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tx1"/>
                </a:solidFill>
              </a:rPr>
              <a:t>Thank You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FE60A725-5089-0642-9952-7CEF8B931E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1303736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845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2] Flexible Conten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0B792F-A8B9-4476-A25C-C8B4C970DF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0F2D9DA-979B-4554-8B0E-2953EB5C6B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5D4AAF3-7623-4D82-AB42-4EB4A54FDD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551194"/>
            <a:ext cx="10983092" cy="598157"/>
          </a:xfrm>
        </p:spPr>
        <p:txBody>
          <a:bodyPr lIns="45720" tIns="45720" rIns="45720" bIns="45720" anchor="t" anchorCtr="0">
            <a:noAutofit/>
          </a:bodyPr>
          <a:lstStyle>
            <a:lvl1pPr>
              <a:lnSpc>
                <a:spcPct val="90000"/>
              </a:lnSpc>
              <a:defRPr sz="4000" b="1" spc="-67">
                <a:solidFill>
                  <a:schemeClr val="tx2"/>
                </a:solidFill>
              </a:defRPr>
            </a:lvl1pPr>
          </a:lstStyle>
          <a:p>
            <a:r>
              <a:rPr lang="en-US"/>
              <a:t>Add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6C28F8-7595-4BB1-A2D4-475EA5109F6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2150" y="1845944"/>
            <a:ext cx="10987735" cy="4300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3D147E-45A6-4E11-91A1-80E31E84DE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1351" y="286654"/>
            <a:ext cx="1042660" cy="1035709"/>
            <a:chOff x="495299" y="1071881"/>
            <a:chExt cx="1428750" cy="1419225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7FE1AB9-38FF-4B9C-B1DD-52AE42A585CD}"/>
                </a:ext>
              </a:extLst>
            </p:cNvPr>
            <p:cNvSpPr/>
            <p:nvPr userDrawn="1"/>
          </p:nvSpPr>
          <p:spPr>
            <a:xfrm>
              <a:off x="495299" y="1071881"/>
              <a:ext cx="180975" cy="1419225"/>
            </a:xfrm>
            <a:custGeom>
              <a:avLst/>
              <a:gdLst>
                <a:gd name="connsiteX0" fmla="*/ 0 w 180975"/>
                <a:gd name="connsiteY0" fmla="*/ 1427321 h 1419225"/>
                <a:gd name="connsiteX1" fmla="*/ 0 w 180975"/>
                <a:gd name="connsiteY1" fmla="*/ 186785 h 1419225"/>
                <a:gd name="connsiteX2" fmla="*/ 186785 w 180975"/>
                <a:gd name="connsiteY2" fmla="*/ 0 h 1419225"/>
                <a:gd name="connsiteX3" fmla="*/ 186785 w 180975"/>
                <a:gd name="connsiteY3" fmla="*/ 1240536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419225">
                  <a:moveTo>
                    <a:pt x="0" y="1427321"/>
                  </a:moveTo>
                  <a:lnTo>
                    <a:pt x="0" y="186785"/>
                  </a:lnTo>
                  <a:lnTo>
                    <a:pt x="186785" y="0"/>
                  </a:lnTo>
                  <a:lnTo>
                    <a:pt x="186785" y="1240536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C99B7AF-BF6A-4ED8-A624-8A7012A236F3}"/>
                </a:ext>
              </a:extLst>
            </p:cNvPr>
            <p:cNvSpPr/>
            <p:nvPr userDrawn="1"/>
          </p:nvSpPr>
          <p:spPr>
            <a:xfrm>
              <a:off x="495299" y="1071881"/>
              <a:ext cx="1428750" cy="180975"/>
            </a:xfrm>
            <a:custGeom>
              <a:avLst/>
              <a:gdLst>
                <a:gd name="connsiteX0" fmla="*/ 1436465 w 1428750"/>
                <a:gd name="connsiteY0" fmla="*/ 0 h 180975"/>
                <a:gd name="connsiteX1" fmla="*/ 186785 w 1428750"/>
                <a:gd name="connsiteY1" fmla="*/ 0 h 180975"/>
                <a:gd name="connsiteX2" fmla="*/ 0 w 1428750"/>
                <a:gd name="connsiteY2" fmla="*/ 186785 h 180975"/>
                <a:gd name="connsiteX3" fmla="*/ 1249680 w 1428750"/>
                <a:gd name="connsiteY3" fmla="*/ 18678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80975">
                  <a:moveTo>
                    <a:pt x="1436465" y="0"/>
                  </a:moveTo>
                  <a:lnTo>
                    <a:pt x="186785" y="0"/>
                  </a:lnTo>
                  <a:lnTo>
                    <a:pt x="0" y="186785"/>
                  </a:lnTo>
                  <a:lnTo>
                    <a:pt x="1249680" y="18678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2485863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IC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>
            <a:extLst>
              <a:ext uri="{FF2B5EF4-FFF2-40B4-BE49-F238E27FC236}">
                <a16:creationId xmlns:a16="http://schemas.microsoft.com/office/drawing/2014/main" id="{A635AB64-7089-BF4A-917A-54F4B9F1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890" y="377867"/>
            <a:ext cx="11274511" cy="726039"/>
          </a:xfrm>
        </p:spPr>
        <p:txBody>
          <a:bodyPr>
            <a:noAutofit/>
          </a:bodyPr>
          <a:lstStyle>
            <a:lvl1pPr algn="l">
              <a:defRPr sz="4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5876C8B-5D68-4F4E-8EEA-6A0D85796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890" y="1397001"/>
            <a:ext cx="11274511" cy="47291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DB0569E-0281-4041-B987-AF3E88159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6086984"/>
            <a:ext cx="986547" cy="664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7620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D BAR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>
            <a:extLst>
              <a:ext uri="{FF2B5EF4-FFF2-40B4-BE49-F238E27FC236}">
                <a16:creationId xmlns:a16="http://schemas.microsoft.com/office/drawing/2014/main" id="{FC82575E-B519-7D41-8099-8A1D505FE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890" y="377867"/>
            <a:ext cx="11274511" cy="726039"/>
          </a:xfrm>
        </p:spPr>
        <p:txBody>
          <a:bodyPr>
            <a:noAutofit/>
          </a:bodyPr>
          <a:lstStyle>
            <a:lvl1pPr algn="l">
              <a:defRPr sz="4267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5DE640A-144A-F54F-8983-5BC57C41AB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890" y="1397001"/>
            <a:ext cx="11274511" cy="47291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6249D1-5500-2646-95F1-A7246551E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6086984"/>
            <a:ext cx="986547" cy="664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928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D HEADER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/>
          <p:cNvSpPr>
            <a:spLocks noGrp="1"/>
          </p:cNvSpPr>
          <p:nvPr>
            <p:ph type="title"/>
          </p:nvPr>
        </p:nvSpPr>
        <p:spPr>
          <a:xfrm>
            <a:off x="307890" y="377867"/>
            <a:ext cx="11376111" cy="726039"/>
          </a:xfrm>
        </p:spPr>
        <p:txBody>
          <a:bodyPr>
            <a:noAutofit/>
          </a:bodyPr>
          <a:lstStyle>
            <a:lvl1pPr algn="l">
              <a:defRPr sz="4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6086984"/>
            <a:ext cx="986547" cy="664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256916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Section Head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B9B6BF-CAEF-F049-80AA-027157A428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25043" y="6582807"/>
            <a:ext cx="851536" cy="185264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DFEF6469-74B7-114D-9E22-9CD17F9E9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1" y="6492876"/>
            <a:ext cx="444500" cy="365125"/>
          </a:xfrm>
        </p:spPr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6CFB683-3513-0C17-EB80-FB5A1A63DC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5043" y="6582807"/>
            <a:ext cx="851535" cy="185264"/>
          </a:xfrm>
          <a:prstGeom prst="rect">
            <a:avLst/>
          </a:prstGeom>
        </p:spPr>
      </p:pic>
      <p:pic>
        <p:nvPicPr>
          <p:cNvPr id="2" name="4001-176277735">
            <a:hlinkClick r:id="" action="ppaction://media"/>
            <a:extLst>
              <a:ext uri="{FF2B5EF4-FFF2-40B4-BE49-F238E27FC236}">
                <a16:creationId xmlns:a16="http://schemas.microsoft.com/office/drawing/2014/main" id="{EABA6A2D-B4D1-CBE4-2BB6-E2DF83B6E6F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-251460" y="-142240"/>
            <a:ext cx="12456160" cy="700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623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92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654186"/>
              </p:ext>
            </p:ext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33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9017" y="533690"/>
            <a:ext cx="9480000" cy="328295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99017" y="323078"/>
            <a:ext cx="9480000" cy="164148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1067" b="0" cap="none" baseline="0"/>
            </a:lvl1pPr>
            <a:lvl2pPr>
              <a:defRPr sz="1067" b="0"/>
            </a:lvl2pPr>
            <a:lvl3pPr>
              <a:defRPr sz="1067" b="0"/>
            </a:lvl3pPr>
            <a:lvl4pPr>
              <a:defRPr sz="1067" b="0"/>
            </a:lvl4pPr>
            <a:lvl5pPr>
              <a:defRPr sz="1067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2A4FC5-CED0-444A-9B5C-7B485B922F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>
            <a:lvl1pPr marL="478355" indent="-478355">
              <a:spcBef>
                <a:spcPts val="1600"/>
              </a:spcBef>
              <a:buFont typeface="+mj-lt"/>
              <a:buAutoNum type="romanUcPeriod"/>
              <a:defRPr b="0"/>
            </a:lvl1pPr>
            <a:lvl2pPr marL="839979" indent="-359991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/>
            </a:lvl2pPr>
            <a:lvl3pPr marL="1198003" indent="-359991"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3992464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3715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ic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77E5D-DA73-3219-E6ED-C343A1A6B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E6D371-3105-6A51-DB91-5BA4E44937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3BD363E-7190-DCDF-8BDD-8AFB1C8BE6F5}"/>
              </a:ext>
            </a:extLst>
          </p:cNvPr>
          <p:cNvSpPr/>
          <p:nvPr userDrawn="1"/>
        </p:nvSpPr>
        <p:spPr>
          <a:xfrm>
            <a:off x="609600" y="1564719"/>
            <a:ext cx="3390900" cy="4226481"/>
          </a:xfrm>
          <a:prstGeom prst="roundRect">
            <a:avLst>
              <a:gd name="adj" fmla="val 609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77EF9F3-5AA4-372C-22BA-37F37AB7ED1B}"/>
              </a:ext>
            </a:extLst>
          </p:cNvPr>
          <p:cNvSpPr/>
          <p:nvPr userDrawn="1"/>
        </p:nvSpPr>
        <p:spPr>
          <a:xfrm>
            <a:off x="4400550" y="1564719"/>
            <a:ext cx="3390900" cy="4226481"/>
          </a:xfrm>
          <a:prstGeom prst="roundRect">
            <a:avLst>
              <a:gd name="adj" fmla="val 62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773B669-90FD-12CE-66D1-81A100017A0F}"/>
              </a:ext>
            </a:extLst>
          </p:cNvPr>
          <p:cNvSpPr/>
          <p:nvPr userDrawn="1"/>
        </p:nvSpPr>
        <p:spPr>
          <a:xfrm>
            <a:off x="8191500" y="1564719"/>
            <a:ext cx="3390900" cy="4226481"/>
          </a:xfrm>
          <a:prstGeom prst="roundRect">
            <a:avLst>
              <a:gd name="adj" fmla="val 5483"/>
            </a:avLst>
          </a:prstGeom>
          <a:solidFill>
            <a:srgbClr val="0181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C1FCCC5-2B92-4854-FB01-FCF0D54D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828800"/>
            <a:ext cx="2895600" cy="609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F362262-4684-886A-4797-5566AEE47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42646" y="1828800"/>
            <a:ext cx="2895600" cy="609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A6F15D0-5A70-947C-6B66-444C206930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9150" y="1828800"/>
            <a:ext cx="2895600" cy="609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0BE57C4-6638-F976-F2C1-C08DAD9285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693324"/>
            <a:ext cx="2895600" cy="2793076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b="0" i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lvl="0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9F765B9-5B20-746D-E81F-BB59B07D8F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2646" y="2693324"/>
            <a:ext cx="2895600" cy="2793076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lvl="0"/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0A91E00-6539-DFE6-07E2-914DE8FDBD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9150" y="2693324"/>
            <a:ext cx="2895600" cy="2793076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>
                <a:solidFill>
                  <a:srgbClr val="7B8898"/>
                </a:solidFill>
                <a:effectLst/>
                <a:latin typeface="Mercury SSm A"/>
              </a:rPr>
              <a:t>Lorem ipsum dolor sit</a:t>
            </a:r>
            <a:endParaRPr lang="en-US"/>
          </a:p>
          <a:p>
            <a:pPr lvl="0"/>
            <a:endParaRPr lang="en-US"/>
          </a:p>
        </p:txBody>
      </p:sp>
      <p:pic>
        <p:nvPicPr>
          <p:cNvPr id="16" name="Graphic 6">
            <a:extLst>
              <a:ext uri="{FF2B5EF4-FFF2-40B4-BE49-F238E27FC236}">
                <a16:creationId xmlns:a16="http://schemas.microsoft.com/office/drawing/2014/main" id="{43A45B33-ABCB-841E-9DBA-E7DA0DF0E2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3304" y="6583680"/>
            <a:ext cx="155700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2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decel="100000" fill="hold" grpId="0" nodeType="click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decel="100000" fill="hold" grpId="0" nodeType="click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decel="100000" fill="hold" grpId="0" nodeType="click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4" decel="100000" fill="hold" grpId="0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decel="100000" fill="hold" grpId="0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4" decel="100000" fill="hold" grpId="0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4" decel="10000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4" decel="100000" fill="hold" nodeType="clickEffect">
                  <p:stCondLst>
                    <p:cond delay="1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4" decel="100000" fill="hold" nodeType="click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0" y="2458"/>
            <a:ext cx="7081519" cy="6853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DCC9C26-A55E-5444-8645-28FB5C7E1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5"/>
            <a:ext cx="4419600" cy="12604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42CF1C5-8EDB-1643-BF99-9784BB315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3639526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1275904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1" y="4917"/>
            <a:ext cx="7081519" cy="685308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BC61742-86B8-F346-9444-531C23E3AA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5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3D5274-C6B6-CD4E-B11C-AB1268E583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4070495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D6EAEDD7-7368-FE43-880A-74703893A7BB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9BC134-962A-A145-84E3-69E6A7767F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1907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0" y="2458"/>
            <a:ext cx="7081519" cy="6853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DCC9C26-A55E-5444-8645-28FB5C7E1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4"/>
            <a:ext cx="3886200" cy="1260475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42CF1C5-8EDB-1643-BF99-9784BB315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791200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425383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2430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D6EAEDD7-7368-FE43-880A-74703893A7BB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9BC134-962A-A145-84E3-69E6A7767F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71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B3C16569-087E-F141-B443-C074BE0E3BF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235D8C6-52B4-754E-987F-C0BDD7F4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2688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4">
            <a:extLst>
              <a:ext uri="{FF2B5EF4-FFF2-40B4-BE49-F238E27FC236}">
                <a16:creationId xmlns:a16="http://schemas.microsoft.com/office/drawing/2014/main" id="{35B4658E-A6EB-4BCE-B278-BA7251A9685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513FAA4-8204-470B-B1C1-1180C641F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638ED00A-687D-D447-8DC1-1867AEAF4739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7DE761-B4B8-7246-951F-51A4506594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681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FCF12-2F2E-4661-8E8D-7D8BA19EB6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>
                <a:solidFill>
                  <a:srgbClr val="00609C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9E71735-F065-4DE2-A648-07679A8D4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18ED3E9C-3476-B942-9568-53BDB4D2118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1FB6F1-339B-CB45-9BA2-C1B3E592F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466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1584E716-F7AA-4578-8F00-3394E8AE48DD}"/>
              </a:ext>
            </a:extLst>
          </p:cNvPr>
          <p:cNvSpPr/>
          <p:nvPr userDrawn="1"/>
        </p:nvSpPr>
        <p:spPr>
          <a:xfrm>
            <a:off x="609600" y="2377791"/>
            <a:ext cx="109003" cy="260730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2258FB2-39F7-465A-A088-B6E461A3F6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69299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0846B96-0154-4114-AFAF-9BBF0FCAD5C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769299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F1B30A0B-EA3F-4B6B-909B-2629F9764B0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052713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74CD4E2-B2BF-4AB8-8F9D-8FD77CA3170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052713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8629EAB8-CBF3-411C-B84F-79A4BB16668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335845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6D1ADCA-9D66-48BD-95E7-01BA582C313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335845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518226A-CA13-4867-A8F3-EBA00B0628B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052431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81FFB85E-6C1B-413E-9C66-B01BE74E5B4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6769299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9849030-B82B-4519-B35A-7F3935B0C637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335563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224BE1A4-50E0-49D4-9CAF-95B9E10F29E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488424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3D3334C-E082-4416-8DF1-1203EB9EE35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488424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54FC8659-D240-4A26-9CB1-7FC8BAF42D26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488424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6833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Icon U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0462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M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urpose, Mission and 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A5B832-27C1-0A4A-99F9-5B9ABE38A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3798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6F6B25-4B2C-B94E-8911-9A1FD2F5F0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0299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9F7F46-BDE9-C340-A871-1618B19D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800" y="1600200"/>
            <a:ext cx="3048000" cy="3436047"/>
          </a:xfrm>
          <a:prstGeom prst="roundRect">
            <a:avLst>
              <a:gd name="adj" fmla="val 8631"/>
            </a:avLst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FA691F0-E837-5741-9629-FF013C922851}"/>
              </a:ext>
            </a:extLst>
          </p:cNvPr>
          <p:cNvSpPr/>
          <p:nvPr userDrawn="1"/>
        </p:nvSpPr>
        <p:spPr>
          <a:xfrm>
            <a:off x="8204131" y="4648200"/>
            <a:ext cx="2675618" cy="1004530"/>
          </a:xfrm>
          <a:prstGeom prst="roundRect">
            <a:avLst/>
          </a:prstGeom>
          <a:solidFill>
            <a:srgbClr val="00933C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Vision</a:t>
            </a:r>
          </a:p>
          <a:p>
            <a:r>
              <a:rPr lang="en-US" sz="1200">
                <a:solidFill>
                  <a:schemeClr val="bg1"/>
                </a:solidFill>
              </a:rPr>
              <a:t>We will accelerate global commerce, one transaction at a time.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9492FBA-5B9B-2E4F-BB59-9C6A172025E7}"/>
              </a:ext>
            </a:extLst>
          </p:cNvPr>
          <p:cNvSpPr/>
          <p:nvPr userDrawn="1"/>
        </p:nvSpPr>
        <p:spPr>
          <a:xfrm>
            <a:off x="4723802" y="4648200"/>
            <a:ext cx="2675618" cy="100453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Mission</a:t>
            </a:r>
          </a:p>
          <a:p>
            <a:r>
              <a:rPr lang="en-US" sz="1200">
                <a:solidFill>
                  <a:schemeClr val="bg1"/>
                </a:solidFill>
              </a:rPr>
              <a:t>Empower businesses to transact, comply and grow with confidence.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C8EB1EA8-A962-794C-934B-DF1C16274E9E}"/>
              </a:ext>
            </a:extLst>
          </p:cNvPr>
          <p:cNvSpPr/>
          <p:nvPr userDrawn="1"/>
        </p:nvSpPr>
        <p:spPr>
          <a:xfrm>
            <a:off x="1243472" y="4648200"/>
            <a:ext cx="2675618" cy="1004530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Purpose</a:t>
            </a:r>
          </a:p>
          <a:p>
            <a:r>
              <a:rPr lang="en-US" sz="1200">
                <a:solidFill>
                  <a:schemeClr val="bg1"/>
                </a:solidFill>
              </a:rPr>
              <a:t>Build trusted relationships at work, 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in business and in our communities.</a:t>
            </a:r>
          </a:p>
        </p:txBody>
      </p:sp>
    </p:spTree>
    <p:extLst>
      <p:ext uri="{BB962C8B-B14F-4D97-AF65-F5344CB8AC3E}">
        <p14:creationId xmlns:p14="http://schemas.microsoft.com/office/powerpoint/2010/main" val="11459196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sted Name in Tax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object 2">
            <a:extLst>
              <a:ext uri="{FF2B5EF4-FFF2-40B4-BE49-F238E27FC236}">
                <a16:creationId xmlns:a16="http://schemas.microsoft.com/office/drawing/2014/main" id="{DA05C91D-B761-9F47-BB1B-5B79171CE6B7}"/>
              </a:ext>
            </a:extLst>
          </p:cNvPr>
          <p:cNvSpPr/>
          <p:nvPr userDrawn="1"/>
        </p:nvSpPr>
        <p:spPr>
          <a:xfrm>
            <a:off x="3124200" y="2611223"/>
            <a:ext cx="45719" cy="1143000"/>
          </a:xfrm>
          <a:custGeom>
            <a:avLst/>
            <a:gdLst/>
            <a:ahLst/>
            <a:cxnLst/>
            <a:rect l="l" t="t" r="r" b="b"/>
            <a:pathLst>
              <a:path h="5299709">
                <a:moveTo>
                  <a:pt x="0" y="0"/>
                </a:moveTo>
                <a:lnTo>
                  <a:pt x="0" y="5299367"/>
                </a:lnTo>
              </a:path>
            </a:pathLst>
          </a:custGeom>
          <a:ln w="12700">
            <a:solidFill>
              <a:srgbClr val="BCDEFF"/>
            </a:solidFill>
            <a:prstDash val="solid"/>
          </a:ln>
        </p:spPr>
        <p:txBody>
          <a:bodyPr wrap="square" lIns="0" tIns="0" rIns="0" bIns="0" rtlCol="0"/>
          <a:lstStyle/>
          <a:p>
            <a:endParaRPr>
              <a:latin typeface="+mj-lt"/>
            </a:endParaRPr>
          </a:p>
        </p:txBody>
      </p:sp>
      <p:sp>
        <p:nvSpPr>
          <p:cNvPr id="24" name="object 5">
            <a:extLst>
              <a:ext uri="{FF2B5EF4-FFF2-40B4-BE49-F238E27FC236}">
                <a16:creationId xmlns:a16="http://schemas.microsoft.com/office/drawing/2014/main" id="{5C09CB55-67F6-F641-84C9-F257215DF235}"/>
              </a:ext>
            </a:extLst>
          </p:cNvPr>
          <p:cNvSpPr txBox="1"/>
          <p:nvPr userDrawn="1"/>
        </p:nvSpPr>
        <p:spPr>
          <a:xfrm>
            <a:off x="924203" y="2711323"/>
            <a:ext cx="159067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4</a:t>
            </a:r>
            <a:r>
              <a:rPr sz="4000" b="1" spc="-15">
                <a:solidFill>
                  <a:srgbClr val="003970"/>
                </a:solidFill>
                <a:latin typeface="+mj-lt"/>
                <a:cs typeface="Arial"/>
              </a:rPr>
              <a:t>,</a:t>
            </a: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000+</a:t>
            </a:r>
            <a:endParaRPr sz="4000" b="1">
              <a:latin typeface="+mj-lt"/>
              <a:cs typeface="Arial"/>
            </a:endParaRPr>
          </a:p>
          <a:p>
            <a:pPr marL="1905"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usto</a:t>
            </a:r>
            <a:r>
              <a:rPr sz="1200" spc="5">
                <a:latin typeface="+mj-lt"/>
                <a:cs typeface="Arial"/>
              </a:rPr>
              <a:t>m</a:t>
            </a:r>
            <a:r>
              <a:rPr sz="1200">
                <a:latin typeface="+mj-lt"/>
                <a:cs typeface="Arial"/>
              </a:rPr>
              <a:t>e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s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EEFC15D8-9C8F-8946-8CFF-B79ED39799F0}"/>
              </a:ext>
            </a:extLst>
          </p:cNvPr>
          <p:cNvSpPr txBox="1"/>
          <p:nvPr userDrawn="1"/>
        </p:nvSpPr>
        <p:spPr>
          <a:xfrm>
            <a:off x="3615049" y="2711323"/>
            <a:ext cx="1521460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&gt;13</a:t>
            </a:r>
            <a:r>
              <a:rPr sz="4000" b="1" spc="-25">
                <a:solidFill>
                  <a:srgbClr val="003970"/>
                </a:solidFill>
                <a:latin typeface="+mj-lt"/>
                <a:cs typeface="Arial"/>
              </a:rPr>
              <a:t>0</a:t>
            </a:r>
            <a:endParaRPr sz="4000" b="1">
              <a:latin typeface="+mj-lt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ount</a:t>
            </a:r>
            <a:r>
              <a:rPr sz="1200" spc="-5">
                <a:latin typeface="+mj-lt"/>
                <a:cs typeface="Arial"/>
              </a:rPr>
              <a:t>ri</a:t>
            </a:r>
            <a:r>
              <a:rPr sz="1200">
                <a:latin typeface="+mj-lt"/>
                <a:cs typeface="Arial"/>
              </a:rPr>
              <a:t>es</a:t>
            </a:r>
            <a:r>
              <a:rPr sz="1200" spc="-35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supp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e</a:t>
            </a:r>
            <a:r>
              <a:rPr sz="1200" spc="-10">
                <a:latin typeface="+mj-lt"/>
                <a:cs typeface="Arial"/>
              </a:rPr>
              <a:t>d</a:t>
            </a:r>
            <a:r>
              <a:rPr lang="en-US" sz="1200" spc="-1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6" name="object 8">
            <a:extLst>
              <a:ext uri="{FF2B5EF4-FFF2-40B4-BE49-F238E27FC236}">
                <a16:creationId xmlns:a16="http://schemas.microsoft.com/office/drawing/2014/main" id="{616644B8-E198-694B-A45A-A203CEAC4841}"/>
              </a:ext>
            </a:extLst>
          </p:cNvPr>
          <p:cNvSpPr txBox="1"/>
          <p:nvPr userDrawn="1"/>
        </p:nvSpPr>
        <p:spPr>
          <a:xfrm>
            <a:off x="2426017" y="3932783"/>
            <a:ext cx="139636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2545" algn="ctr">
              <a:lnSpc>
                <a:spcPct val="100000"/>
              </a:lnSpc>
            </a:pPr>
            <a:r>
              <a:rPr sz="4000" b="1" spc="-30">
                <a:solidFill>
                  <a:srgbClr val="0058B0"/>
                </a:solidFill>
                <a:latin typeface="+mj-lt"/>
                <a:cs typeface="Arial"/>
              </a:rPr>
              <a:t>5</a:t>
            </a:r>
            <a:r>
              <a:rPr lang="en-US" sz="4000" b="1" spc="-30">
                <a:solidFill>
                  <a:srgbClr val="0058B0"/>
                </a:solidFill>
                <a:latin typeface="+mj-lt"/>
                <a:cs typeface="Arial"/>
              </a:rPr>
              <a:t>9</a:t>
            </a:r>
            <a:r>
              <a:rPr sz="4000" b="1" spc="-40">
                <a:solidFill>
                  <a:srgbClr val="0058B0"/>
                </a:solidFill>
                <a:latin typeface="+mj-lt"/>
                <a:cs typeface="Arial"/>
              </a:rPr>
              <a:t>%</a:t>
            </a:r>
            <a:endParaRPr sz="4000" b="1">
              <a:latin typeface="+mj-lt"/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455"/>
              </a:spcBef>
            </a:pPr>
            <a:r>
              <a:rPr sz="1200">
                <a:latin typeface="+mj-lt"/>
                <a:cs typeface="Arial"/>
              </a:rPr>
              <a:t>of</a:t>
            </a:r>
            <a:r>
              <a:rPr sz="1200" spc="-1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the</a:t>
            </a:r>
            <a:r>
              <a:rPr sz="1200" spc="-5">
                <a:latin typeface="+mj-lt"/>
                <a:cs typeface="Arial"/>
              </a:rPr>
              <a:t> F</a:t>
            </a:r>
            <a:r>
              <a:rPr sz="1200">
                <a:latin typeface="+mj-lt"/>
                <a:cs typeface="Arial"/>
              </a:rPr>
              <a:t>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une</a:t>
            </a:r>
            <a:r>
              <a:rPr sz="1200" spc="-2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500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4A556A-04D8-484A-96CF-539E8971E4D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5774933" y="6001279"/>
            <a:ext cx="4648007" cy="127000"/>
          </a:xfrm>
          <a:prstGeom prst="rect">
            <a:avLst/>
          </a:prstGeom>
          <a:noFill/>
        </p:spPr>
        <p:txBody>
          <a:bodyPr wrap="square" lIns="40341" tIns="40341" rIns="40341" bIns="40341" rtlCol="0" anchor="b">
            <a:noAutofit/>
          </a:bodyPr>
          <a:lstStyle/>
          <a:p>
            <a:r>
              <a:rPr lang="en-US" sz="530">
                <a:latin typeface="+mj-lt"/>
              </a:rPr>
              <a:t>Notes: </a:t>
            </a:r>
            <a:r>
              <a:rPr lang="en-US" sz="530" baseline="30000"/>
              <a:t>(1)</a:t>
            </a:r>
            <a:r>
              <a:rPr lang="en-US" sz="530"/>
              <a:t> Based on information as of December 31, 2020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A7A339F-9C86-964F-A1FF-D7307C482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4" r="8773"/>
          <a:stretch/>
        </p:blipFill>
        <p:spPr>
          <a:xfrm>
            <a:off x="5791200" y="1630680"/>
            <a:ext cx="6400800" cy="4307840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The trusted name in tax technology for over 40 years </a:t>
            </a:r>
          </a:p>
        </p:txBody>
      </p:sp>
    </p:spTree>
    <p:extLst>
      <p:ext uri="{BB962C8B-B14F-4D97-AF65-F5344CB8AC3E}">
        <p14:creationId xmlns:p14="http://schemas.microsoft.com/office/powerpoint/2010/main" val="2699773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B3C16569-087E-F141-B443-C074BE0E3BF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235D8C6-52B4-754E-987F-C0BDD7F4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450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o End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Flowchart: Terminator 18">
            <a:extLst>
              <a:ext uri="{FF2B5EF4-FFF2-40B4-BE49-F238E27FC236}">
                <a16:creationId xmlns:a16="http://schemas.microsoft.com/office/drawing/2014/main" id="{E5D17620-1EB9-8640-95F5-9E1EAE2EF6EC}"/>
              </a:ext>
            </a:extLst>
          </p:cNvPr>
          <p:cNvSpPr/>
          <p:nvPr userDrawn="1"/>
        </p:nvSpPr>
        <p:spPr>
          <a:xfrm>
            <a:off x="640339" y="5401717"/>
            <a:ext cx="2116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gistration</a:t>
            </a:r>
          </a:p>
        </p:txBody>
      </p:sp>
      <p:sp>
        <p:nvSpPr>
          <p:cNvPr id="24" name="Flowchart: Terminator 19">
            <a:extLst>
              <a:ext uri="{FF2B5EF4-FFF2-40B4-BE49-F238E27FC236}">
                <a16:creationId xmlns:a16="http://schemas.microsoft.com/office/drawing/2014/main" id="{B38B2E1D-391A-124D-B951-857117AA045E}"/>
              </a:ext>
            </a:extLst>
          </p:cNvPr>
          <p:cNvSpPr/>
          <p:nvPr userDrawn="1"/>
        </p:nvSpPr>
        <p:spPr>
          <a:xfrm>
            <a:off x="1893237" y="5401709"/>
            <a:ext cx="245790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Product Mapping</a:t>
            </a:r>
          </a:p>
        </p:txBody>
      </p:sp>
      <p:sp>
        <p:nvSpPr>
          <p:cNvPr id="25" name="Flowchart: Terminator 20">
            <a:extLst>
              <a:ext uri="{FF2B5EF4-FFF2-40B4-BE49-F238E27FC236}">
                <a16:creationId xmlns:a16="http://schemas.microsoft.com/office/drawing/2014/main" id="{6D53C892-6202-B945-85F9-B238251C5FAE}"/>
              </a:ext>
            </a:extLst>
          </p:cNvPr>
          <p:cNvSpPr/>
          <p:nvPr userDrawn="1"/>
        </p:nvSpPr>
        <p:spPr>
          <a:xfrm>
            <a:off x="3561103" y="5401708"/>
            <a:ext cx="2114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26" name="Flowchart: Terminator 15">
            <a:extLst>
              <a:ext uri="{FF2B5EF4-FFF2-40B4-BE49-F238E27FC236}">
                <a16:creationId xmlns:a16="http://schemas.microsoft.com/office/drawing/2014/main" id="{D3C8D301-9158-FD42-80F1-46FC49903874}"/>
              </a:ext>
            </a:extLst>
          </p:cNvPr>
          <p:cNvSpPr/>
          <p:nvPr userDrawn="1"/>
        </p:nvSpPr>
        <p:spPr>
          <a:xfrm>
            <a:off x="4863208" y="5401721"/>
            <a:ext cx="190926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Exemptions</a:t>
            </a:r>
          </a:p>
        </p:txBody>
      </p:sp>
      <p:sp>
        <p:nvSpPr>
          <p:cNvPr id="27" name="Flowchart: Terminator 16">
            <a:extLst>
              <a:ext uri="{FF2B5EF4-FFF2-40B4-BE49-F238E27FC236}">
                <a16:creationId xmlns:a16="http://schemas.microsoft.com/office/drawing/2014/main" id="{BE553782-844C-A94B-BC27-B98379A903BF}"/>
              </a:ext>
            </a:extLst>
          </p:cNvPr>
          <p:cNvSpPr/>
          <p:nvPr userDrawn="1"/>
        </p:nvSpPr>
        <p:spPr>
          <a:xfrm>
            <a:off x="6114108" y="5401722"/>
            <a:ext cx="2055570" cy="7229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28" name="Flowchart: Terminator 17">
            <a:extLst>
              <a:ext uri="{FF2B5EF4-FFF2-40B4-BE49-F238E27FC236}">
                <a16:creationId xmlns:a16="http://schemas.microsoft.com/office/drawing/2014/main" id="{4D68D29C-FC48-2244-B92E-31758B4C9542}"/>
              </a:ext>
            </a:extLst>
          </p:cNvPr>
          <p:cNvSpPr/>
          <p:nvPr userDrawn="1"/>
        </p:nvSpPr>
        <p:spPr>
          <a:xfrm>
            <a:off x="7386952" y="5401722"/>
            <a:ext cx="2084831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Invoicing</a:t>
            </a:r>
          </a:p>
        </p:txBody>
      </p:sp>
      <p:sp>
        <p:nvSpPr>
          <p:cNvPr id="29" name="Flowchart: Terminator 10">
            <a:extLst>
              <a:ext uri="{FF2B5EF4-FFF2-40B4-BE49-F238E27FC236}">
                <a16:creationId xmlns:a16="http://schemas.microsoft.com/office/drawing/2014/main" id="{27FA8512-0A45-2741-B191-9C91BDECB701}"/>
              </a:ext>
            </a:extLst>
          </p:cNvPr>
          <p:cNvSpPr/>
          <p:nvPr userDrawn="1"/>
        </p:nvSpPr>
        <p:spPr>
          <a:xfrm>
            <a:off x="8457769" y="5401708"/>
            <a:ext cx="2074719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/>
            <a:r>
              <a:rPr lang="en-US" sz="1300">
                <a:solidFill>
                  <a:schemeClr val="bg1"/>
                </a:solidFill>
              </a:rPr>
              <a:t>Payments</a:t>
            </a:r>
          </a:p>
        </p:txBody>
      </p:sp>
      <p:sp>
        <p:nvSpPr>
          <p:cNvPr id="30" name="Flowchart: Terminator 12">
            <a:extLst>
              <a:ext uri="{FF2B5EF4-FFF2-40B4-BE49-F238E27FC236}">
                <a16:creationId xmlns:a16="http://schemas.microsoft.com/office/drawing/2014/main" id="{BBD08C35-1188-274A-BE14-568D43435D95}"/>
              </a:ext>
            </a:extLst>
          </p:cNvPr>
          <p:cNvSpPr/>
          <p:nvPr userDrawn="1"/>
        </p:nvSpPr>
        <p:spPr>
          <a:xfrm>
            <a:off x="9715450" y="5401699"/>
            <a:ext cx="1813305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D0272C-5B72-AB47-BCCC-771358560196}"/>
              </a:ext>
            </a:extLst>
          </p:cNvPr>
          <p:cNvSpPr txBox="1"/>
          <p:nvPr userDrawn="1"/>
        </p:nvSpPr>
        <p:spPr>
          <a:xfrm>
            <a:off x="927652" y="4996893"/>
            <a:ext cx="10545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TAX DETERMINATION		COMPLIANCE &amp; REPORTING	TAX DATA MANAGEMENT	DOCUMENT MANAGEMENT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ECFB994-B060-2946-91CB-5E9BBD0CCF50}"/>
              </a:ext>
            </a:extLst>
          </p:cNvPr>
          <p:cNvGrpSpPr/>
          <p:nvPr userDrawn="1"/>
        </p:nvGrpSpPr>
        <p:grpSpPr>
          <a:xfrm>
            <a:off x="6114107" y="1240435"/>
            <a:ext cx="6004411" cy="3707932"/>
            <a:chOff x="5567705" y="769661"/>
            <a:chExt cx="6550814" cy="3869629"/>
          </a:xfrm>
        </p:grpSpPr>
        <p:pic>
          <p:nvPicPr>
            <p:cNvPr id="33" name="Picture 5" descr="A screenshot of a computer screen&#10;&#10;Description automatically generated">
              <a:extLst>
                <a:ext uri="{FF2B5EF4-FFF2-40B4-BE49-F238E27FC236}">
                  <a16:creationId xmlns:a16="http://schemas.microsoft.com/office/drawing/2014/main" id="{43F7C9F7-AB87-E843-97B9-4CD063A63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3026" t="391" r="-7940" b="151"/>
            <a:stretch/>
          </p:blipFill>
          <p:spPr>
            <a:xfrm>
              <a:off x="5567705" y="769661"/>
              <a:ext cx="6550814" cy="3869629"/>
            </a:xfrm>
            <a:prstGeom prst="rect">
              <a:avLst/>
            </a:prstGeom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DC9D523-7B8E-5148-BF66-9B79797B3588}"/>
                </a:ext>
              </a:extLst>
            </p:cNvPr>
            <p:cNvGrpSpPr/>
            <p:nvPr/>
          </p:nvGrpSpPr>
          <p:grpSpPr>
            <a:xfrm>
              <a:off x="6437328" y="955518"/>
              <a:ext cx="4511088" cy="3177570"/>
              <a:chOff x="6437328" y="955518"/>
              <a:chExt cx="4511088" cy="3177570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619BC44-B683-7D40-AAFC-ACC6C721CC26}"/>
                  </a:ext>
                </a:extLst>
              </p:cNvPr>
              <p:cNvSpPr/>
              <p:nvPr/>
            </p:nvSpPr>
            <p:spPr>
              <a:xfrm>
                <a:off x="6437376" y="3651504"/>
                <a:ext cx="4511040" cy="4815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E612FE43-F5AF-CE49-99A1-BEE9F00930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254"/>
              <a:stretch/>
            </p:blipFill>
            <p:spPr>
              <a:xfrm>
                <a:off x="6437328" y="955518"/>
                <a:ext cx="4507817" cy="2927634"/>
              </a:xfrm>
              <a:prstGeom prst="rect">
                <a:avLst/>
              </a:prstGeom>
            </p:spPr>
          </p:pic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D57B80-3192-C140-8C7F-F8E46E22BEFB}"/>
              </a:ext>
            </a:extLst>
          </p:cNvPr>
          <p:cNvSpPr txBox="1"/>
          <p:nvPr userDrawn="1"/>
        </p:nvSpPr>
        <p:spPr>
          <a:xfrm>
            <a:off x="817533" y="1594008"/>
            <a:ext cx="492059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/>
              <a:t>Our solutions address the complexities of the broadest set of global businesses, commerce platforms and B2B / B2C marketpla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FB20FF7-2163-0A43-8C1A-CC3822E41C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17533" y="2719882"/>
            <a:ext cx="5616524" cy="781545"/>
          </a:xfrm>
          <a:prstGeom prst="rect">
            <a:avLst/>
          </a:prstGeom>
          <a:noFill/>
          <a:ln w="19050">
            <a:noFill/>
          </a:ln>
        </p:spPr>
        <p:txBody>
          <a:bodyPr wrap="square" lIns="80682" tIns="80682" rIns="80682" bIns="80682" numCol="2" anchor="t">
            <a:noAutofit/>
          </a:bodyPr>
          <a:lstStyle/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jurisdictions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channel distribution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ple transaction systems 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High transaction volum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EDC53E-7548-8348-BFED-B9954892B972}"/>
              </a:ext>
            </a:extLst>
          </p:cNvPr>
          <p:cNvSpPr txBox="1"/>
          <p:nvPr userDrawn="1"/>
        </p:nvSpPr>
        <p:spPr>
          <a:xfrm>
            <a:off x="920032" y="4153639"/>
            <a:ext cx="4688287" cy="64633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/>
              <a:t>Modular capabilities supporting multiple end-to-end use cases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E3A7C29-A6C5-9945-94E3-F323269D76FC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owerful end-to-end solutions</a:t>
            </a:r>
          </a:p>
        </p:txBody>
      </p:sp>
    </p:spTree>
    <p:extLst>
      <p:ext uri="{BB962C8B-B14F-4D97-AF65-F5344CB8AC3E}">
        <p14:creationId xmlns:p14="http://schemas.microsoft.com/office/powerpoint/2010/main" val="28501315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obal Commerce and Compli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D054ABA-6502-2046-AD9A-E9D6D73C7623}"/>
              </a:ext>
            </a:extLst>
          </p:cNvPr>
          <p:cNvSpPr/>
          <p:nvPr userDrawn="1"/>
        </p:nvSpPr>
        <p:spPr>
          <a:xfrm>
            <a:off x="0" y="0"/>
            <a:ext cx="12192000" cy="64928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F2664C8-9026-784E-A51E-90AFC4DE3B67}"/>
              </a:ext>
            </a:extLst>
          </p:cNvPr>
          <p:cNvSpPr/>
          <p:nvPr userDrawn="1"/>
        </p:nvSpPr>
        <p:spPr>
          <a:xfrm>
            <a:off x="3199858" y="2792971"/>
            <a:ext cx="1961852" cy="19618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D94C7D85-3EC1-A041-A185-E80C76C9FF95}"/>
              </a:ext>
            </a:extLst>
          </p:cNvPr>
          <p:cNvSpPr/>
          <p:nvPr userDrawn="1"/>
        </p:nvSpPr>
        <p:spPr>
          <a:xfrm>
            <a:off x="6502963" y="2794074"/>
            <a:ext cx="1948464" cy="19484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7472B4BC-3A49-E64D-A4D0-13A21E2F56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83" name="Title 1">
            <a:extLst>
              <a:ext uri="{FF2B5EF4-FFF2-40B4-BE49-F238E27FC236}">
                <a16:creationId xmlns:a16="http://schemas.microsoft.com/office/drawing/2014/main" id="{686EE6CB-EA60-AE4A-9AFD-370651A9B6E2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Global commerce and compliance </a:t>
            </a:r>
            <a:br>
              <a:rPr lang="en-US" sz="4000" b="0" kern="0">
                <a:solidFill>
                  <a:schemeClr val="tx2"/>
                </a:solidFill>
                <a:effectLst/>
              </a:rPr>
            </a:br>
            <a:r>
              <a:rPr lang="en-US" sz="4000" b="0" kern="0">
                <a:solidFill>
                  <a:schemeClr val="tx2"/>
                </a:solidFill>
                <a:effectLst/>
              </a:rPr>
              <a:t>that’s seamlessly connected</a:t>
            </a:r>
          </a:p>
        </p:txBody>
      </p:sp>
      <p:sp>
        <p:nvSpPr>
          <p:cNvPr id="68" name="Freihandform: Form 23">
            <a:extLst>
              <a:ext uri="{FF2B5EF4-FFF2-40B4-BE49-F238E27FC236}">
                <a16:creationId xmlns:a16="http://schemas.microsoft.com/office/drawing/2014/main" id="{2EB9534E-C42D-8A46-8A41-C2037FE44E46}"/>
              </a:ext>
            </a:extLst>
          </p:cNvPr>
          <p:cNvSpPr/>
          <p:nvPr userDrawn="1"/>
        </p:nvSpPr>
        <p:spPr bwMode="gray">
          <a:xfrm>
            <a:off x="6191176" y="2481919"/>
            <a:ext cx="2576168" cy="2576368"/>
          </a:xfrm>
          <a:custGeom>
            <a:avLst/>
            <a:gdLst>
              <a:gd name="connsiteX0" fmla="*/ 2231983 w 4463968"/>
              <a:gd name="connsiteY0" fmla="*/ 630299 h 4463628"/>
              <a:gd name="connsiteX1" fmla="*/ 630347 w 4463968"/>
              <a:gd name="connsiteY1" fmla="*/ 2231813 h 4463628"/>
              <a:gd name="connsiteX2" fmla="*/ 2231983 w 4463968"/>
              <a:gd name="connsiteY2" fmla="*/ 3833327 h 4463628"/>
              <a:gd name="connsiteX3" fmla="*/ 3833619 w 4463968"/>
              <a:gd name="connsiteY3" fmla="*/ 2231813 h 4463628"/>
              <a:gd name="connsiteX4" fmla="*/ 2231983 w 4463968"/>
              <a:gd name="connsiteY4" fmla="*/ 630299 h 4463628"/>
              <a:gd name="connsiteX5" fmla="*/ 2231984 w 4463968"/>
              <a:gd name="connsiteY5" fmla="*/ 0 h 4463628"/>
              <a:gd name="connsiteX6" fmla="*/ 4463968 w 4463968"/>
              <a:gd name="connsiteY6" fmla="*/ 2231814 h 4463628"/>
              <a:gd name="connsiteX7" fmla="*/ 2231984 w 4463968"/>
              <a:gd name="connsiteY7" fmla="*/ 4463628 h 4463628"/>
              <a:gd name="connsiteX8" fmla="*/ 0 w 4463968"/>
              <a:gd name="connsiteY8" fmla="*/ 2231814 h 4463628"/>
              <a:gd name="connsiteX9" fmla="*/ 2231984 w 4463968"/>
              <a:gd name="connsiteY9" fmla="*/ 0 h 4463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968" h="4463628">
                <a:moveTo>
                  <a:pt x="2231983" y="630299"/>
                </a:moveTo>
                <a:cubicBezTo>
                  <a:pt x="1347424" y="630299"/>
                  <a:pt x="630347" y="1347321"/>
                  <a:pt x="630347" y="2231813"/>
                </a:cubicBezTo>
                <a:cubicBezTo>
                  <a:pt x="630347" y="3116305"/>
                  <a:pt x="1347424" y="3833327"/>
                  <a:pt x="2231983" y="3833327"/>
                </a:cubicBezTo>
                <a:cubicBezTo>
                  <a:pt x="3116542" y="3833327"/>
                  <a:pt x="3833619" y="3116305"/>
                  <a:pt x="3833619" y="2231813"/>
                </a:cubicBezTo>
                <a:cubicBezTo>
                  <a:pt x="3833619" y="1347321"/>
                  <a:pt x="3116542" y="630299"/>
                  <a:pt x="2231983" y="630299"/>
                </a:cubicBezTo>
                <a:close/>
                <a:moveTo>
                  <a:pt x="2231984" y="0"/>
                </a:moveTo>
                <a:cubicBezTo>
                  <a:pt x="3464675" y="0"/>
                  <a:pt x="4463968" y="999217"/>
                  <a:pt x="4463968" y="2231814"/>
                </a:cubicBezTo>
                <a:cubicBezTo>
                  <a:pt x="4463968" y="3464411"/>
                  <a:pt x="3464675" y="4463628"/>
                  <a:pt x="2231984" y="4463628"/>
                </a:cubicBezTo>
                <a:cubicBezTo>
                  <a:pt x="999293" y="4463628"/>
                  <a:pt x="0" y="3464411"/>
                  <a:pt x="0" y="2231814"/>
                </a:cubicBezTo>
                <a:cubicBezTo>
                  <a:pt x="0" y="999217"/>
                  <a:pt x="999293" y="0"/>
                  <a:pt x="2231984" y="0"/>
                </a:cubicBezTo>
                <a:close/>
              </a:path>
            </a:pathLst>
          </a:custGeom>
          <a:solidFill>
            <a:srgbClr val="008FDC">
              <a:alpha val="4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" name="Freihandform: Form 24">
            <a:extLst>
              <a:ext uri="{FF2B5EF4-FFF2-40B4-BE49-F238E27FC236}">
                <a16:creationId xmlns:a16="http://schemas.microsoft.com/office/drawing/2014/main" id="{28D23AD2-1D5A-B04C-936A-EC7AE30B6B5D}"/>
              </a:ext>
            </a:extLst>
          </p:cNvPr>
          <p:cNvSpPr/>
          <p:nvPr userDrawn="1"/>
        </p:nvSpPr>
        <p:spPr bwMode="gray">
          <a:xfrm>
            <a:off x="6278007" y="2566624"/>
            <a:ext cx="2406772" cy="2406959"/>
          </a:xfrm>
          <a:custGeom>
            <a:avLst/>
            <a:gdLst>
              <a:gd name="connsiteX0" fmla="*/ 2085219 w 4170440"/>
              <a:gd name="connsiteY0" fmla="*/ 483546 h 4170122"/>
              <a:gd name="connsiteX1" fmla="*/ 483583 w 4170440"/>
              <a:gd name="connsiteY1" fmla="*/ 2085060 h 4170122"/>
              <a:gd name="connsiteX2" fmla="*/ 2085219 w 4170440"/>
              <a:gd name="connsiteY2" fmla="*/ 3686574 h 4170122"/>
              <a:gd name="connsiteX3" fmla="*/ 3686855 w 4170440"/>
              <a:gd name="connsiteY3" fmla="*/ 2085060 h 4170122"/>
              <a:gd name="connsiteX4" fmla="*/ 2085219 w 4170440"/>
              <a:gd name="connsiteY4" fmla="*/ 483546 h 4170122"/>
              <a:gd name="connsiteX5" fmla="*/ 2085220 w 4170440"/>
              <a:gd name="connsiteY5" fmla="*/ 0 h 4170122"/>
              <a:gd name="connsiteX6" fmla="*/ 4170440 w 4170440"/>
              <a:gd name="connsiteY6" fmla="*/ 2085061 h 4170122"/>
              <a:gd name="connsiteX7" fmla="*/ 2085220 w 4170440"/>
              <a:gd name="connsiteY7" fmla="*/ 4170122 h 4170122"/>
              <a:gd name="connsiteX8" fmla="*/ 0 w 4170440"/>
              <a:gd name="connsiteY8" fmla="*/ 2085061 h 4170122"/>
              <a:gd name="connsiteX9" fmla="*/ 2085220 w 4170440"/>
              <a:gd name="connsiteY9" fmla="*/ 0 h 4170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440" h="4170122">
                <a:moveTo>
                  <a:pt x="2085219" y="483546"/>
                </a:moveTo>
                <a:cubicBezTo>
                  <a:pt x="1200660" y="483546"/>
                  <a:pt x="483583" y="1200568"/>
                  <a:pt x="483583" y="2085060"/>
                </a:cubicBezTo>
                <a:cubicBezTo>
                  <a:pt x="483583" y="2969552"/>
                  <a:pt x="1200660" y="3686574"/>
                  <a:pt x="2085219" y="3686574"/>
                </a:cubicBezTo>
                <a:cubicBezTo>
                  <a:pt x="2969778" y="3686574"/>
                  <a:pt x="3686855" y="2969552"/>
                  <a:pt x="3686855" y="2085060"/>
                </a:cubicBezTo>
                <a:cubicBezTo>
                  <a:pt x="3686855" y="1200568"/>
                  <a:pt x="2969778" y="483546"/>
                  <a:pt x="2085219" y="483546"/>
                </a:cubicBezTo>
                <a:close/>
                <a:moveTo>
                  <a:pt x="2085220" y="0"/>
                </a:moveTo>
                <a:cubicBezTo>
                  <a:pt x="3236855" y="0"/>
                  <a:pt x="4170440" y="933514"/>
                  <a:pt x="4170440" y="2085061"/>
                </a:cubicBezTo>
                <a:cubicBezTo>
                  <a:pt x="4170440" y="3236608"/>
                  <a:pt x="3236855" y="4170122"/>
                  <a:pt x="2085220" y="4170122"/>
                </a:cubicBezTo>
                <a:cubicBezTo>
                  <a:pt x="933585" y="4170122"/>
                  <a:pt x="0" y="3236608"/>
                  <a:pt x="0" y="2085061"/>
                </a:cubicBezTo>
                <a:cubicBezTo>
                  <a:pt x="0" y="933514"/>
                  <a:pt x="933585" y="0"/>
                  <a:pt x="2085220" y="0"/>
                </a:cubicBezTo>
                <a:close/>
              </a:path>
            </a:pathLst>
          </a:custGeom>
          <a:solidFill>
            <a:srgbClr val="008FDC">
              <a:alpha val="5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70" name="Gerade Verbindung 354">
            <a:extLst>
              <a:ext uri="{FF2B5EF4-FFF2-40B4-BE49-F238E27FC236}">
                <a16:creationId xmlns:a16="http://schemas.microsoft.com/office/drawing/2014/main" id="{FD813779-A7C1-5F47-8AD2-1D72D263A5E1}"/>
              </a:ext>
            </a:extLst>
          </p:cNvPr>
          <p:cNvCxnSpPr>
            <a:cxnSpLocks/>
          </p:cNvCxnSpPr>
          <p:nvPr userDrawn="1"/>
        </p:nvCxnSpPr>
        <p:spPr>
          <a:xfrm>
            <a:off x="2253655" y="3805219"/>
            <a:ext cx="636443" cy="496"/>
          </a:xfrm>
          <a:prstGeom prst="line">
            <a:avLst/>
          </a:prstGeom>
          <a:noFill/>
          <a:ln w="12700" cap="rnd" cmpd="sng" algn="ctr">
            <a:solidFill>
              <a:schemeClr val="accent4"/>
            </a:solidFill>
            <a:prstDash val="solid"/>
            <a:round/>
          </a:ln>
          <a:effectLst/>
        </p:spPr>
      </p:cxnSp>
      <p:sp>
        <p:nvSpPr>
          <p:cNvPr id="71" name="Freihandform: Form 26">
            <a:extLst>
              <a:ext uri="{FF2B5EF4-FFF2-40B4-BE49-F238E27FC236}">
                <a16:creationId xmlns:a16="http://schemas.microsoft.com/office/drawing/2014/main" id="{BD157E4F-C01E-434E-989B-9BB183FA46E0}"/>
              </a:ext>
            </a:extLst>
          </p:cNvPr>
          <p:cNvSpPr/>
          <p:nvPr userDrawn="1"/>
        </p:nvSpPr>
        <p:spPr bwMode="gray">
          <a:xfrm>
            <a:off x="6393486" y="2690449"/>
            <a:ext cx="2159141" cy="2159309"/>
          </a:xfrm>
          <a:custGeom>
            <a:avLst/>
            <a:gdLst>
              <a:gd name="connsiteX0" fmla="*/ 1870672 w 3741346"/>
              <a:gd name="connsiteY0" fmla="*/ 269015 h 3741062"/>
              <a:gd name="connsiteX1" fmla="*/ 269036 w 3741346"/>
              <a:gd name="connsiteY1" fmla="*/ 1870529 h 3741062"/>
              <a:gd name="connsiteX2" fmla="*/ 1870672 w 3741346"/>
              <a:gd name="connsiteY2" fmla="*/ 3472043 h 3741062"/>
              <a:gd name="connsiteX3" fmla="*/ 3472308 w 3741346"/>
              <a:gd name="connsiteY3" fmla="*/ 1870529 h 3741062"/>
              <a:gd name="connsiteX4" fmla="*/ 1870672 w 3741346"/>
              <a:gd name="connsiteY4" fmla="*/ 269015 h 3741062"/>
              <a:gd name="connsiteX5" fmla="*/ 1870673 w 3741346"/>
              <a:gd name="connsiteY5" fmla="*/ 0 h 3741062"/>
              <a:gd name="connsiteX6" fmla="*/ 3741346 w 3741346"/>
              <a:gd name="connsiteY6" fmla="*/ 1870531 h 3741062"/>
              <a:gd name="connsiteX7" fmla="*/ 1870673 w 3741346"/>
              <a:gd name="connsiteY7" fmla="*/ 3741062 h 3741062"/>
              <a:gd name="connsiteX8" fmla="*/ 0 w 3741346"/>
              <a:gd name="connsiteY8" fmla="*/ 1870531 h 3741062"/>
              <a:gd name="connsiteX9" fmla="*/ 1870673 w 3741346"/>
              <a:gd name="connsiteY9" fmla="*/ 0 h 374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1346" h="3741062">
                <a:moveTo>
                  <a:pt x="1870672" y="269015"/>
                </a:moveTo>
                <a:cubicBezTo>
                  <a:pt x="986113" y="269015"/>
                  <a:pt x="269036" y="986037"/>
                  <a:pt x="269036" y="1870529"/>
                </a:cubicBezTo>
                <a:cubicBezTo>
                  <a:pt x="269036" y="2755021"/>
                  <a:pt x="986113" y="3472043"/>
                  <a:pt x="1870672" y="3472043"/>
                </a:cubicBezTo>
                <a:cubicBezTo>
                  <a:pt x="2755231" y="3472043"/>
                  <a:pt x="3472308" y="2755021"/>
                  <a:pt x="3472308" y="1870529"/>
                </a:cubicBezTo>
                <a:cubicBezTo>
                  <a:pt x="3472308" y="986037"/>
                  <a:pt x="2755231" y="269015"/>
                  <a:pt x="1870672" y="269015"/>
                </a:cubicBezTo>
                <a:close/>
                <a:moveTo>
                  <a:pt x="1870673" y="0"/>
                </a:moveTo>
                <a:cubicBezTo>
                  <a:pt x="2903817" y="0"/>
                  <a:pt x="3741346" y="837465"/>
                  <a:pt x="3741346" y="1870531"/>
                </a:cubicBezTo>
                <a:cubicBezTo>
                  <a:pt x="3741346" y="2903597"/>
                  <a:pt x="2903817" y="3741062"/>
                  <a:pt x="1870673" y="3741062"/>
                </a:cubicBezTo>
                <a:cubicBezTo>
                  <a:pt x="837529" y="3741062"/>
                  <a:pt x="0" y="2903597"/>
                  <a:pt x="0" y="1870531"/>
                </a:cubicBezTo>
                <a:cubicBezTo>
                  <a:pt x="0" y="837465"/>
                  <a:pt x="837529" y="0"/>
                  <a:pt x="1870673" y="0"/>
                </a:cubicBezTo>
                <a:close/>
              </a:path>
            </a:pathLst>
          </a:custGeom>
          <a:solidFill>
            <a:srgbClr val="008FDC"/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9" name="Freihandform: Form 23">
            <a:extLst>
              <a:ext uri="{FF2B5EF4-FFF2-40B4-BE49-F238E27FC236}">
                <a16:creationId xmlns:a16="http://schemas.microsoft.com/office/drawing/2014/main" id="{F1B18C9B-5FD1-1A45-9865-10CD3444BB8D}"/>
              </a:ext>
            </a:extLst>
          </p:cNvPr>
          <p:cNvSpPr/>
          <p:nvPr/>
        </p:nvSpPr>
        <p:spPr bwMode="gray">
          <a:xfrm>
            <a:off x="2892341" y="2481919"/>
            <a:ext cx="2576168" cy="2576368"/>
          </a:xfrm>
          <a:custGeom>
            <a:avLst/>
            <a:gdLst>
              <a:gd name="connsiteX0" fmla="*/ 2231983 w 4463968"/>
              <a:gd name="connsiteY0" fmla="*/ 630299 h 4463628"/>
              <a:gd name="connsiteX1" fmla="*/ 630347 w 4463968"/>
              <a:gd name="connsiteY1" fmla="*/ 2231813 h 4463628"/>
              <a:gd name="connsiteX2" fmla="*/ 2231983 w 4463968"/>
              <a:gd name="connsiteY2" fmla="*/ 3833327 h 4463628"/>
              <a:gd name="connsiteX3" fmla="*/ 3833619 w 4463968"/>
              <a:gd name="connsiteY3" fmla="*/ 2231813 h 4463628"/>
              <a:gd name="connsiteX4" fmla="*/ 2231983 w 4463968"/>
              <a:gd name="connsiteY4" fmla="*/ 630299 h 4463628"/>
              <a:gd name="connsiteX5" fmla="*/ 2231984 w 4463968"/>
              <a:gd name="connsiteY5" fmla="*/ 0 h 4463628"/>
              <a:gd name="connsiteX6" fmla="*/ 4463968 w 4463968"/>
              <a:gd name="connsiteY6" fmla="*/ 2231814 h 4463628"/>
              <a:gd name="connsiteX7" fmla="*/ 2231984 w 4463968"/>
              <a:gd name="connsiteY7" fmla="*/ 4463628 h 4463628"/>
              <a:gd name="connsiteX8" fmla="*/ 0 w 4463968"/>
              <a:gd name="connsiteY8" fmla="*/ 2231814 h 4463628"/>
              <a:gd name="connsiteX9" fmla="*/ 2231984 w 4463968"/>
              <a:gd name="connsiteY9" fmla="*/ 0 h 4463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968" h="4463628">
                <a:moveTo>
                  <a:pt x="2231983" y="630299"/>
                </a:moveTo>
                <a:cubicBezTo>
                  <a:pt x="1347424" y="630299"/>
                  <a:pt x="630347" y="1347321"/>
                  <a:pt x="630347" y="2231813"/>
                </a:cubicBezTo>
                <a:cubicBezTo>
                  <a:pt x="630347" y="3116305"/>
                  <a:pt x="1347424" y="3833327"/>
                  <a:pt x="2231983" y="3833327"/>
                </a:cubicBezTo>
                <a:cubicBezTo>
                  <a:pt x="3116542" y="3833327"/>
                  <a:pt x="3833619" y="3116305"/>
                  <a:pt x="3833619" y="2231813"/>
                </a:cubicBezTo>
                <a:cubicBezTo>
                  <a:pt x="3833619" y="1347321"/>
                  <a:pt x="3116542" y="630299"/>
                  <a:pt x="2231983" y="630299"/>
                </a:cubicBezTo>
                <a:close/>
                <a:moveTo>
                  <a:pt x="2231984" y="0"/>
                </a:moveTo>
                <a:cubicBezTo>
                  <a:pt x="3464675" y="0"/>
                  <a:pt x="4463968" y="999217"/>
                  <a:pt x="4463968" y="2231814"/>
                </a:cubicBezTo>
                <a:cubicBezTo>
                  <a:pt x="4463968" y="3464411"/>
                  <a:pt x="3464675" y="4463628"/>
                  <a:pt x="2231984" y="4463628"/>
                </a:cubicBezTo>
                <a:cubicBezTo>
                  <a:pt x="999293" y="4463628"/>
                  <a:pt x="0" y="3464411"/>
                  <a:pt x="0" y="2231814"/>
                </a:cubicBezTo>
                <a:cubicBezTo>
                  <a:pt x="0" y="999217"/>
                  <a:pt x="999293" y="0"/>
                  <a:pt x="2231984" y="0"/>
                </a:cubicBezTo>
                <a:close/>
              </a:path>
            </a:pathLst>
          </a:custGeom>
          <a:solidFill>
            <a:schemeClr val="accent4">
              <a:alpha val="45858"/>
            </a:scheme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0" name="Freihandform: Form 24">
            <a:extLst>
              <a:ext uri="{FF2B5EF4-FFF2-40B4-BE49-F238E27FC236}">
                <a16:creationId xmlns:a16="http://schemas.microsoft.com/office/drawing/2014/main" id="{9708FED6-8E3D-EE48-AB9A-3850BA524237}"/>
              </a:ext>
            </a:extLst>
          </p:cNvPr>
          <p:cNvSpPr/>
          <p:nvPr/>
        </p:nvSpPr>
        <p:spPr bwMode="gray">
          <a:xfrm>
            <a:off x="2977039" y="2566624"/>
            <a:ext cx="2406772" cy="2406959"/>
          </a:xfrm>
          <a:custGeom>
            <a:avLst/>
            <a:gdLst>
              <a:gd name="connsiteX0" fmla="*/ 2085219 w 4170440"/>
              <a:gd name="connsiteY0" fmla="*/ 483546 h 4170122"/>
              <a:gd name="connsiteX1" fmla="*/ 483583 w 4170440"/>
              <a:gd name="connsiteY1" fmla="*/ 2085060 h 4170122"/>
              <a:gd name="connsiteX2" fmla="*/ 2085219 w 4170440"/>
              <a:gd name="connsiteY2" fmla="*/ 3686574 h 4170122"/>
              <a:gd name="connsiteX3" fmla="*/ 3686855 w 4170440"/>
              <a:gd name="connsiteY3" fmla="*/ 2085060 h 4170122"/>
              <a:gd name="connsiteX4" fmla="*/ 2085219 w 4170440"/>
              <a:gd name="connsiteY4" fmla="*/ 483546 h 4170122"/>
              <a:gd name="connsiteX5" fmla="*/ 2085220 w 4170440"/>
              <a:gd name="connsiteY5" fmla="*/ 0 h 4170122"/>
              <a:gd name="connsiteX6" fmla="*/ 4170440 w 4170440"/>
              <a:gd name="connsiteY6" fmla="*/ 2085061 h 4170122"/>
              <a:gd name="connsiteX7" fmla="*/ 2085220 w 4170440"/>
              <a:gd name="connsiteY7" fmla="*/ 4170122 h 4170122"/>
              <a:gd name="connsiteX8" fmla="*/ 0 w 4170440"/>
              <a:gd name="connsiteY8" fmla="*/ 2085061 h 4170122"/>
              <a:gd name="connsiteX9" fmla="*/ 2085220 w 4170440"/>
              <a:gd name="connsiteY9" fmla="*/ 0 h 4170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440" h="4170122">
                <a:moveTo>
                  <a:pt x="2085219" y="483546"/>
                </a:moveTo>
                <a:cubicBezTo>
                  <a:pt x="1200660" y="483546"/>
                  <a:pt x="483583" y="1200568"/>
                  <a:pt x="483583" y="2085060"/>
                </a:cubicBezTo>
                <a:cubicBezTo>
                  <a:pt x="483583" y="2969552"/>
                  <a:pt x="1200660" y="3686574"/>
                  <a:pt x="2085219" y="3686574"/>
                </a:cubicBezTo>
                <a:cubicBezTo>
                  <a:pt x="2969778" y="3686574"/>
                  <a:pt x="3686855" y="2969552"/>
                  <a:pt x="3686855" y="2085060"/>
                </a:cubicBezTo>
                <a:cubicBezTo>
                  <a:pt x="3686855" y="1200568"/>
                  <a:pt x="2969778" y="483546"/>
                  <a:pt x="2085219" y="483546"/>
                </a:cubicBezTo>
                <a:close/>
                <a:moveTo>
                  <a:pt x="2085220" y="0"/>
                </a:moveTo>
                <a:cubicBezTo>
                  <a:pt x="3236855" y="0"/>
                  <a:pt x="4170440" y="933514"/>
                  <a:pt x="4170440" y="2085061"/>
                </a:cubicBezTo>
                <a:cubicBezTo>
                  <a:pt x="4170440" y="3236608"/>
                  <a:pt x="3236855" y="4170122"/>
                  <a:pt x="2085220" y="4170122"/>
                </a:cubicBezTo>
                <a:cubicBezTo>
                  <a:pt x="933585" y="4170122"/>
                  <a:pt x="0" y="3236608"/>
                  <a:pt x="0" y="2085061"/>
                </a:cubicBezTo>
                <a:cubicBezTo>
                  <a:pt x="0" y="933514"/>
                  <a:pt x="933585" y="0"/>
                  <a:pt x="2085220" y="0"/>
                </a:cubicBezTo>
                <a:close/>
              </a:path>
            </a:pathLst>
          </a:custGeom>
          <a:solidFill>
            <a:schemeClr val="accent4">
              <a:alpha val="57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1" name="Freihandform: Form 26">
            <a:extLst>
              <a:ext uri="{FF2B5EF4-FFF2-40B4-BE49-F238E27FC236}">
                <a16:creationId xmlns:a16="http://schemas.microsoft.com/office/drawing/2014/main" id="{437B39EF-EB52-2147-9FE5-470F40112F10}"/>
              </a:ext>
            </a:extLst>
          </p:cNvPr>
          <p:cNvSpPr/>
          <p:nvPr/>
        </p:nvSpPr>
        <p:spPr bwMode="gray">
          <a:xfrm>
            <a:off x="3100855" y="2690449"/>
            <a:ext cx="2159141" cy="2159309"/>
          </a:xfrm>
          <a:custGeom>
            <a:avLst/>
            <a:gdLst>
              <a:gd name="connsiteX0" fmla="*/ 1870672 w 3741346"/>
              <a:gd name="connsiteY0" fmla="*/ 269015 h 3741062"/>
              <a:gd name="connsiteX1" fmla="*/ 269036 w 3741346"/>
              <a:gd name="connsiteY1" fmla="*/ 1870529 h 3741062"/>
              <a:gd name="connsiteX2" fmla="*/ 1870672 w 3741346"/>
              <a:gd name="connsiteY2" fmla="*/ 3472043 h 3741062"/>
              <a:gd name="connsiteX3" fmla="*/ 3472308 w 3741346"/>
              <a:gd name="connsiteY3" fmla="*/ 1870529 h 3741062"/>
              <a:gd name="connsiteX4" fmla="*/ 1870672 w 3741346"/>
              <a:gd name="connsiteY4" fmla="*/ 269015 h 3741062"/>
              <a:gd name="connsiteX5" fmla="*/ 1870673 w 3741346"/>
              <a:gd name="connsiteY5" fmla="*/ 0 h 3741062"/>
              <a:gd name="connsiteX6" fmla="*/ 3741346 w 3741346"/>
              <a:gd name="connsiteY6" fmla="*/ 1870531 h 3741062"/>
              <a:gd name="connsiteX7" fmla="*/ 1870673 w 3741346"/>
              <a:gd name="connsiteY7" fmla="*/ 3741062 h 3741062"/>
              <a:gd name="connsiteX8" fmla="*/ 0 w 3741346"/>
              <a:gd name="connsiteY8" fmla="*/ 1870531 h 3741062"/>
              <a:gd name="connsiteX9" fmla="*/ 1870673 w 3741346"/>
              <a:gd name="connsiteY9" fmla="*/ 0 h 374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1346" h="3741062">
                <a:moveTo>
                  <a:pt x="1870672" y="269015"/>
                </a:moveTo>
                <a:cubicBezTo>
                  <a:pt x="986113" y="269015"/>
                  <a:pt x="269036" y="986037"/>
                  <a:pt x="269036" y="1870529"/>
                </a:cubicBezTo>
                <a:cubicBezTo>
                  <a:pt x="269036" y="2755021"/>
                  <a:pt x="986113" y="3472043"/>
                  <a:pt x="1870672" y="3472043"/>
                </a:cubicBezTo>
                <a:cubicBezTo>
                  <a:pt x="2755231" y="3472043"/>
                  <a:pt x="3472308" y="2755021"/>
                  <a:pt x="3472308" y="1870529"/>
                </a:cubicBezTo>
                <a:cubicBezTo>
                  <a:pt x="3472308" y="986037"/>
                  <a:pt x="2755231" y="269015"/>
                  <a:pt x="1870672" y="269015"/>
                </a:cubicBezTo>
                <a:close/>
                <a:moveTo>
                  <a:pt x="1870673" y="0"/>
                </a:moveTo>
                <a:cubicBezTo>
                  <a:pt x="2903817" y="0"/>
                  <a:pt x="3741346" y="837465"/>
                  <a:pt x="3741346" y="1870531"/>
                </a:cubicBezTo>
                <a:cubicBezTo>
                  <a:pt x="3741346" y="2903597"/>
                  <a:pt x="2903817" y="3741062"/>
                  <a:pt x="1870673" y="3741062"/>
                </a:cubicBezTo>
                <a:cubicBezTo>
                  <a:pt x="837529" y="3741062"/>
                  <a:pt x="0" y="2903597"/>
                  <a:pt x="0" y="1870531"/>
                </a:cubicBezTo>
                <a:cubicBezTo>
                  <a:pt x="0" y="837465"/>
                  <a:pt x="837529" y="0"/>
                  <a:pt x="1870673" y="0"/>
                </a:cubicBezTo>
                <a:close/>
              </a:path>
            </a:pathLst>
          </a:custGeom>
          <a:solidFill>
            <a:srgbClr val="6FD34E"/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73" name="Gruppieren 74">
            <a:extLst>
              <a:ext uri="{FF2B5EF4-FFF2-40B4-BE49-F238E27FC236}">
                <a16:creationId xmlns:a16="http://schemas.microsoft.com/office/drawing/2014/main" id="{3888FACE-FC78-724C-8F58-322A06A56F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610415" y="5354127"/>
            <a:ext cx="208544" cy="303153"/>
            <a:chOff x="6938963" y="3908426"/>
            <a:chExt cx="290513" cy="422275"/>
          </a:xfrm>
        </p:grpSpPr>
        <p:sp>
          <p:nvSpPr>
            <p:cNvPr id="186" name="Freeform 81">
              <a:extLst>
                <a:ext uri="{FF2B5EF4-FFF2-40B4-BE49-F238E27FC236}">
                  <a16:creationId xmlns:a16="http://schemas.microsoft.com/office/drawing/2014/main" id="{5E7EC299-C719-1942-B1D6-3D6982A6D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71926"/>
              <a:ext cx="144463" cy="309563"/>
            </a:xfrm>
            <a:custGeom>
              <a:avLst/>
              <a:gdLst>
                <a:gd name="T0" fmla="*/ 539 w 539"/>
                <a:gd name="T1" fmla="*/ 1150 h 1150"/>
                <a:gd name="T2" fmla="*/ 4 w 539"/>
                <a:gd name="T3" fmla="*/ 734 h 1150"/>
                <a:gd name="T4" fmla="*/ 539 w 539"/>
                <a:gd name="T5" fmla="*/ 1150 h 1150"/>
                <a:gd name="T6" fmla="*/ 0 w 539"/>
                <a:gd name="T7" fmla="*/ 200 h 1150"/>
                <a:gd name="T8" fmla="*/ 0 w 539"/>
                <a:gd name="T9" fmla="*/ 200 h 1150"/>
                <a:gd name="T10" fmla="*/ 63 w 539"/>
                <a:gd name="T11" fmla="*/ 101 h 1150"/>
                <a:gd name="T12" fmla="*/ 0 w 539"/>
                <a:gd name="T13" fmla="*/ 200 h 1150"/>
                <a:gd name="T14" fmla="*/ 539 w 539"/>
                <a:gd name="T15" fmla="*/ 102 h 1150"/>
                <a:gd name="T16" fmla="*/ 437 w 539"/>
                <a:gd name="T17" fmla="*/ 63 h 1150"/>
                <a:gd name="T18" fmla="*/ 376 w 539"/>
                <a:gd name="T19" fmla="*/ 55 h 1150"/>
                <a:gd name="T20" fmla="*/ 437 w 539"/>
                <a:gd name="T21" fmla="*/ 63 h 1150"/>
                <a:gd name="T22" fmla="*/ 539 w 539"/>
                <a:gd name="T23" fmla="*/ 102 h 1150"/>
                <a:gd name="T24" fmla="*/ 228 w 539"/>
                <a:gd name="T25" fmla="*/ 16 h 1150"/>
                <a:gd name="T26" fmla="*/ 215 w 539"/>
                <a:gd name="T27" fmla="*/ 9 h 1150"/>
                <a:gd name="T28" fmla="*/ 175 w 539"/>
                <a:gd name="T29" fmla="*/ 0 h 1150"/>
                <a:gd name="T30" fmla="*/ 169 w 539"/>
                <a:gd name="T31" fmla="*/ 0 h 1150"/>
                <a:gd name="T32" fmla="*/ 175 w 539"/>
                <a:gd name="T33" fmla="*/ 0 h 1150"/>
                <a:gd name="T34" fmla="*/ 215 w 539"/>
                <a:gd name="T35" fmla="*/ 9 h 1150"/>
                <a:gd name="T36" fmla="*/ 228 w 539"/>
                <a:gd name="T37" fmla="*/ 16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9" h="1150">
                  <a:moveTo>
                    <a:pt x="539" y="1150"/>
                  </a:moveTo>
                  <a:cubicBezTo>
                    <a:pt x="350" y="1034"/>
                    <a:pt x="133" y="859"/>
                    <a:pt x="4" y="734"/>
                  </a:cubicBezTo>
                  <a:cubicBezTo>
                    <a:pt x="133" y="859"/>
                    <a:pt x="350" y="1034"/>
                    <a:pt x="539" y="1150"/>
                  </a:cubicBezTo>
                  <a:close/>
                  <a:moveTo>
                    <a:pt x="0" y="200"/>
                  </a:moveTo>
                  <a:lnTo>
                    <a:pt x="0" y="200"/>
                  </a:lnTo>
                  <a:lnTo>
                    <a:pt x="63" y="101"/>
                  </a:lnTo>
                  <a:lnTo>
                    <a:pt x="0" y="200"/>
                  </a:lnTo>
                  <a:close/>
                  <a:moveTo>
                    <a:pt x="539" y="102"/>
                  </a:moveTo>
                  <a:cubicBezTo>
                    <a:pt x="501" y="85"/>
                    <a:pt x="466" y="71"/>
                    <a:pt x="437" y="63"/>
                  </a:cubicBezTo>
                  <a:cubicBezTo>
                    <a:pt x="421" y="58"/>
                    <a:pt x="398" y="56"/>
                    <a:pt x="376" y="55"/>
                  </a:cubicBezTo>
                  <a:cubicBezTo>
                    <a:pt x="398" y="56"/>
                    <a:pt x="421" y="58"/>
                    <a:pt x="437" y="63"/>
                  </a:cubicBezTo>
                  <a:cubicBezTo>
                    <a:pt x="466" y="71"/>
                    <a:pt x="501" y="85"/>
                    <a:pt x="539" y="102"/>
                  </a:cubicBezTo>
                  <a:close/>
                  <a:moveTo>
                    <a:pt x="228" y="16"/>
                  </a:moveTo>
                  <a:lnTo>
                    <a:pt x="215" y="9"/>
                  </a:lnTo>
                  <a:cubicBezTo>
                    <a:pt x="202" y="3"/>
                    <a:pt x="189" y="0"/>
                    <a:pt x="175" y="0"/>
                  </a:cubicBezTo>
                  <a:cubicBezTo>
                    <a:pt x="173" y="0"/>
                    <a:pt x="171" y="0"/>
                    <a:pt x="169" y="0"/>
                  </a:cubicBezTo>
                  <a:cubicBezTo>
                    <a:pt x="171" y="0"/>
                    <a:pt x="173" y="0"/>
                    <a:pt x="175" y="0"/>
                  </a:cubicBezTo>
                  <a:cubicBezTo>
                    <a:pt x="189" y="0"/>
                    <a:pt x="202" y="3"/>
                    <a:pt x="215" y="9"/>
                  </a:cubicBezTo>
                  <a:lnTo>
                    <a:pt x="228" y="16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7" name="Freeform 83">
              <a:extLst>
                <a:ext uri="{FF2B5EF4-FFF2-40B4-BE49-F238E27FC236}">
                  <a16:creationId xmlns:a16="http://schemas.microsoft.com/office/drawing/2014/main" id="{78FB8E83-62FD-B442-8827-993E03DF51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08426"/>
              <a:ext cx="31750" cy="84138"/>
            </a:xfrm>
            <a:custGeom>
              <a:avLst/>
              <a:gdLst>
                <a:gd name="T0" fmla="*/ 0 w 122"/>
                <a:gd name="T1" fmla="*/ 309 h 309"/>
                <a:gd name="T2" fmla="*/ 0 w 122"/>
                <a:gd name="T3" fmla="*/ 309 h 309"/>
                <a:gd name="T4" fmla="*/ 87 w 122"/>
                <a:gd name="T5" fmla="*/ 172 h 309"/>
                <a:gd name="T6" fmla="*/ 0 w 122"/>
                <a:gd name="T7" fmla="*/ 309 h 309"/>
                <a:gd name="T8" fmla="*/ 106 w 122"/>
                <a:gd name="T9" fmla="*/ 141 h 309"/>
                <a:gd name="T10" fmla="*/ 85 w 122"/>
                <a:gd name="T11" fmla="*/ 53 h 309"/>
                <a:gd name="T12" fmla="*/ 106 w 122"/>
                <a:gd name="T13" fmla="*/ 141 h 309"/>
                <a:gd name="T14" fmla="*/ 85 w 122"/>
                <a:gd name="T15" fmla="*/ 53 h 309"/>
                <a:gd name="T16" fmla="*/ 84 w 122"/>
                <a:gd name="T17" fmla="*/ 53 h 309"/>
                <a:gd name="T18" fmla="*/ 85 w 122"/>
                <a:gd name="T19" fmla="*/ 53 h 309"/>
                <a:gd name="T20" fmla="*/ 58 w 122"/>
                <a:gd name="T21" fmla="*/ 37 h 309"/>
                <a:gd name="T22" fmla="*/ 0 w 122"/>
                <a:gd name="T23" fmla="*/ 0 h 309"/>
                <a:gd name="T24" fmla="*/ 58 w 122"/>
                <a:gd name="T25" fmla="*/ 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309">
                  <a:moveTo>
                    <a:pt x="0" y="309"/>
                  </a:moveTo>
                  <a:lnTo>
                    <a:pt x="0" y="309"/>
                  </a:lnTo>
                  <a:lnTo>
                    <a:pt x="87" y="172"/>
                  </a:lnTo>
                  <a:lnTo>
                    <a:pt x="0" y="309"/>
                  </a:lnTo>
                  <a:close/>
                  <a:moveTo>
                    <a:pt x="106" y="141"/>
                  </a:moveTo>
                  <a:cubicBezTo>
                    <a:pt x="122" y="111"/>
                    <a:pt x="113" y="73"/>
                    <a:pt x="85" y="53"/>
                  </a:cubicBezTo>
                  <a:cubicBezTo>
                    <a:pt x="113" y="73"/>
                    <a:pt x="122" y="111"/>
                    <a:pt x="106" y="141"/>
                  </a:cubicBezTo>
                  <a:close/>
                  <a:moveTo>
                    <a:pt x="85" y="53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5" y="53"/>
                  </a:cubicBezTo>
                  <a:close/>
                  <a:moveTo>
                    <a:pt x="58" y="37"/>
                  </a:moveTo>
                  <a:lnTo>
                    <a:pt x="0" y="0"/>
                  </a:lnTo>
                  <a:lnTo>
                    <a:pt x="58" y="37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8" name="Freeform 85">
              <a:extLst>
                <a:ext uri="{FF2B5EF4-FFF2-40B4-BE49-F238E27FC236}">
                  <a16:creationId xmlns:a16="http://schemas.microsoft.com/office/drawing/2014/main" id="{443471DC-8801-F34F-A32C-BD7236DFF0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3998913"/>
              <a:ext cx="146050" cy="331788"/>
            </a:xfrm>
            <a:custGeom>
              <a:avLst/>
              <a:gdLst>
                <a:gd name="T0" fmla="*/ 459 w 538"/>
                <a:gd name="T1" fmla="*/ 1227 h 1227"/>
                <a:gd name="T2" fmla="*/ 429 w 538"/>
                <a:gd name="T3" fmla="*/ 1221 h 1227"/>
                <a:gd name="T4" fmla="*/ 459 w 538"/>
                <a:gd name="T5" fmla="*/ 1227 h 1227"/>
                <a:gd name="T6" fmla="*/ 535 w 538"/>
                <a:gd name="T7" fmla="*/ 1166 h 1227"/>
                <a:gd name="T8" fmla="*/ 505 w 538"/>
                <a:gd name="T9" fmla="*/ 1132 h 1227"/>
                <a:gd name="T10" fmla="*/ 535 w 538"/>
                <a:gd name="T11" fmla="*/ 1166 h 1227"/>
                <a:gd name="T12" fmla="*/ 58 w 538"/>
                <a:gd name="T13" fmla="*/ 1083 h 1227"/>
                <a:gd name="T14" fmla="*/ 0 w 538"/>
                <a:gd name="T15" fmla="*/ 1048 h 1227"/>
                <a:gd name="T16" fmla="*/ 58 w 538"/>
                <a:gd name="T17" fmla="*/ 1083 h 1227"/>
                <a:gd name="T18" fmla="*/ 323 w 538"/>
                <a:gd name="T19" fmla="*/ 997 h 1227"/>
                <a:gd name="T20" fmla="*/ 350 w 538"/>
                <a:gd name="T21" fmla="*/ 984 h 1227"/>
                <a:gd name="T22" fmla="*/ 356 w 538"/>
                <a:gd name="T23" fmla="*/ 984 h 1227"/>
                <a:gd name="T24" fmla="*/ 350 w 538"/>
                <a:gd name="T25" fmla="*/ 984 h 1227"/>
                <a:gd name="T26" fmla="*/ 323 w 538"/>
                <a:gd name="T27" fmla="*/ 997 h 1227"/>
                <a:gd name="T28" fmla="*/ 538 w 538"/>
                <a:gd name="T29" fmla="*/ 886 h 1227"/>
                <a:gd name="T30" fmla="*/ 432 w 538"/>
                <a:gd name="T31" fmla="*/ 827 h 1227"/>
                <a:gd name="T32" fmla="*/ 419 w 538"/>
                <a:gd name="T33" fmla="*/ 814 h 1227"/>
                <a:gd name="T34" fmla="*/ 432 w 538"/>
                <a:gd name="T35" fmla="*/ 827 h 1227"/>
                <a:gd name="T36" fmla="*/ 538 w 538"/>
                <a:gd name="T37" fmla="*/ 886 h 1227"/>
                <a:gd name="T38" fmla="*/ 419 w 538"/>
                <a:gd name="T39" fmla="*/ 783 h 1227"/>
                <a:gd name="T40" fmla="*/ 428 w 538"/>
                <a:gd name="T41" fmla="*/ 773 h 1227"/>
                <a:gd name="T42" fmla="*/ 419 w 538"/>
                <a:gd name="T43" fmla="*/ 783 h 1227"/>
                <a:gd name="T44" fmla="*/ 538 w 538"/>
                <a:gd name="T45" fmla="*/ 604 h 1227"/>
                <a:gd name="T46" fmla="*/ 536 w 538"/>
                <a:gd name="T47" fmla="*/ 602 h 1227"/>
                <a:gd name="T48" fmla="*/ 538 w 538"/>
                <a:gd name="T49" fmla="*/ 604 h 1227"/>
                <a:gd name="T50" fmla="*/ 516 w 538"/>
                <a:gd name="T51" fmla="*/ 573 h 1227"/>
                <a:gd name="T52" fmla="*/ 521 w 538"/>
                <a:gd name="T53" fmla="*/ 555 h 1227"/>
                <a:gd name="T54" fmla="*/ 531 w 538"/>
                <a:gd name="T55" fmla="*/ 545 h 1227"/>
                <a:gd name="T56" fmla="*/ 521 w 538"/>
                <a:gd name="T57" fmla="*/ 555 h 1227"/>
                <a:gd name="T58" fmla="*/ 516 w 538"/>
                <a:gd name="T59" fmla="*/ 573 h 1227"/>
                <a:gd name="T60" fmla="*/ 538 w 538"/>
                <a:gd name="T61" fmla="*/ 302 h 1227"/>
                <a:gd name="T62" fmla="*/ 293 w 538"/>
                <a:gd name="T63" fmla="*/ 154 h 1227"/>
                <a:gd name="T64" fmla="*/ 0 w 538"/>
                <a:gd name="T65" fmla="*/ 0 h 1227"/>
                <a:gd name="T66" fmla="*/ 293 w 538"/>
                <a:gd name="T67" fmla="*/ 154 h 1227"/>
                <a:gd name="T68" fmla="*/ 538 w 538"/>
                <a:gd name="T69" fmla="*/ 302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8" h="1227">
                  <a:moveTo>
                    <a:pt x="459" y="1227"/>
                  </a:moveTo>
                  <a:cubicBezTo>
                    <a:pt x="449" y="1225"/>
                    <a:pt x="439" y="1223"/>
                    <a:pt x="429" y="1221"/>
                  </a:cubicBezTo>
                  <a:cubicBezTo>
                    <a:pt x="439" y="1223"/>
                    <a:pt x="449" y="1225"/>
                    <a:pt x="459" y="1227"/>
                  </a:cubicBezTo>
                  <a:close/>
                  <a:moveTo>
                    <a:pt x="535" y="1166"/>
                  </a:moveTo>
                  <a:cubicBezTo>
                    <a:pt x="531" y="1153"/>
                    <a:pt x="521" y="1141"/>
                    <a:pt x="505" y="1132"/>
                  </a:cubicBezTo>
                  <a:cubicBezTo>
                    <a:pt x="521" y="1141"/>
                    <a:pt x="531" y="1153"/>
                    <a:pt x="535" y="1166"/>
                  </a:cubicBezTo>
                  <a:close/>
                  <a:moveTo>
                    <a:pt x="58" y="1083"/>
                  </a:moveTo>
                  <a:cubicBezTo>
                    <a:pt x="39" y="1072"/>
                    <a:pt x="20" y="1060"/>
                    <a:pt x="0" y="1048"/>
                  </a:cubicBezTo>
                  <a:cubicBezTo>
                    <a:pt x="20" y="1060"/>
                    <a:pt x="39" y="1072"/>
                    <a:pt x="58" y="1083"/>
                  </a:cubicBezTo>
                  <a:close/>
                  <a:moveTo>
                    <a:pt x="323" y="997"/>
                  </a:moveTo>
                  <a:cubicBezTo>
                    <a:pt x="330" y="989"/>
                    <a:pt x="339" y="984"/>
                    <a:pt x="350" y="984"/>
                  </a:cubicBezTo>
                  <a:cubicBezTo>
                    <a:pt x="352" y="984"/>
                    <a:pt x="354" y="984"/>
                    <a:pt x="356" y="984"/>
                  </a:cubicBezTo>
                  <a:cubicBezTo>
                    <a:pt x="354" y="984"/>
                    <a:pt x="352" y="984"/>
                    <a:pt x="350" y="984"/>
                  </a:cubicBezTo>
                  <a:cubicBezTo>
                    <a:pt x="339" y="984"/>
                    <a:pt x="330" y="989"/>
                    <a:pt x="323" y="997"/>
                  </a:cubicBezTo>
                  <a:close/>
                  <a:moveTo>
                    <a:pt x="538" y="886"/>
                  </a:moveTo>
                  <a:lnTo>
                    <a:pt x="432" y="827"/>
                  </a:lnTo>
                  <a:cubicBezTo>
                    <a:pt x="426" y="824"/>
                    <a:pt x="422" y="820"/>
                    <a:pt x="419" y="814"/>
                  </a:cubicBezTo>
                  <a:cubicBezTo>
                    <a:pt x="422" y="820"/>
                    <a:pt x="426" y="824"/>
                    <a:pt x="432" y="827"/>
                  </a:cubicBezTo>
                  <a:lnTo>
                    <a:pt x="538" y="886"/>
                  </a:lnTo>
                  <a:close/>
                  <a:moveTo>
                    <a:pt x="419" y="783"/>
                  </a:moveTo>
                  <a:cubicBezTo>
                    <a:pt x="421" y="779"/>
                    <a:pt x="424" y="775"/>
                    <a:pt x="428" y="773"/>
                  </a:cubicBezTo>
                  <a:cubicBezTo>
                    <a:pt x="424" y="775"/>
                    <a:pt x="421" y="779"/>
                    <a:pt x="419" y="783"/>
                  </a:cubicBezTo>
                  <a:close/>
                  <a:moveTo>
                    <a:pt x="538" y="604"/>
                  </a:moveTo>
                  <a:lnTo>
                    <a:pt x="536" y="602"/>
                  </a:lnTo>
                  <a:lnTo>
                    <a:pt x="538" y="604"/>
                  </a:lnTo>
                  <a:close/>
                  <a:moveTo>
                    <a:pt x="516" y="573"/>
                  </a:moveTo>
                  <a:cubicBezTo>
                    <a:pt x="516" y="567"/>
                    <a:pt x="517" y="561"/>
                    <a:pt x="521" y="555"/>
                  </a:cubicBezTo>
                  <a:cubicBezTo>
                    <a:pt x="523" y="551"/>
                    <a:pt x="527" y="548"/>
                    <a:pt x="531" y="545"/>
                  </a:cubicBezTo>
                  <a:cubicBezTo>
                    <a:pt x="527" y="548"/>
                    <a:pt x="523" y="551"/>
                    <a:pt x="521" y="555"/>
                  </a:cubicBezTo>
                  <a:cubicBezTo>
                    <a:pt x="517" y="561"/>
                    <a:pt x="516" y="567"/>
                    <a:pt x="516" y="573"/>
                  </a:cubicBezTo>
                  <a:close/>
                  <a:moveTo>
                    <a:pt x="538" y="302"/>
                  </a:moveTo>
                  <a:cubicBezTo>
                    <a:pt x="440" y="242"/>
                    <a:pt x="351" y="188"/>
                    <a:pt x="293" y="154"/>
                  </a:cubicBezTo>
                  <a:cubicBezTo>
                    <a:pt x="222" y="113"/>
                    <a:pt x="102" y="45"/>
                    <a:pt x="0" y="0"/>
                  </a:cubicBezTo>
                  <a:cubicBezTo>
                    <a:pt x="102" y="45"/>
                    <a:pt x="222" y="113"/>
                    <a:pt x="293" y="154"/>
                  </a:cubicBezTo>
                  <a:cubicBezTo>
                    <a:pt x="351" y="188"/>
                    <a:pt x="440" y="242"/>
                    <a:pt x="538" y="302"/>
                  </a:cubicBezTo>
                  <a:close/>
                </a:path>
              </a:pathLst>
            </a:custGeom>
            <a:solidFill>
              <a:srgbClr val="F4C3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74" name="TextBox 8">
            <a:extLst>
              <a:ext uri="{FF2B5EF4-FFF2-40B4-BE49-F238E27FC236}">
                <a16:creationId xmlns:a16="http://schemas.microsoft.com/office/drawing/2014/main" id="{99994E42-45B5-B248-9449-7AE81AA26431}"/>
              </a:ext>
            </a:extLst>
          </p:cNvPr>
          <p:cNvSpPr txBox="1"/>
          <p:nvPr userDrawn="1"/>
        </p:nvSpPr>
        <p:spPr>
          <a:xfrm>
            <a:off x="347067" y="4700248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Billing</a:t>
            </a:r>
          </a:p>
        </p:txBody>
      </p:sp>
      <p:sp>
        <p:nvSpPr>
          <p:cNvPr id="75" name="TextBox 8">
            <a:extLst>
              <a:ext uri="{FF2B5EF4-FFF2-40B4-BE49-F238E27FC236}">
                <a16:creationId xmlns:a16="http://schemas.microsoft.com/office/drawing/2014/main" id="{9E8457AB-74E0-CC47-B989-BEE2AF467BAD}"/>
              </a:ext>
            </a:extLst>
          </p:cNvPr>
          <p:cNvSpPr txBox="1"/>
          <p:nvPr userDrawn="1"/>
        </p:nvSpPr>
        <p:spPr>
          <a:xfrm>
            <a:off x="362968" y="3665932"/>
            <a:ext cx="1232654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Procurement</a:t>
            </a:r>
          </a:p>
        </p:txBody>
      </p:sp>
      <p:sp>
        <p:nvSpPr>
          <p:cNvPr id="77" name="TextBox 8">
            <a:extLst>
              <a:ext uri="{FF2B5EF4-FFF2-40B4-BE49-F238E27FC236}">
                <a16:creationId xmlns:a16="http://schemas.microsoft.com/office/drawing/2014/main" id="{99FB525D-E801-B94B-9FE4-F7F01E47B715}"/>
              </a:ext>
            </a:extLst>
          </p:cNvPr>
          <p:cNvSpPr txBox="1"/>
          <p:nvPr userDrawn="1"/>
        </p:nvSpPr>
        <p:spPr>
          <a:xfrm>
            <a:off x="819278" y="5463106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</a:rPr>
              <a:t>Supply Chain</a:t>
            </a:r>
          </a:p>
        </p:txBody>
      </p:sp>
      <p:sp>
        <p:nvSpPr>
          <p:cNvPr id="78" name="Rechteck 92">
            <a:extLst>
              <a:ext uri="{FF2B5EF4-FFF2-40B4-BE49-F238E27FC236}">
                <a16:creationId xmlns:a16="http://schemas.microsoft.com/office/drawing/2014/main" id="{364ADA3E-B65E-BA4F-9CA9-BB9FB4388B61}"/>
              </a:ext>
            </a:extLst>
          </p:cNvPr>
          <p:cNvSpPr/>
          <p:nvPr userDrawn="1"/>
        </p:nvSpPr>
        <p:spPr>
          <a:xfrm>
            <a:off x="282791" y="2675654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  <a:ea typeface="ＭＳ Ｐゴシック" charset="0"/>
                <a:cs typeface="ＭＳ Ｐゴシック" charset="0"/>
              </a:rPr>
              <a:t>eCommerce</a:t>
            </a:r>
          </a:p>
        </p:txBody>
      </p:sp>
      <p:cxnSp>
        <p:nvCxnSpPr>
          <p:cNvPr id="79" name="Gerade Verbindung 365">
            <a:extLst>
              <a:ext uri="{FF2B5EF4-FFF2-40B4-BE49-F238E27FC236}">
                <a16:creationId xmlns:a16="http://schemas.microsoft.com/office/drawing/2014/main" id="{0D3825B2-6C30-2346-9D36-B9D18DDFA212}"/>
              </a:ext>
            </a:extLst>
          </p:cNvPr>
          <p:cNvCxnSpPr>
            <a:cxnSpLocks/>
          </p:cNvCxnSpPr>
          <p:nvPr userDrawn="1"/>
        </p:nvCxnSpPr>
        <p:spPr>
          <a:xfrm>
            <a:off x="8761141" y="3795749"/>
            <a:ext cx="688813" cy="3204"/>
          </a:xfrm>
          <a:prstGeom prst="line">
            <a:avLst/>
          </a:prstGeom>
          <a:noFill/>
          <a:ln w="12700" cap="rnd" cmpd="sng" algn="ctr">
            <a:solidFill>
              <a:schemeClr val="accent2"/>
            </a:solidFill>
            <a:prstDash val="solid"/>
            <a:round/>
          </a:ln>
          <a:effectLst/>
        </p:spPr>
      </p:cxnSp>
      <p:grpSp>
        <p:nvGrpSpPr>
          <p:cNvPr id="142" name="Gruppieren 103">
            <a:extLst>
              <a:ext uri="{FF2B5EF4-FFF2-40B4-BE49-F238E27FC236}">
                <a16:creationId xmlns:a16="http://schemas.microsoft.com/office/drawing/2014/main" id="{DA857927-56F9-DA4F-B647-A13CE860BA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3179" y="4768528"/>
            <a:ext cx="52207" cy="12285"/>
            <a:chOff x="10272713" y="2805113"/>
            <a:chExt cx="134938" cy="31750"/>
          </a:xfrm>
        </p:grpSpPr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502F90A8-6ACE-7047-818F-80EC90BF1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3686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A9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85" name="Freeform 17">
              <a:extLst>
                <a:ext uri="{FF2B5EF4-FFF2-40B4-BE49-F238E27FC236}">
                  <a16:creationId xmlns:a16="http://schemas.microsoft.com/office/drawing/2014/main" id="{7B023C4C-2ABE-CE4B-8395-C8941BE7F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0511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A4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145" name="Rechteck 92">
            <a:extLst>
              <a:ext uri="{FF2B5EF4-FFF2-40B4-BE49-F238E27FC236}">
                <a16:creationId xmlns:a16="http://schemas.microsoft.com/office/drawing/2014/main" id="{F6C4359E-4567-A44C-ADCB-1BA7E0E0F9E2}"/>
              </a:ext>
            </a:extLst>
          </p:cNvPr>
          <p:cNvSpPr/>
          <p:nvPr userDrawn="1"/>
        </p:nvSpPr>
        <p:spPr>
          <a:xfrm>
            <a:off x="506500" y="1990516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4"/>
                </a:solidFill>
                <a:latin typeface="Calibri"/>
                <a:ea typeface="ＭＳ Ｐゴシック" charset="0"/>
                <a:cs typeface="ＭＳ Ｐゴシック" charset="0"/>
              </a:rPr>
              <a:t>Accounting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4FC7C2E-45FD-E74F-8CCA-DC7638C56CC1}"/>
              </a:ext>
            </a:extLst>
          </p:cNvPr>
          <p:cNvSpPr txBox="1"/>
          <p:nvPr userDrawn="1"/>
        </p:nvSpPr>
        <p:spPr>
          <a:xfrm>
            <a:off x="5156731" y="4254245"/>
            <a:ext cx="1279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Strategic Insight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FF2A138-E01C-CA48-91D1-98E584C991C2}"/>
              </a:ext>
            </a:extLst>
          </p:cNvPr>
          <p:cNvSpPr txBox="1"/>
          <p:nvPr userDrawn="1"/>
        </p:nvSpPr>
        <p:spPr>
          <a:xfrm>
            <a:off x="4959652" y="2800012"/>
            <a:ext cx="16740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Transaction Volumes</a:t>
            </a:r>
          </a:p>
        </p:txBody>
      </p:sp>
      <p:pic>
        <p:nvPicPr>
          <p:cNvPr id="148" name="Picture 39">
            <a:extLst>
              <a:ext uri="{FF2B5EF4-FFF2-40B4-BE49-F238E27FC236}">
                <a16:creationId xmlns:a16="http://schemas.microsoft.com/office/drawing/2014/main" id="{79381892-386A-4D4E-ADDD-B988EFB699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551166" y="3016187"/>
            <a:ext cx="1220825" cy="1220825"/>
          </a:xfrm>
          <a:prstGeom prst="rect">
            <a:avLst/>
          </a:prstGeom>
        </p:spPr>
      </p:pic>
      <p:pic>
        <p:nvPicPr>
          <p:cNvPr id="149" name="Picture 40">
            <a:extLst>
              <a:ext uri="{FF2B5EF4-FFF2-40B4-BE49-F238E27FC236}">
                <a16:creationId xmlns:a16="http://schemas.microsoft.com/office/drawing/2014/main" id="{E3404E7D-4FE5-DA40-A824-D31E34C425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961668" y="3072740"/>
            <a:ext cx="1005059" cy="1005059"/>
          </a:xfrm>
          <a:prstGeom prst="rect">
            <a:avLst/>
          </a:prstGeom>
        </p:spPr>
      </p:pic>
      <p:pic>
        <p:nvPicPr>
          <p:cNvPr id="150" name="Picture 41">
            <a:extLst>
              <a:ext uri="{FF2B5EF4-FFF2-40B4-BE49-F238E27FC236}">
                <a16:creationId xmlns:a16="http://schemas.microsoft.com/office/drawing/2014/main" id="{14E4052B-BE8C-804D-B7B3-640785F943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190169" y="2246139"/>
            <a:ext cx="1100782" cy="237768"/>
          </a:xfrm>
          <a:prstGeom prst="rect">
            <a:avLst/>
          </a:prstGeom>
        </p:spPr>
      </p:pic>
      <p:sp>
        <p:nvSpPr>
          <p:cNvPr id="151" name="Bogen 42">
            <a:extLst>
              <a:ext uri="{FF2B5EF4-FFF2-40B4-BE49-F238E27FC236}">
                <a16:creationId xmlns:a16="http://schemas.microsoft.com/office/drawing/2014/main" id="{D48D6D2B-DBC1-564D-A681-667119BD5F6E}"/>
              </a:ext>
            </a:extLst>
          </p:cNvPr>
          <p:cNvSpPr/>
          <p:nvPr userDrawn="1"/>
        </p:nvSpPr>
        <p:spPr bwMode="gray">
          <a:xfrm rot="16200000">
            <a:off x="4700572" y="2851063"/>
            <a:ext cx="2102497" cy="2087619"/>
          </a:xfrm>
          <a:prstGeom prst="arc">
            <a:avLst>
              <a:gd name="adj1" fmla="val 7163904"/>
              <a:gd name="adj2" fmla="val 13964759"/>
            </a:avLst>
          </a:prstGeom>
          <a:noFill/>
          <a:ln w="15875">
            <a:solidFill>
              <a:schemeClr val="accent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2" name="Bogen 40">
            <a:extLst>
              <a:ext uri="{FF2B5EF4-FFF2-40B4-BE49-F238E27FC236}">
                <a16:creationId xmlns:a16="http://schemas.microsoft.com/office/drawing/2014/main" id="{CDC8DE82-6592-E24D-9458-D291DC321982}"/>
              </a:ext>
            </a:extLst>
          </p:cNvPr>
          <p:cNvSpPr/>
          <p:nvPr userDrawn="1"/>
        </p:nvSpPr>
        <p:spPr bwMode="gray">
          <a:xfrm rot="16200000">
            <a:off x="4700572" y="2701960"/>
            <a:ext cx="2102497" cy="2087619"/>
          </a:xfrm>
          <a:prstGeom prst="arc">
            <a:avLst>
              <a:gd name="adj1" fmla="val 18479587"/>
              <a:gd name="adj2" fmla="val 3491434"/>
            </a:avLst>
          </a:prstGeom>
          <a:noFill/>
          <a:ln w="15875">
            <a:solidFill>
              <a:schemeClr val="accent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" name="Bogen 43">
            <a:extLst>
              <a:ext uri="{FF2B5EF4-FFF2-40B4-BE49-F238E27FC236}">
                <a16:creationId xmlns:a16="http://schemas.microsoft.com/office/drawing/2014/main" id="{FEF3B430-2C87-E046-B837-7D261BF8DFF1}"/>
              </a:ext>
            </a:extLst>
          </p:cNvPr>
          <p:cNvSpPr/>
          <p:nvPr userDrawn="1"/>
        </p:nvSpPr>
        <p:spPr bwMode="gray">
          <a:xfrm rot="16200000">
            <a:off x="2078372" y="1892210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4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030966C-91A1-0145-B372-E28E5D61CA08}"/>
              </a:ext>
            </a:extLst>
          </p:cNvPr>
          <p:cNvGrpSpPr/>
          <p:nvPr userDrawn="1"/>
        </p:nvGrpSpPr>
        <p:grpSpPr>
          <a:xfrm>
            <a:off x="2764533" y="5257340"/>
            <a:ext cx="640080" cy="640080"/>
            <a:chOff x="2624929" y="5201499"/>
            <a:chExt cx="640080" cy="640080"/>
          </a:xfrm>
        </p:grpSpPr>
        <p:sp>
          <p:nvSpPr>
            <p:cNvPr id="182" name="Ellipse 132">
              <a:extLst>
                <a:ext uri="{FF2B5EF4-FFF2-40B4-BE49-F238E27FC236}">
                  <a16:creationId xmlns:a16="http://schemas.microsoft.com/office/drawing/2014/main" id="{D5185C45-A7C9-884E-91AE-B2B712C9940B}"/>
                </a:ext>
              </a:extLst>
            </p:cNvPr>
            <p:cNvSpPr/>
            <p:nvPr/>
          </p:nvSpPr>
          <p:spPr bwMode="gray">
            <a:xfrm rot="16200000">
              <a:off x="2624929" y="5201499"/>
              <a:ext cx="640080" cy="640080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83" name="Picture 47">
              <a:extLst>
                <a:ext uri="{FF2B5EF4-FFF2-40B4-BE49-F238E27FC236}">
                  <a16:creationId xmlns:a16="http://schemas.microsoft.com/office/drawing/2014/main" id="{CB5B086C-FCDF-1540-A3F9-18ECA3BC5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687751" y="5306291"/>
              <a:ext cx="466171" cy="466171"/>
            </a:xfrm>
            <a:prstGeom prst="rect">
              <a:avLst/>
            </a:prstGeom>
          </p:spPr>
        </p:pic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E59AD6E2-635C-7B48-B8EC-0D8D6D2B2A83}"/>
              </a:ext>
            </a:extLst>
          </p:cNvPr>
          <p:cNvGrpSpPr/>
          <p:nvPr userDrawn="1"/>
        </p:nvGrpSpPr>
        <p:grpSpPr>
          <a:xfrm>
            <a:off x="1999694" y="4489827"/>
            <a:ext cx="637271" cy="636991"/>
            <a:chOff x="1999694" y="4489827"/>
            <a:chExt cx="637271" cy="636991"/>
          </a:xfrm>
        </p:grpSpPr>
        <p:sp>
          <p:nvSpPr>
            <p:cNvPr id="180" name="Ellipse 132">
              <a:extLst>
                <a:ext uri="{FF2B5EF4-FFF2-40B4-BE49-F238E27FC236}">
                  <a16:creationId xmlns:a16="http://schemas.microsoft.com/office/drawing/2014/main" id="{40065096-0E98-CB43-87BC-88E27611E8D0}"/>
                </a:ext>
              </a:extLst>
            </p:cNvPr>
            <p:cNvSpPr/>
            <p:nvPr/>
          </p:nvSpPr>
          <p:spPr bwMode="gray">
            <a:xfrm rot="16200000">
              <a:off x="1999834" y="4489687"/>
              <a:ext cx="636991" cy="637271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81" name="Picture 50">
              <a:extLst>
                <a:ext uri="{FF2B5EF4-FFF2-40B4-BE49-F238E27FC236}">
                  <a16:creationId xmlns:a16="http://schemas.microsoft.com/office/drawing/2014/main" id="{BCAB3255-5635-5C48-98E2-D62F591FE8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2042462" y="4549389"/>
              <a:ext cx="507620" cy="507620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23EB011-CB3D-674A-82A4-EC716F190837}"/>
              </a:ext>
            </a:extLst>
          </p:cNvPr>
          <p:cNvGrpSpPr/>
          <p:nvPr userDrawn="1"/>
        </p:nvGrpSpPr>
        <p:grpSpPr>
          <a:xfrm>
            <a:off x="1719600" y="3473659"/>
            <a:ext cx="640080" cy="640080"/>
            <a:chOff x="1719600" y="3473659"/>
            <a:chExt cx="640080" cy="640080"/>
          </a:xfrm>
        </p:grpSpPr>
        <p:sp>
          <p:nvSpPr>
            <p:cNvPr id="178" name="Ellipse 120">
              <a:extLst>
                <a:ext uri="{FF2B5EF4-FFF2-40B4-BE49-F238E27FC236}">
                  <a16:creationId xmlns:a16="http://schemas.microsoft.com/office/drawing/2014/main" id="{064E03F2-A2AE-084C-8C15-0306AE7B2580}"/>
                </a:ext>
              </a:extLst>
            </p:cNvPr>
            <p:cNvSpPr/>
            <p:nvPr/>
          </p:nvSpPr>
          <p:spPr bwMode="gray">
            <a:xfrm rot="16200000">
              <a:off x="1719600" y="3473659"/>
              <a:ext cx="640080" cy="640080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79" name="Picture 53">
              <a:extLst>
                <a:ext uri="{FF2B5EF4-FFF2-40B4-BE49-F238E27FC236}">
                  <a16:creationId xmlns:a16="http://schemas.microsoft.com/office/drawing/2014/main" id="{3836DB8C-B0A3-CE4A-88CD-E8399E8D1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770272" y="3536025"/>
              <a:ext cx="529093" cy="529093"/>
            </a:xfrm>
            <a:prstGeom prst="rect">
              <a:avLst/>
            </a:prstGeom>
          </p:spPr>
        </p:pic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AC5D2E8-FA2A-2F46-90A8-527FA3FCDB1D}"/>
              </a:ext>
            </a:extLst>
          </p:cNvPr>
          <p:cNvGrpSpPr/>
          <p:nvPr userDrawn="1"/>
        </p:nvGrpSpPr>
        <p:grpSpPr>
          <a:xfrm>
            <a:off x="1999694" y="2499322"/>
            <a:ext cx="637271" cy="636991"/>
            <a:chOff x="1999694" y="2534222"/>
            <a:chExt cx="637271" cy="636991"/>
          </a:xfrm>
        </p:grpSpPr>
        <p:sp>
          <p:nvSpPr>
            <p:cNvPr id="176" name="Ellipse 132">
              <a:extLst>
                <a:ext uri="{FF2B5EF4-FFF2-40B4-BE49-F238E27FC236}">
                  <a16:creationId xmlns:a16="http://schemas.microsoft.com/office/drawing/2014/main" id="{941885E5-5D00-1D4D-A2B1-3D8C73C1AAB2}"/>
                </a:ext>
              </a:extLst>
            </p:cNvPr>
            <p:cNvSpPr/>
            <p:nvPr/>
          </p:nvSpPr>
          <p:spPr bwMode="gray">
            <a:xfrm rot="16200000">
              <a:off x="1999834" y="2534082"/>
              <a:ext cx="636991" cy="637271"/>
            </a:xfrm>
            <a:prstGeom prst="ellipse">
              <a:avLst/>
            </a:prstGeom>
            <a:solidFill>
              <a:schemeClr val="bg1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77" name="Picture 56">
              <a:extLst>
                <a:ext uri="{FF2B5EF4-FFF2-40B4-BE49-F238E27FC236}">
                  <a16:creationId xmlns:a16="http://schemas.microsoft.com/office/drawing/2014/main" id="{EFC7EE89-1109-A844-A1AC-6C75C5FA6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2085843" y="2633217"/>
              <a:ext cx="462961" cy="462961"/>
            </a:xfrm>
            <a:prstGeom prst="rect">
              <a:avLst/>
            </a:prstGeom>
          </p:spPr>
        </p:pic>
      </p:grpSp>
      <p:sp>
        <p:nvSpPr>
          <p:cNvPr id="158" name="Ellipse 132">
            <a:extLst>
              <a:ext uri="{FF2B5EF4-FFF2-40B4-BE49-F238E27FC236}">
                <a16:creationId xmlns:a16="http://schemas.microsoft.com/office/drawing/2014/main" id="{1755CA0C-C7DE-8448-92EA-BBE1C073DF8F}"/>
              </a:ext>
            </a:extLst>
          </p:cNvPr>
          <p:cNvSpPr/>
          <p:nvPr userDrawn="1"/>
        </p:nvSpPr>
        <p:spPr bwMode="gray">
          <a:xfrm rot="16200000">
            <a:off x="2812231" y="1801002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4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9" name="Picture 58">
            <a:extLst>
              <a:ext uri="{FF2B5EF4-FFF2-40B4-BE49-F238E27FC236}">
                <a16:creationId xmlns:a16="http://schemas.microsoft.com/office/drawing/2014/main" id="{45D18230-E63D-C04F-9ACD-9AA6EB0D9BF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2861017" y="1855383"/>
            <a:ext cx="541228" cy="541228"/>
          </a:xfrm>
          <a:prstGeom prst="rect">
            <a:avLst/>
          </a:prstGeom>
        </p:spPr>
      </p:pic>
      <p:sp>
        <p:nvSpPr>
          <p:cNvPr id="160" name="Bogen 43">
            <a:extLst>
              <a:ext uri="{FF2B5EF4-FFF2-40B4-BE49-F238E27FC236}">
                <a16:creationId xmlns:a16="http://schemas.microsoft.com/office/drawing/2014/main" id="{C1EAEB58-B40E-3547-9664-8D187266D66E}"/>
              </a:ext>
            </a:extLst>
          </p:cNvPr>
          <p:cNvSpPr/>
          <p:nvPr userDrawn="1"/>
        </p:nvSpPr>
        <p:spPr bwMode="gray">
          <a:xfrm rot="5400000" flipH="1">
            <a:off x="5732900" y="1891046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1" name="Ellipse 132">
            <a:extLst>
              <a:ext uri="{FF2B5EF4-FFF2-40B4-BE49-F238E27FC236}">
                <a16:creationId xmlns:a16="http://schemas.microsoft.com/office/drawing/2014/main" id="{690C11F0-9729-B945-B4E0-3402EA088C51}"/>
              </a:ext>
            </a:extLst>
          </p:cNvPr>
          <p:cNvSpPr/>
          <p:nvPr userDrawn="1"/>
        </p:nvSpPr>
        <p:spPr bwMode="gray">
          <a:xfrm rot="5400000" flipH="1">
            <a:off x="8375259" y="5256176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2" name="Ellipse 132">
            <a:extLst>
              <a:ext uri="{FF2B5EF4-FFF2-40B4-BE49-F238E27FC236}">
                <a16:creationId xmlns:a16="http://schemas.microsoft.com/office/drawing/2014/main" id="{1C9011F1-7A5A-D442-9B8F-060713748E4D}"/>
              </a:ext>
            </a:extLst>
          </p:cNvPr>
          <p:cNvSpPr/>
          <p:nvPr userDrawn="1"/>
        </p:nvSpPr>
        <p:spPr bwMode="gray">
          <a:xfrm rot="5400000" flipH="1">
            <a:off x="9143047" y="4488523"/>
            <a:ext cx="636991" cy="637271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3" name="Ellipse 120">
            <a:extLst>
              <a:ext uri="{FF2B5EF4-FFF2-40B4-BE49-F238E27FC236}">
                <a16:creationId xmlns:a16="http://schemas.microsoft.com/office/drawing/2014/main" id="{FD5AC648-E882-3B42-B4EB-646845653DB2}"/>
              </a:ext>
            </a:extLst>
          </p:cNvPr>
          <p:cNvSpPr/>
          <p:nvPr userDrawn="1"/>
        </p:nvSpPr>
        <p:spPr bwMode="gray">
          <a:xfrm rot="5400000" flipH="1">
            <a:off x="9420192" y="3472495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4" name="Ellipse 132">
            <a:extLst>
              <a:ext uri="{FF2B5EF4-FFF2-40B4-BE49-F238E27FC236}">
                <a16:creationId xmlns:a16="http://schemas.microsoft.com/office/drawing/2014/main" id="{4654AE05-4C33-D740-B004-C8B359DCBBCB}"/>
              </a:ext>
            </a:extLst>
          </p:cNvPr>
          <p:cNvSpPr/>
          <p:nvPr userDrawn="1"/>
        </p:nvSpPr>
        <p:spPr bwMode="gray">
          <a:xfrm rot="5400000" flipH="1">
            <a:off x="9143047" y="2498018"/>
            <a:ext cx="636991" cy="637271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5" name="Ellipse 132">
            <a:extLst>
              <a:ext uri="{FF2B5EF4-FFF2-40B4-BE49-F238E27FC236}">
                <a16:creationId xmlns:a16="http://schemas.microsoft.com/office/drawing/2014/main" id="{ACB6107B-0E72-5D44-91E5-39A8B5383591}"/>
              </a:ext>
            </a:extLst>
          </p:cNvPr>
          <p:cNvSpPr/>
          <p:nvPr userDrawn="1"/>
        </p:nvSpPr>
        <p:spPr bwMode="gray">
          <a:xfrm rot="5400000" flipH="1">
            <a:off x="8327561" y="1799838"/>
            <a:ext cx="640080" cy="640080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6" name="TextBox 8">
            <a:extLst>
              <a:ext uri="{FF2B5EF4-FFF2-40B4-BE49-F238E27FC236}">
                <a16:creationId xmlns:a16="http://schemas.microsoft.com/office/drawing/2014/main" id="{F69DE359-E6B4-D045-A642-F77B8FDADABC}"/>
              </a:ext>
            </a:extLst>
          </p:cNvPr>
          <p:cNvSpPr txBox="1"/>
          <p:nvPr userDrawn="1"/>
        </p:nvSpPr>
        <p:spPr>
          <a:xfrm>
            <a:off x="9893298" y="4699084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Planning</a:t>
            </a:r>
          </a:p>
        </p:txBody>
      </p:sp>
      <p:sp>
        <p:nvSpPr>
          <p:cNvPr id="167" name="TextBox 8">
            <a:extLst>
              <a:ext uri="{FF2B5EF4-FFF2-40B4-BE49-F238E27FC236}">
                <a16:creationId xmlns:a16="http://schemas.microsoft.com/office/drawing/2014/main" id="{DF0DA8EE-A15E-DE41-99D9-D197954AB5C4}"/>
              </a:ext>
            </a:extLst>
          </p:cNvPr>
          <p:cNvSpPr txBox="1"/>
          <p:nvPr userDrawn="1"/>
        </p:nvSpPr>
        <p:spPr>
          <a:xfrm>
            <a:off x="10189859" y="3664768"/>
            <a:ext cx="176016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Data Management</a:t>
            </a:r>
          </a:p>
        </p:txBody>
      </p:sp>
      <p:sp>
        <p:nvSpPr>
          <p:cNvPr id="168" name="TextBox 8">
            <a:extLst>
              <a:ext uri="{FF2B5EF4-FFF2-40B4-BE49-F238E27FC236}">
                <a16:creationId xmlns:a16="http://schemas.microsoft.com/office/drawing/2014/main" id="{C2E04D37-EF54-8446-8923-86432AA0E74A}"/>
              </a:ext>
            </a:extLst>
          </p:cNvPr>
          <p:cNvSpPr txBox="1"/>
          <p:nvPr userDrawn="1"/>
        </p:nvSpPr>
        <p:spPr>
          <a:xfrm>
            <a:off x="9124497" y="5463106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Global Transparency</a:t>
            </a:r>
          </a:p>
        </p:txBody>
      </p:sp>
      <p:sp>
        <p:nvSpPr>
          <p:cNvPr id="169" name="Rechteck 92">
            <a:extLst>
              <a:ext uri="{FF2B5EF4-FFF2-40B4-BE49-F238E27FC236}">
                <a16:creationId xmlns:a16="http://schemas.microsoft.com/office/drawing/2014/main" id="{43AF0627-EC88-8844-BDAD-76A1670E7D25}"/>
              </a:ext>
            </a:extLst>
          </p:cNvPr>
          <p:cNvSpPr/>
          <p:nvPr userDrawn="1"/>
        </p:nvSpPr>
        <p:spPr>
          <a:xfrm>
            <a:off x="9893298" y="2674490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  <a:ea typeface="ＭＳ Ｐゴシック" charset="0"/>
                <a:cs typeface="ＭＳ Ｐゴシック" charset="0"/>
              </a:rPr>
              <a:t>Audit</a:t>
            </a:r>
          </a:p>
        </p:txBody>
      </p:sp>
      <p:sp>
        <p:nvSpPr>
          <p:cNvPr id="170" name="Rechteck 92">
            <a:extLst>
              <a:ext uri="{FF2B5EF4-FFF2-40B4-BE49-F238E27FC236}">
                <a16:creationId xmlns:a16="http://schemas.microsoft.com/office/drawing/2014/main" id="{37F87F77-48EE-D24E-89A0-29F7F4E6CF92}"/>
              </a:ext>
            </a:extLst>
          </p:cNvPr>
          <p:cNvSpPr/>
          <p:nvPr userDrawn="1"/>
        </p:nvSpPr>
        <p:spPr>
          <a:xfrm>
            <a:off x="9124497" y="1989352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700">
                <a:solidFill>
                  <a:schemeClr val="accent2"/>
                </a:solidFill>
                <a:latin typeface="Calibri"/>
              </a:rPr>
              <a:t>Real-time Reporting</a:t>
            </a:r>
          </a:p>
        </p:txBody>
      </p:sp>
      <p:pic>
        <p:nvPicPr>
          <p:cNvPr id="171" name="Picture 70">
            <a:extLst>
              <a:ext uri="{FF2B5EF4-FFF2-40B4-BE49-F238E27FC236}">
                <a16:creationId xmlns:a16="http://schemas.microsoft.com/office/drawing/2014/main" id="{21F1B6C6-B57A-E449-ACB1-8CC3291EA09F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8457048" y="1863482"/>
            <a:ext cx="494597" cy="494597"/>
          </a:xfrm>
          <a:prstGeom prst="rect">
            <a:avLst/>
          </a:prstGeom>
        </p:spPr>
      </p:pic>
      <p:pic>
        <p:nvPicPr>
          <p:cNvPr id="172" name="Picture 71">
            <a:extLst>
              <a:ext uri="{FF2B5EF4-FFF2-40B4-BE49-F238E27FC236}">
                <a16:creationId xmlns:a16="http://schemas.microsoft.com/office/drawing/2014/main" id="{E4FCB152-E22E-CC46-90F5-4658F53A5BD6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9504615" y="3544396"/>
            <a:ext cx="483517" cy="483517"/>
          </a:xfrm>
          <a:prstGeom prst="rect">
            <a:avLst/>
          </a:prstGeom>
        </p:spPr>
      </p:pic>
      <p:pic>
        <p:nvPicPr>
          <p:cNvPr id="173" name="Picture 72">
            <a:extLst>
              <a:ext uri="{FF2B5EF4-FFF2-40B4-BE49-F238E27FC236}">
                <a16:creationId xmlns:a16="http://schemas.microsoft.com/office/drawing/2014/main" id="{C28B65EB-D0DF-CF46-AC26-7CE160B63A62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480444" y="5351779"/>
            <a:ext cx="448874" cy="4488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Picture 73">
            <a:extLst>
              <a:ext uri="{FF2B5EF4-FFF2-40B4-BE49-F238E27FC236}">
                <a16:creationId xmlns:a16="http://schemas.microsoft.com/office/drawing/2014/main" id="{D3546D1B-ACD3-8441-B08E-C8CC0A70DEBB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9321910" y="2616060"/>
            <a:ext cx="412836" cy="390641"/>
          </a:xfrm>
          <a:prstGeom prst="rect">
            <a:avLst/>
          </a:prstGeom>
        </p:spPr>
      </p:pic>
      <p:pic>
        <p:nvPicPr>
          <p:cNvPr id="175" name="Picture 74">
            <a:extLst>
              <a:ext uri="{FF2B5EF4-FFF2-40B4-BE49-F238E27FC236}">
                <a16:creationId xmlns:a16="http://schemas.microsoft.com/office/drawing/2014/main" id="{A54E844D-5E20-8649-9F9C-8FBBB3661F1B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9147047" y="4485687"/>
            <a:ext cx="642161" cy="642161"/>
          </a:xfrm>
          <a:prstGeom prst="rect">
            <a:avLst/>
          </a:prstGeom>
        </p:spPr>
      </p:pic>
      <p:sp>
        <p:nvSpPr>
          <p:cNvPr id="193" name="Rechteck 170">
            <a:extLst>
              <a:ext uri="{FF2B5EF4-FFF2-40B4-BE49-F238E27FC236}">
                <a16:creationId xmlns:a16="http://schemas.microsoft.com/office/drawing/2014/main" id="{E4A9F646-2378-FF49-BBE9-4FA6B3B1F268}"/>
              </a:ext>
            </a:extLst>
          </p:cNvPr>
          <p:cNvSpPr/>
          <p:nvPr userDrawn="1"/>
        </p:nvSpPr>
        <p:spPr>
          <a:xfrm>
            <a:off x="6869670" y="4158933"/>
            <a:ext cx="1206771" cy="234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chemeClr val="accent2"/>
                </a:solidFill>
                <a:latin typeface="Calibri"/>
                <a:ea typeface="ＭＳ Ｐゴシック" charset="0"/>
                <a:cs typeface="ＭＳ Ｐゴシック" charset="0"/>
              </a:rPr>
              <a:t>COMPLIANCE</a:t>
            </a:r>
          </a:p>
        </p:txBody>
      </p:sp>
      <p:sp>
        <p:nvSpPr>
          <p:cNvPr id="194" name="Rechteck 171">
            <a:extLst>
              <a:ext uri="{FF2B5EF4-FFF2-40B4-BE49-F238E27FC236}">
                <a16:creationId xmlns:a16="http://schemas.microsoft.com/office/drawing/2014/main" id="{FE71082A-B277-CB4C-81EB-95959FDEF035}"/>
              </a:ext>
            </a:extLst>
          </p:cNvPr>
          <p:cNvSpPr/>
          <p:nvPr userDrawn="1"/>
        </p:nvSpPr>
        <p:spPr>
          <a:xfrm>
            <a:off x="3155467" y="4144460"/>
            <a:ext cx="2045779" cy="263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rgbClr val="6FD44E"/>
                </a:solidFill>
                <a:latin typeface="Calibri"/>
                <a:ea typeface="ＭＳ Ｐゴシック" charset="0"/>
                <a:cs typeface="ＭＳ Ｐゴシック" charset="0"/>
              </a:rPr>
              <a:t>COMMERCE</a:t>
            </a:r>
          </a:p>
        </p:txBody>
      </p:sp>
    </p:spTree>
    <p:extLst>
      <p:ext uri="{BB962C8B-B14F-4D97-AF65-F5344CB8AC3E}">
        <p14:creationId xmlns:p14="http://schemas.microsoft.com/office/powerpoint/2010/main" val="29515703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g and differentiated capabili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EA9DC0-188C-6B45-8927-0AC670A2C3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6012" t="4829" r="5991" b="19317"/>
          <a:stretch/>
        </p:blipFill>
        <p:spPr>
          <a:xfrm rot="630688">
            <a:off x="3937000" y="2143377"/>
            <a:ext cx="3949700" cy="3949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20B068-BE0C-CC41-B7AF-AABC10B1E5BF}"/>
              </a:ext>
            </a:extLst>
          </p:cNvPr>
          <p:cNvSpPr txBox="1"/>
          <p:nvPr userDrawn="1"/>
        </p:nvSpPr>
        <p:spPr>
          <a:xfrm>
            <a:off x="1549480" y="1673189"/>
            <a:ext cx="8744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4"/>
                </a:solidFill>
              </a:rPr>
              <a:t>MULTI-TAX TYPES </a:t>
            </a:r>
            <a:r>
              <a:rPr lang="en-US" sz="1600"/>
              <a:t>integrated</a:t>
            </a:r>
            <a:r>
              <a:rPr lang="en-US" sz="1600" b="1"/>
              <a:t> </a:t>
            </a:r>
            <a:r>
              <a:rPr lang="en-US" sz="1600"/>
              <a:t>on a single platform and data model to centralize global tax oper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F7988A-EDB3-C74F-9170-11544470617E}"/>
              </a:ext>
            </a:extLst>
          </p:cNvPr>
          <p:cNvSpPr txBox="1"/>
          <p:nvPr userDrawn="1"/>
        </p:nvSpPr>
        <p:spPr>
          <a:xfrm>
            <a:off x="748322" y="5020137"/>
            <a:ext cx="29793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8F8F8F"/>
                </a:solidFill>
              </a:rPr>
              <a:t>MULTI-CLOUD</a:t>
            </a:r>
            <a:r>
              <a:rPr lang="en-US" sz="1600" b="1"/>
              <a:t> </a:t>
            </a:r>
            <a:r>
              <a:rPr lang="en-US" sz="1600"/>
              <a:t>delivery for rapid value and customer experi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5247F3-31BB-2344-B0AA-34FCF95DD030}"/>
              </a:ext>
            </a:extLst>
          </p:cNvPr>
          <p:cNvSpPr txBox="1"/>
          <p:nvPr userDrawn="1"/>
        </p:nvSpPr>
        <p:spPr>
          <a:xfrm>
            <a:off x="8028258" y="2490491"/>
            <a:ext cx="38134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6"/>
                </a:solidFill>
              </a:rPr>
              <a:t>GLOBAL CONTENT DATABASE </a:t>
            </a:r>
            <a:r>
              <a:rPr lang="en-US" sz="1600"/>
              <a:t>coverage across verticals, digital and physical goods to scale easily to support business growth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290B19-B6F5-2944-BA6F-891BACDDDEEE}"/>
              </a:ext>
            </a:extLst>
          </p:cNvPr>
          <p:cNvSpPr txBox="1"/>
          <p:nvPr userDrawn="1"/>
        </p:nvSpPr>
        <p:spPr>
          <a:xfrm>
            <a:off x="7870429" y="4996584"/>
            <a:ext cx="3470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/>
                </a:solidFill>
              </a:rPr>
              <a:t>ACCELERATORS</a:t>
            </a:r>
            <a:r>
              <a:rPr lang="en-US" sz="1600"/>
              <a:t> enable codeless configuration and native user experience for rapid time-to-benefi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73DF1D-835C-EE45-ABC2-5D53A5BDA0A9}"/>
              </a:ext>
            </a:extLst>
          </p:cNvPr>
          <p:cNvSpPr txBox="1"/>
          <p:nvPr userDrawn="1"/>
        </p:nvSpPr>
        <p:spPr>
          <a:xfrm>
            <a:off x="2102762" y="6255379"/>
            <a:ext cx="7507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MULTI-MODAL</a:t>
            </a:r>
            <a:r>
              <a:rPr lang="en-US" sz="1600" b="1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600"/>
              <a:t>support</a:t>
            </a:r>
            <a:r>
              <a:rPr lang="en-US" sz="1600" b="1"/>
              <a:t> </a:t>
            </a:r>
            <a:r>
              <a:rPr lang="en-US" sz="1600"/>
              <a:t>from mainframe to edge computing for deployment flexi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3C5E99-D835-4842-A629-B8CFCC28D6CD}"/>
              </a:ext>
            </a:extLst>
          </p:cNvPr>
          <p:cNvSpPr txBox="1"/>
          <p:nvPr userDrawn="1"/>
        </p:nvSpPr>
        <p:spPr>
          <a:xfrm>
            <a:off x="368300" y="2490491"/>
            <a:ext cx="34163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/>
              <a:t>Depth and breadth of </a:t>
            </a:r>
            <a:r>
              <a:rPr lang="en-US" sz="1600" b="1">
                <a:solidFill>
                  <a:schemeClr val="tx2"/>
                </a:solidFill>
              </a:rPr>
              <a:t>INTEGRATIONS</a:t>
            </a:r>
            <a:r>
              <a:rPr lang="en-US" sz="1600"/>
              <a:t> drives rapid time-to-benefit across core business process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C5FB423-EAB8-F34B-B63E-E7A637FAC762}"/>
              </a:ext>
            </a:extLst>
          </p:cNvPr>
          <p:cNvCxnSpPr>
            <a:cxnSpLocks/>
          </p:cNvCxnSpPr>
          <p:nvPr userDrawn="1"/>
        </p:nvCxnSpPr>
        <p:spPr>
          <a:xfrm>
            <a:off x="3683000" y="2994277"/>
            <a:ext cx="952500" cy="3175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17E248-4B54-3342-A6CC-24EA146A514D}"/>
              </a:ext>
            </a:extLst>
          </p:cNvPr>
          <p:cNvCxnSpPr>
            <a:cxnSpLocks/>
          </p:cNvCxnSpPr>
          <p:nvPr userDrawn="1"/>
        </p:nvCxnSpPr>
        <p:spPr>
          <a:xfrm>
            <a:off x="7226300" y="5000877"/>
            <a:ext cx="914400" cy="1651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7DD8C74-6875-8341-B742-76013FA75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7366000" y="2820106"/>
            <a:ext cx="718457" cy="45357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A9D2FD-3D49-7548-B23D-63BF7419D740}"/>
              </a:ext>
            </a:extLst>
          </p:cNvPr>
          <p:cNvCxnSpPr>
            <a:cxnSpLocks/>
          </p:cNvCxnSpPr>
          <p:nvPr userDrawn="1"/>
        </p:nvCxnSpPr>
        <p:spPr>
          <a:xfrm flipV="1">
            <a:off x="2730500" y="4607177"/>
            <a:ext cx="1663700" cy="3683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D29FA11-E53A-364D-89A4-99B6685C0970}"/>
              </a:ext>
            </a:extLst>
          </p:cNvPr>
          <p:cNvCxnSpPr>
            <a:cxnSpLocks/>
          </p:cNvCxnSpPr>
          <p:nvPr userDrawn="1"/>
        </p:nvCxnSpPr>
        <p:spPr>
          <a:xfrm>
            <a:off x="5921830" y="1992794"/>
            <a:ext cx="0" cy="449943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C26B32-ED63-7C46-B242-C8BC6D414C6A}"/>
              </a:ext>
            </a:extLst>
          </p:cNvPr>
          <p:cNvCxnSpPr>
            <a:cxnSpLocks/>
          </p:cNvCxnSpPr>
          <p:nvPr userDrawn="1"/>
        </p:nvCxnSpPr>
        <p:spPr>
          <a:xfrm>
            <a:off x="5856515" y="5759250"/>
            <a:ext cx="0" cy="449943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>
            <a:extLst>
              <a:ext uri="{FF2B5EF4-FFF2-40B4-BE49-F238E27FC236}">
                <a16:creationId xmlns:a16="http://schemas.microsoft.com/office/drawing/2014/main" id="{D8B923F6-DE25-0C44-9E3E-6E2653A1C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8839"/>
          <a:stretch/>
        </p:blipFill>
        <p:spPr>
          <a:xfrm>
            <a:off x="5334000" y="3487908"/>
            <a:ext cx="1235000" cy="1260637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977656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Strong and differentiated capabilities to accelerate commerce</a:t>
            </a:r>
          </a:p>
        </p:txBody>
      </p:sp>
    </p:spTree>
    <p:extLst>
      <p:ext uri="{BB962C8B-B14F-4D97-AF65-F5344CB8AC3E}">
        <p14:creationId xmlns:p14="http://schemas.microsoft.com/office/powerpoint/2010/main" val="39495080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ly-integrated ecosyste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7" y="264067"/>
            <a:ext cx="10995761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Deeply-integrated ecosystem with unparalleled scale on the platforms that power global commer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D1782FE-6A3E-3448-B4CE-87636591EB90}"/>
              </a:ext>
            </a:extLst>
          </p:cNvPr>
          <p:cNvGrpSpPr/>
          <p:nvPr userDrawn="1"/>
        </p:nvGrpSpPr>
        <p:grpSpPr>
          <a:xfrm>
            <a:off x="2879994" y="5124831"/>
            <a:ext cx="1451962" cy="304367"/>
            <a:chOff x="5398589" y="6044226"/>
            <a:chExt cx="730732" cy="145483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394BBAB-B259-3844-95AE-A20CD506E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5051" t="22284" r="10808" b="22284"/>
            <a:stretch/>
          </p:blipFill>
          <p:spPr>
            <a:xfrm>
              <a:off x="5686259" y="6044226"/>
              <a:ext cx="443062" cy="14548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C16484D-754C-ED43-95EA-CFF20249B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8589" y="6044226"/>
              <a:ext cx="297453" cy="145482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D8D0821C-8A2F-F54D-886E-876F974421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7325" b="27325"/>
          <a:stretch/>
        </p:blipFill>
        <p:spPr>
          <a:xfrm>
            <a:off x="5125078" y="4980401"/>
            <a:ext cx="1047122" cy="27739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15B4DE7-266A-EC4E-A8FA-4C3028A73E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549" t="14158" r="22549" b="14158"/>
          <a:stretch/>
        </p:blipFill>
        <p:spPr>
          <a:xfrm>
            <a:off x="2507366" y="3016233"/>
            <a:ext cx="545765" cy="51307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533BC1-ACDF-D846-9F22-64191F9710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37151" y="3936239"/>
            <a:ext cx="1029374" cy="7603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2FFC4E6-D083-EB44-9F87-E4EDE79DBEE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270775" y="1944109"/>
            <a:ext cx="964602" cy="40511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C545590-4E89-9A46-B9B7-609BEC1301F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12640" y="1846923"/>
            <a:ext cx="786670" cy="4051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5E9E8A3-9663-CA4E-B279-DB300624C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33174" b="34246"/>
          <a:stretch/>
        </p:blipFill>
        <p:spPr>
          <a:xfrm>
            <a:off x="1398227" y="2405465"/>
            <a:ext cx="1644272" cy="37533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3A72112-2CD9-CA4F-850B-7FE827DDE62C}"/>
              </a:ext>
            </a:extLst>
          </p:cNvPr>
          <p:cNvSpPr txBox="1"/>
          <p:nvPr userDrawn="1"/>
        </p:nvSpPr>
        <p:spPr>
          <a:xfrm rot="20667641">
            <a:off x="3516995" y="2837785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ER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186986-7E5D-5048-B9AF-8EFEA05562B5}"/>
              </a:ext>
            </a:extLst>
          </p:cNvPr>
          <p:cNvSpPr txBox="1"/>
          <p:nvPr userDrawn="1"/>
        </p:nvSpPr>
        <p:spPr>
          <a:xfrm rot="2520728">
            <a:off x="3325889" y="3809723"/>
            <a:ext cx="1386475" cy="78848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769572"/>
              </a:avLst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Procur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5606EB-2BCA-BB4C-B876-76EB348D13D2}"/>
              </a:ext>
            </a:extLst>
          </p:cNvPr>
          <p:cNvSpPr txBox="1"/>
          <p:nvPr userDrawn="1"/>
        </p:nvSpPr>
        <p:spPr>
          <a:xfrm rot="17321933">
            <a:off x="3243074" y="3280765"/>
            <a:ext cx="851937" cy="298649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CR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8DAACB-71D5-404D-90B3-C0A65E6C136D}"/>
              </a:ext>
            </a:extLst>
          </p:cNvPr>
          <p:cNvSpPr txBox="1"/>
          <p:nvPr userDrawn="1"/>
        </p:nvSpPr>
        <p:spPr>
          <a:xfrm rot="20283180">
            <a:off x="4430945" y="4397832"/>
            <a:ext cx="1025970" cy="349388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Billing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6FBC3446-2788-3C45-92AA-6884285943B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091" y="4420487"/>
            <a:ext cx="1448423" cy="565873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F3E1ECEB-5318-6345-909D-8FFC7AB2218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657842" y="2844911"/>
            <a:ext cx="1756429" cy="1760308"/>
          </a:xfrm>
          <a:prstGeom prst="ellips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682" tIns="121024" rIns="80682" bIns="403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8FD8"/>
              </a:buClr>
            </a:pPr>
            <a:endParaRPr lang="en-US" sz="1059" err="1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6392D6E-BF04-0843-8F0C-94DEADF936E4}"/>
              </a:ext>
            </a:extLst>
          </p:cNvPr>
          <p:cNvGrpSpPr/>
          <p:nvPr userDrawn="1"/>
        </p:nvGrpSpPr>
        <p:grpSpPr>
          <a:xfrm>
            <a:off x="5579614" y="2381901"/>
            <a:ext cx="5674673" cy="323737"/>
            <a:chOff x="6334452" y="1382122"/>
            <a:chExt cx="4644085" cy="25163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606CEA8-1C53-4E42-B5A0-B1F9EB0F4782}"/>
                </a:ext>
              </a:extLst>
            </p:cNvPr>
            <p:cNvSpPr txBox="1"/>
            <p:nvPr/>
          </p:nvSpPr>
          <p:spPr>
            <a:xfrm>
              <a:off x="6334452" y="1424397"/>
              <a:ext cx="790854" cy="16745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2"/>
                  </a:solidFill>
                </a:rPr>
                <a:t>Digital goods</a:t>
              </a:r>
            </a:p>
          </p:txBody>
        </p:sp>
        <p:pic>
          <p:nvPicPr>
            <p:cNvPr id="40" name="Picture 8" descr="https://static.thenounproject.com/png/3266546-200.png">
              <a:extLst>
                <a:ext uri="{FF2B5EF4-FFF2-40B4-BE49-F238E27FC236}">
                  <a16:creationId xmlns:a16="http://schemas.microsoft.com/office/drawing/2014/main" id="{682C3598-BE1C-E04C-9F8F-96F01CBB9F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2702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10" descr="https://static.thenounproject.com/png/1501124-200.png">
              <a:extLst>
                <a:ext uri="{FF2B5EF4-FFF2-40B4-BE49-F238E27FC236}">
                  <a16:creationId xmlns:a16="http://schemas.microsoft.com/office/drawing/2014/main" id="{D88DA179-95CD-CB44-9134-D84BBD60C9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607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 descr="https://static.thenounproject.com/png/2716216-200.png">
              <a:extLst>
                <a:ext uri="{FF2B5EF4-FFF2-40B4-BE49-F238E27FC236}">
                  <a16:creationId xmlns:a16="http://schemas.microsoft.com/office/drawing/2014/main" id="{44F8EFAF-995E-044D-856F-C77DFD3C38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63760" y="1418975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4" descr="https://static.thenounproject.com/png/1831247-200.png">
              <a:extLst>
                <a:ext uri="{FF2B5EF4-FFF2-40B4-BE49-F238E27FC236}">
                  <a16:creationId xmlns:a16="http://schemas.microsoft.com/office/drawing/2014/main" id="{DD0455AE-1C6B-0E4A-A691-92DF4A6619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7576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6" descr="https://static.thenounproject.com/png/2024244-200.png">
              <a:extLst>
                <a:ext uri="{FF2B5EF4-FFF2-40B4-BE49-F238E27FC236}">
                  <a16:creationId xmlns:a16="http://schemas.microsoft.com/office/drawing/2014/main" id="{3AD3529F-45A5-324D-802B-8489D3E0B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580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8" descr="https://static.thenounproject.com/png/1735590-200.png">
              <a:extLst>
                <a:ext uri="{FF2B5EF4-FFF2-40B4-BE49-F238E27FC236}">
                  <a16:creationId xmlns:a16="http://schemas.microsoft.com/office/drawing/2014/main" id="{3505A0D3-48FB-2647-9DF7-FBB244167B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1101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0" descr="https://static.thenounproject.com/png/2594329-200.png">
              <a:extLst>
                <a:ext uri="{FF2B5EF4-FFF2-40B4-BE49-F238E27FC236}">
                  <a16:creationId xmlns:a16="http://schemas.microsoft.com/office/drawing/2014/main" id="{61BE550A-CEA3-DF40-91D0-A003A750D4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048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2" descr="https://static.thenounproject.com/png/2608176-200.png">
              <a:extLst>
                <a:ext uri="{FF2B5EF4-FFF2-40B4-BE49-F238E27FC236}">
                  <a16:creationId xmlns:a16="http://schemas.microsoft.com/office/drawing/2014/main" id="{EA8F95FB-5DE2-7F4B-B903-6D686917EB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2305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1AF72A1-B52D-AB49-948D-5908277298CA}"/>
                </a:ext>
              </a:extLst>
            </p:cNvPr>
            <p:cNvSpPr txBox="1"/>
            <p:nvPr/>
          </p:nvSpPr>
          <p:spPr>
            <a:xfrm>
              <a:off x="7354647" y="1447572"/>
              <a:ext cx="327970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Gaming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0D652CB-68B0-EF46-9480-DB4720256AEF}"/>
                </a:ext>
              </a:extLst>
            </p:cNvPr>
            <p:cNvSpPr txBox="1"/>
            <p:nvPr/>
          </p:nvSpPr>
          <p:spPr>
            <a:xfrm>
              <a:off x="8752501" y="1466045"/>
              <a:ext cx="253193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Music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F1F8AB-1219-FE46-868C-6489C472F529}"/>
              </a:ext>
            </a:extLst>
          </p:cNvPr>
          <p:cNvCxnSpPr>
            <a:cxnSpLocks/>
          </p:cNvCxnSpPr>
          <p:nvPr userDrawn="1"/>
        </p:nvCxnSpPr>
        <p:spPr>
          <a:xfrm>
            <a:off x="6732857" y="2136642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22151CA-72B5-9C4E-A2BC-8AF0FDFFDE51}"/>
              </a:ext>
            </a:extLst>
          </p:cNvPr>
          <p:cNvGrpSpPr/>
          <p:nvPr userDrawn="1"/>
        </p:nvGrpSpPr>
        <p:grpSpPr>
          <a:xfrm>
            <a:off x="5867400" y="3233529"/>
            <a:ext cx="4546440" cy="736753"/>
            <a:chOff x="5775076" y="1915537"/>
            <a:chExt cx="4546440" cy="736753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81DAED0-5BD3-0541-91B9-C7EA85E0D9A8}"/>
                </a:ext>
              </a:extLst>
            </p:cNvPr>
            <p:cNvGrpSpPr/>
            <p:nvPr/>
          </p:nvGrpSpPr>
          <p:grpSpPr>
            <a:xfrm>
              <a:off x="5775076" y="2010780"/>
              <a:ext cx="4546440" cy="430253"/>
              <a:chOff x="7046290" y="2064472"/>
              <a:chExt cx="3720755" cy="334423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B84BA2DF-522B-6642-914B-6FBFCEB64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088806" y="2075714"/>
                <a:ext cx="1111102" cy="323181"/>
              </a:xfrm>
              <a:prstGeom prst="rect">
                <a:avLst/>
              </a:prstGeom>
            </p:spPr>
          </p:pic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9E314C03-C9E3-0541-A2D9-C1C04528B31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1"/>
              <a:srcRect l="8785" t="27066" r="8785" b="36872"/>
              <a:stretch/>
            </p:blipFill>
            <p:spPr>
              <a:xfrm>
                <a:off x="9288721" y="2064472"/>
                <a:ext cx="1478324" cy="327421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AEB6A5EC-DD92-7E41-9235-0209C5782D81}"/>
                  </a:ext>
                </a:extLst>
              </p:cNvPr>
              <p:cNvSpPr txBox="1"/>
              <p:nvPr/>
            </p:nvSpPr>
            <p:spPr>
              <a:xfrm>
                <a:off x="7046290" y="2205836"/>
                <a:ext cx="754121" cy="16745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accent2"/>
                    </a:solidFill>
                  </a:rPr>
                  <a:t>E-commerce</a:t>
                </a:r>
              </a:p>
            </p:txBody>
          </p: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DEC3F70-7698-AB40-9A09-E6F9B996C957}"/>
                </a:ext>
              </a:extLst>
            </p:cNvPr>
            <p:cNvCxnSpPr>
              <a:cxnSpLocks/>
            </p:cNvCxnSpPr>
            <p:nvPr/>
          </p:nvCxnSpPr>
          <p:spPr>
            <a:xfrm>
              <a:off x="6831613" y="1915537"/>
              <a:ext cx="0" cy="73675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F92A6D6-3B03-2244-AECA-5D97DB4C6AF5}"/>
              </a:ext>
            </a:extLst>
          </p:cNvPr>
          <p:cNvGrpSpPr/>
          <p:nvPr/>
        </p:nvGrpSpPr>
        <p:grpSpPr>
          <a:xfrm>
            <a:off x="7767704" y="4059377"/>
            <a:ext cx="2553600" cy="1130295"/>
            <a:chOff x="8566818" y="2678659"/>
            <a:chExt cx="2089837" cy="878541"/>
          </a:xfrm>
        </p:grpSpPr>
        <p:sp>
          <p:nvSpPr>
            <p:cNvPr id="60" name="Rounded Rectangle 59">
              <a:extLst>
                <a:ext uri="{FF2B5EF4-FFF2-40B4-BE49-F238E27FC236}">
                  <a16:creationId xmlns:a16="http://schemas.microsoft.com/office/drawing/2014/main" id="{56FE18C8-B457-EF4F-9D17-4642C4838080}"/>
                </a:ext>
              </a:extLst>
            </p:cNvPr>
            <p:cNvSpPr/>
            <p:nvPr/>
          </p:nvSpPr>
          <p:spPr bwMode="auto">
            <a:xfrm>
              <a:off x="8566818" y="2678659"/>
              <a:ext cx="1766047" cy="878541"/>
            </a:xfrm>
            <a:prstGeom prst="round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0341" tIns="40341" rIns="40341" bIns="403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 err="1">
                <a:solidFill>
                  <a:schemeClr val="bg1"/>
                </a:solidFill>
              </a:endParaRP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70EFB91D-ECF4-DC4C-847E-E11AE8441F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t="40756" b="40756"/>
            <a:stretch/>
          </p:blipFill>
          <p:spPr>
            <a:xfrm>
              <a:off x="8671422" y="3062546"/>
              <a:ext cx="747070" cy="138123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C8A667FE-1AEF-7C45-8747-7CA8118F8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t="28110" b="28110"/>
            <a:stretch/>
          </p:blipFill>
          <p:spPr>
            <a:xfrm>
              <a:off x="9626089" y="3024819"/>
              <a:ext cx="1030566" cy="221363"/>
            </a:xfrm>
            <a:prstGeom prst="rect">
              <a:avLst/>
            </a:prstGeom>
          </p:spPr>
        </p:pic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9070592-BB8C-7C4E-896E-A9D755E1BCA7}"/>
              </a:ext>
            </a:extLst>
          </p:cNvPr>
          <p:cNvCxnSpPr>
            <a:cxnSpLocks/>
          </p:cNvCxnSpPr>
          <p:nvPr/>
        </p:nvCxnSpPr>
        <p:spPr>
          <a:xfrm>
            <a:off x="7716807" y="4249359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3315EEA2-389A-6640-9E57-B9DA3BC4E1E8}"/>
              </a:ext>
            </a:extLst>
          </p:cNvPr>
          <p:cNvSpPr txBox="1"/>
          <p:nvPr userDrawn="1"/>
        </p:nvSpPr>
        <p:spPr>
          <a:xfrm>
            <a:off x="10035874" y="2482012"/>
            <a:ext cx="468077" cy="1357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882">
                <a:solidFill>
                  <a:schemeClr val="accent2"/>
                </a:solidFill>
              </a:rPr>
              <a:t>Streamin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6EA632-7180-494C-A052-5BFA803C6823}"/>
              </a:ext>
            </a:extLst>
          </p:cNvPr>
          <p:cNvSpPr txBox="1"/>
          <p:nvPr userDrawn="1"/>
        </p:nvSpPr>
        <p:spPr>
          <a:xfrm rot="677337">
            <a:off x="4341577" y="2762932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HCM</a:t>
            </a:r>
          </a:p>
        </p:txBody>
      </p:sp>
      <p:pic>
        <p:nvPicPr>
          <p:cNvPr id="65" name="Picture 64" descr="Image result for recurly logo">
            <a:extLst>
              <a:ext uri="{FF2B5EF4-FFF2-40B4-BE49-F238E27FC236}">
                <a16:creationId xmlns:a16="http://schemas.microsoft.com/office/drawing/2014/main" id="{F592E142-6CB2-E640-BB55-8FF51F7CB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5470739"/>
            <a:ext cx="1058126" cy="320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32" descr="Image result for microsoft dynamics logo">
            <a:extLst>
              <a:ext uri="{FF2B5EF4-FFF2-40B4-BE49-F238E27FC236}">
                <a16:creationId xmlns:a16="http://schemas.microsoft.com/office/drawing/2014/main" id="{DEDF1641-E416-4F48-A7C3-EF7FF35068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9007" y="3675497"/>
            <a:ext cx="1216718" cy="44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object 20">
            <a:extLst>
              <a:ext uri="{FF2B5EF4-FFF2-40B4-BE49-F238E27FC236}">
                <a16:creationId xmlns:a16="http://schemas.microsoft.com/office/drawing/2014/main" id="{787A053F-B728-4241-911E-F021A3C08649}"/>
              </a:ext>
            </a:extLst>
          </p:cNvPr>
          <p:cNvSpPr>
            <a:spLocks noChangeAspect="1"/>
          </p:cNvSpPr>
          <p:nvPr userDrawn="1"/>
        </p:nvSpPr>
        <p:spPr>
          <a:xfrm>
            <a:off x="1176319" y="1982126"/>
            <a:ext cx="1179406" cy="170004"/>
          </a:xfrm>
          <a:prstGeom prst="rect">
            <a:avLst/>
          </a:prstGeom>
          <a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12">
              <a:latin typeface="Segoe UI Semibold" panose="020B0702040204020203" pitchFamily="34" charset="0"/>
            </a:endParaRPr>
          </a:p>
        </p:txBody>
      </p:sp>
      <p:pic>
        <p:nvPicPr>
          <p:cNvPr id="68" name="Picture 9">
            <a:extLst>
              <a:ext uri="{FF2B5EF4-FFF2-40B4-BE49-F238E27FC236}">
                <a16:creationId xmlns:a16="http://schemas.microsoft.com/office/drawing/2014/main" id="{D7EC8D72-BFBB-BA49-A653-B794890A9B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7891" y="3389779"/>
            <a:ext cx="1329297" cy="420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8BDDF724-15A9-1E45-98E3-9E44D2A63956}"/>
              </a:ext>
            </a:extLst>
          </p:cNvPr>
          <p:cNvSpPr txBox="1"/>
          <p:nvPr userDrawn="1"/>
        </p:nvSpPr>
        <p:spPr>
          <a:xfrm>
            <a:off x="6248400" y="4470635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ulti-cloud</a:t>
            </a:r>
          </a:p>
        </p:txBody>
      </p:sp>
      <p:pic>
        <p:nvPicPr>
          <p:cNvPr id="70" name="Picture 36" descr="Image result for oracle netsuite logo">
            <a:extLst>
              <a:ext uri="{FF2B5EF4-FFF2-40B4-BE49-F238E27FC236}">
                <a16:creationId xmlns:a16="http://schemas.microsoft.com/office/drawing/2014/main" id="{F492A5FD-227F-3B45-9477-089B69AA66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81" y="3059866"/>
            <a:ext cx="1204029" cy="492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7F6C056C-22C0-8A44-BEFA-04A465A0A85C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703" y="5463322"/>
            <a:ext cx="1317487" cy="35167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53D90C14-518E-1C49-84C1-66C070568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r="78839"/>
          <a:stretch/>
        </p:blipFill>
        <p:spPr>
          <a:xfrm>
            <a:off x="3988575" y="3100791"/>
            <a:ext cx="1235000" cy="1260637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E0AF94A-5E6B-054F-B2F5-9FE8E966D107}"/>
              </a:ext>
            </a:extLst>
          </p:cNvPr>
          <p:cNvCxnSpPr>
            <a:cxnSpLocks/>
          </p:cNvCxnSpPr>
          <p:nvPr userDrawn="1"/>
        </p:nvCxnSpPr>
        <p:spPr>
          <a:xfrm>
            <a:off x="8033782" y="5257800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99D08E09-0D49-A146-B0FF-0F6D2EDF1B72}"/>
              </a:ext>
            </a:extLst>
          </p:cNvPr>
          <p:cNvSpPr txBox="1"/>
          <p:nvPr userDrawn="1"/>
        </p:nvSpPr>
        <p:spPr>
          <a:xfrm>
            <a:off x="6565375" y="5479076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arketplaces</a:t>
            </a:r>
          </a:p>
        </p:txBody>
      </p:sp>
    </p:spTree>
    <p:extLst>
      <p:ext uri="{BB962C8B-B14F-4D97-AF65-F5344CB8AC3E}">
        <p14:creationId xmlns:p14="http://schemas.microsoft.com/office/powerpoint/2010/main" val="67263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" y="1"/>
            <a:ext cx="12179296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79FC6-F3A8-134B-BF24-E167D09194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54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DB4306-E29A-3140-8CE1-834AAC1FDD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226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8EB599-FF9F-434A-A786-176C54F16097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289D8E4-F7B7-7640-B323-05091B0BC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645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1"/>
            <a:ext cx="121792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66A1211A-5A5E-4648-92E4-29EC7E237A85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84E856-8C9C-5F4F-87CD-D13BBB0D02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B9B6BF-CAEF-F049-80AA-027157A428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DFEF6469-74B7-114D-9E22-9CD17F9E9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91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187D8B-FB11-744F-9466-065B4333B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229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4">
            <a:extLst>
              <a:ext uri="{FF2B5EF4-FFF2-40B4-BE49-F238E27FC236}">
                <a16:creationId xmlns:a16="http://schemas.microsoft.com/office/drawing/2014/main" id="{35B4658E-A6EB-4BCE-B278-BA7251A9685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513FAA4-8204-470B-B1C1-1180C641F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638ED00A-687D-D447-8DC1-1867AEAF4739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7DE761-B4B8-7246-951F-51A4506594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3486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5ECE0-1D65-4CE5-AF49-45A248F6E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982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4F55C-ADD4-49A6-8F8F-52FC2F01F0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B4C0BFE-C169-A54D-95C6-326EDD559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4649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899DF-C1EF-4DFB-94E3-E16F54796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9938" y="2153722"/>
            <a:ext cx="7652125" cy="2550556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“Quote goes here –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nostrud</a:t>
            </a:r>
            <a:r>
              <a:rPr lang="en-US"/>
              <a:t> exercitation”. </a:t>
            </a:r>
          </a:p>
          <a:p>
            <a:pPr lvl="0"/>
            <a:br>
              <a:rPr lang="en-US"/>
            </a:br>
            <a:r>
              <a:rPr lang="en-US"/>
              <a:t>Name, Title, Compan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066395-5FCF-47ED-A438-8B3776A98B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887" y="1185860"/>
            <a:ext cx="1340577" cy="1340577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2907ACF-DB05-43C0-8192-1D5C1355E7A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CECE5A2-B765-8C4F-8D6E-7AB9BDACBA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1181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5030D4E-0BBF-47E8-AD90-68B0388310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3004" y="2049520"/>
            <a:ext cx="8165989" cy="2758960"/>
          </a:xfr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43C9E-F453-432B-AEB0-01083CA1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687336" y="4306477"/>
            <a:ext cx="1192405" cy="119240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4DE86FF-4FE8-4526-BED5-14BFED465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312259" y="1359118"/>
            <a:ext cx="1192405" cy="1192405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AE21E70-71C9-467E-BD1D-8F4D0CAC3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BC5940-5A39-6A4E-8AA2-A2FAAF0B90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9545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665D7-FDAB-4008-A3D8-11FCD1F08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3CDB8-0693-4364-BFA2-2C1083259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7E6389-7A21-4526-AEAD-AFA1E577C6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95246" y="1478269"/>
            <a:ext cx="5181600" cy="4312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C6978771-152E-4BCE-AC99-D9115D77B1F3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F56B896-8B47-406D-BD5B-BDF0E20854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FFAC594-D115-5648-B252-640CDF9FC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824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0D20D-9478-4A5A-83C3-E26F5E1FF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5156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E3562-3A44-4322-B20F-5D9E96C20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85900"/>
            <a:ext cx="5157787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DAC937-554C-4EBA-9E0F-06E897FA7D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910862"/>
            <a:ext cx="5157787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70D055-BC7A-4B14-B2B7-120E97FF72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9212" y="1485900"/>
            <a:ext cx="5183188" cy="4249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A130D9-D09B-4649-BE44-45F04723F3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2" y="1910862"/>
            <a:ext cx="5183188" cy="3880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639FEBEA-CADE-4AE0-AF86-4D8332EE551F}"/>
              </a:ext>
            </a:extLst>
          </p:cNvPr>
          <p:cNvSpPr/>
          <p:nvPr userDrawn="1"/>
        </p:nvSpPr>
        <p:spPr>
          <a:xfrm>
            <a:off x="6041499" y="1351983"/>
            <a:ext cx="109003" cy="4708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7CD4E9A-4F2F-40A4-B786-9121C3A7D0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6DCF484-7B1D-E24C-A484-801A0D601A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4592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38001-05D4-4866-88EA-6E19C4928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lIns="0" tIns="0" rIns="0" bIns="0"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52A40-2194-46D5-BDAF-533B1A317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72895"/>
            <a:ext cx="6399212" cy="421830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EFF356-43E6-4906-AACD-7CF52A9E3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298C5CF9-6F66-479B-ADBD-F083D1AAC9FC}"/>
              </a:ext>
            </a:extLst>
          </p:cNvPr>
          <p:cNvSpPr/>
          <p:nvPr userDrawn="1"/>
        </p:nvSpPr>
        <p:spPr>
          <a:xfrm>
            <a:off x="4808011" y="735806"/>
            <a:ext cx="109003" cy="53863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79E8E9-2E84-4144-80F9-BD627EB36C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5C06ED-2551-E64A-B92B-7C85FF541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220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83DC5C4-FE6F-5A46-8F14-E4EDB5FA4A7F}"/>
              </a:ext>
            </a:extLst>
          </p:cNvPr>
          <p:cNvSpPr/>
          <p:nvPr userDrawn="1"/>
        </p:nvSpPr>
        <p:spPr>
          <a:xfrm>
            <a:off x="0" y="0"/>
            <a:ext cx="49131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D4532-AAA3-41B9-8A8E-F43DECA63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1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B23307-4B55-4681-8D36-96C79C8E73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62100"/>
            <a:ext cx="6172200" cy="42989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9C1076-86E6-4DE1-9E63-27EB18EB40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2563586"/>
            <a:ext cx="3932237" cy="3227614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F128DC-831E-45EA-BE33-CCEE7C767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026AB6-A899-5D4E-8803-A996797B69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1864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BCAEA-C486-40AA-8D4A-8423F214F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D8CDF-E4F6-42ED-BA0C-E47B35166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10972799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981A2D-ECA3-4C1B-BFE9-C5BB4E0FA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095CDE1-6935-A541-93FC-AEE74EA932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5691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A64BDB-32B2-49DA-860B-26D5DC13F17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067800" y="1562100"/>
            <a:ext cx="2514600" cy="4229100"/>
          </a:xfrm>
        </p:spPr>
        <p:txBody>
          <a:bodyPr vert="eaVert"/>
          <a:lstStyle/>
          <a:p>
            <a:r>
              <a:rPr lang="en-US"/>
              <a:t>Heading goes her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4D75D-2FCB-44C0-A185-865DF040E5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562100"/>
            <a:ext cx="8115300" cy="4229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2CDD81-7FCD-406B-A32E-A81CD6B999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6882BC-614B-3049-A1D0-E7D1B10E8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141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FCF12-2F2E-4661-8E8D-7D8BA19EB6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>
                <a:solidFill>
                  <a:srgbClr val="00609C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9E71735-F065-4DE2-A648-07679A8D4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18ED3E9C-3476-B942-9568-53BDB4D2118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1FB6F1-339B-CB45-9BA2-C1B3E592F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710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bg2"/>
                </a:solidFill>
              </a:rPr>
              <a:t>Q&amp;A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985D397-65E6-C444-8686-897557BC48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984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&amp;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D13400CC-54B7-48A6-ACD2-97B8EB322EEA}"/>
              </a:ext>
            </a:extLst>
          </p:cNvPr>
          <p:cNvSpPr/>
          <p:nvPr userDrawn="1"/>
        </p:nvSpPr>
        <p:spPr>
          <a:xfrm>
            <a:off x="4506185" y="1930681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9">
            <a:extLst>
              <a:ext uri="{FF2B5EF4-FFF2-40B4-BE49-F238E27FC236}">
                <a16:creationId xmlns:a16="http://schemas.microsoft.com/office/drawing/2014/main" id="{5745AFF9-BBFB-4741-BDC4-932575960FB5}"/>
              </a:ext>
            </a:extLst>
          </p:cNvPr>
          <p:cNvSpPr/>
          <p:nvPr userDrawn="1"/>
        </p:nvSpPr>
        <p:spPr>
          <a:xfrm rot="5400000">
            <a:off x="3922449" y="2515956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AE28F2F5-9073-4FC6-9A50-D89B3C86CF1F}"/>
              </a:ext>
            </a:extLst>
          </p:cNvPr>
          <p:cNvSpPr/>
          <p:nvPr userDrawn="1"/>
        </p:nvSpPr>
        <p:spPr>
          <a:xfrm>
            <a:off x="6040208" y="4191000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772A9364-FEDE-4942-BD31-F0E51C7B7984}"/>
              </a:ext>
            </a:extLst>
          </p:cNvPr>
          <p:cNvSpPr/>
          <p:nvPr userDrawn="1"/>
        </p:nvSpPr>
        <p:spPr>
          <a:xfrm rot="5400000">
            <a:off x="6624972" y="3606415"/>
            <a:ext cx="874569" cy="2561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C8D377-F513-4F4E-8560-0EB5BBBEB2A6}"/>
              </a:ext>
            </a:extLst>
          </p:cNvPr>
          <p:cNvSpPr txBox="1"/>
          <p:nvPr userDrawn="1"/>
        </p:nvSpPr>
        <p:spPr>
          <a:xfrm>
            <a:off x="3939329" y="2820084"/>
            <a:ext cx="3591612" cy="747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en-US" sz="4000">
                <a:solidFill>
                  <a:schemeClr val="tx1"/>
                </a:solidFill>
              </a:rPr>
              <a:t>Q&amp;A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E7104D8-64B1-44AC-8C87-10369C1E706B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A382C-C96D-1140-B6FD-D195F1B63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21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- Thank You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bg2"/>
                </a:solidFill>
              </a:rPr>
              <a:t>Thank You</a:t>
            </a:r>
            <a:endParaRPr lang="en-US" sz="40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CE621F94-B810-044F-AC3B-C4C9871295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363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Thank You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4">
            <a:extLst>
              <a:ext uri="{FF2B5EF4-FFF2-40B4-BE49-F238E27FC236}">
                <a16:creationId xmlns:a16="http://schemas.microsoft.com/office/drawing/2014/main" id="{A4E9A0BB-7C57-4CC6-AFF3-3790CC18179E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6E68B1B7-9D6C-4A4B-ADB0-A63148A0A4C3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D92C4AD1-B839-44D5-AC0E-5C4E03285354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151ED8EF-70F0-441B-A0D7-6F81887BF176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206E7967-91F8-48E6-B829-F2ECDC230895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9">
              <a:extLst>
                <a:ext uri="{FF2B5EF4-FFF2-40B4-BE49-F238E27FC236}">
                  <a16:creationId xmlns:a16="http://schemas.microsoft.com/office/drawing/2014/main" id="{04260B6D-BCFF-4256-B16B-2B98C558D5DE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9">
              <a:extLst>
                <a:ext uri="{FF2B5EF4-FFF2-40B4-BE49-F238E27FC236}">
                  <a16:creationId xmlns:a16="http://schemas.microsoft.com/office/drawing/2014/main" id="{97F51124-C09F-4D26-9B5E-DA976DA43AAC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4FDD25AD-A2DE-410B-9BC4-2A5F14361CF5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54F24F2B-B062-4611-A031-DB4A978651F2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3">
            <a:extLst>
              <a:ext uri="{FF2B5EF4-FFF2-40B4-BE49-F238E27FC236}">
                <a16:creationId xmlns:a16="http://schemas.microsoft.com/office/drawing/2014/main" id="{AC873A5A-A3E9-4537-A672-6EFD2327B142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19" name="Rounded Rectangle 9">
              <a:extLst>
                <a:ext uri="{FF2B5EF4-FFF2-40B4-BE49-F238E27FC236}">
                  <a16:creationId xmlns:a16="http://schemas.microsoft.com/office/drawing/2014/main" id="{97B166CA-9A5D-4EF8-8922-90B672DB1B7E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ounded Rectangle 9">
              <a:extLst>
                <a:ext uri="{FF2B5EF4-FFF2-40B4-BE49-F238E27FC236}">
                  <a16:creationId xmlns:a16="http://schemas.microsoft.com/office/drawing/2014/main" id="{257923E3-3A7F-4B69-9957-8A08533E262B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818C8D69-7100-46B0-A184-E5D9F638EE17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A580E689-CD12-4CC9-8325-19A71FEF878A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AA4AF154-3553-4A41-8239-2E1BBB0BB2A5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9">
              <a:extLst>
                <a:ext uri="{FF2B5EF4-FFF2-40B4-BE49-F238E27FC236}">
                  <a16:creationId xmlns:a16="http://schemas.microsoft.com/office/drawing/2014/main" id="{EFC1FECE-D9F7-443F-89E2-4220A60B54C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9">
              <a:extLst>
                <a:ext uri="{FF2B5EF4-FFF2-40B4-BE49-F238E27FC236}">
                  <a16:creationId xmlns:a16="http://schemas.microsoft.com/office/drawing/2014/main" id="{75F135AC-CADC-45EC-A7F7-4E327B1D2BCD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9">
              <a:extLst>
                <a:ext uri="{FF2B5EF4-FFF2-40B4-BE49-F238E27FC236}">
                  <a16:creationId xmlns:a16="http://schemas.microsoft.com/office/drawing/2014/main" id="{9E12B986-4193-4AA8-A5E8-839FF85A783F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2">
            <a:extLst>
              <a:ext uri="{FF2B5EF4-FFF2-40B4-BE49-F238E27FC236}">
                <a16:creationId xmlns:a16="http://schemas.microsoft.com/office/drawing/2014/main" id="{44341649-951C-496C-8E87-AFC8D63EAAC4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31" name="Rounded Rectangle 9">
              <a:extLst>
                <a:ext uri="{FF2B5EF4-FFF2-40B4-BE49-F238E27FC236}">
                  <a16:creationId xmlns:a16="http://schemas.microsoft.com/office/drawing/2014/main" id="{C02AE299-8EAE-4CB6-8F30-617D65E1ED74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9">
              <a:extLst>
                <a:ext uri="{FF2B5EF4-FFF2-40B4-BE49-F238E27FC236}">
                  <a16:creationId xmlns:a16="http://schemas.microsoft.com/office/drawing/2014/main" id="{06B7C890-06CB-40D5-A5FD-23A1BDC49425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D5DC37B4-C366-4D7D-941A-1DE35A8F894E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9">
              <a:extLst>
                <a:ext uri="{FF2B5EF4-FFF2-40B4-BE49-F238E27FC236}">
                  <a16:creationId xmlns:a16="http://schemas.microsoft.com/office/drawing/2014/main" id="{CB798EA6-9C83-44C7-9992-AFB55DA586E0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6E40E59F-F067-49F5-BF8A-572B93E5DDA7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9">
              <a:extLst>
                <a:ext uri="{FF2B5EF4-FFF2-40B4-BE49-F238E27FC236}">
                  <a16:creationId xmlns:a16="http://schemas.microsoft.com/office/drawing/2014/main" id="{19D19314-1A2F-4A2A-A9F0-7DBAFBED7625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9">
              <a:extLst>
                <a:ext uri="{FF2B5EF4-FFF2-40B4-BE49-F238E27FC236}">
                  <a16:creationId xmlns:a16="http://schemas.microsoft.com/office/drawing/2014/main" id="{C4F95AF6-F986-4F28-87D8-260209C741EA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9">
              <a:extLst>
                <a:ext uri="{FF2B5EF4-FFF2-40B4-BE49-F238E27FC236}">
                  <a16:creationId xmlns:a16="http://schemas.microsoft.com/office/drawing/2014/main" id="{D8A978B7-BE8B-49DD-8C72-C31C815ED4D4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1">
            <a:extLst>
              <a:ext uri="{FF2B5EF4-FFF2-40B4-BE49-F238E27FC236}">
                <a16:creationId xmlns:a16="http://schemas.microsoft.com/office/drawing/2014/main" id="{8E7D34F6-75F1-4268-9D0E-5E3B7B3618C9}"/>
              </a:ext>
            </a:extLst>
          </p:cNvPr>
          <p:cNvGrpSpPr/>
          <p:nvPr userDrawn="1"/>
        </p:nvGrpSpPr>
        <p:grpSpPr>
          <a:xfrm>
            <a:off x="2507258" y="1793759"/>
            <a:ext cx="3077835" cy="3092959"/>
            <a:chOff x="2408565" y="1303778"/>
            <a:chExt cx="3839290" cy="3858156"/>
          </a:xfrm>
        </p:grpSpPr>
        <p:sp>
          <p:nvSpPr>
            <p:cNvPr id="40" name="Rounded Rectangle 9">
              <a:extLst>
                <a:ext uri="{FF2B5EF4-FFF2-40B4-BE49-F238E27FC236}">
                  <a16:creationId xmlns:a16="http://schemas.microsoft.com/office/drawing/2014/main" id="{EF9094B1-0BD4-435E-9537-FB22822668FA}"/>
                </a:ext>
              </a:extLst>
            </p:cNvPr>
            <p:cNvSpPr/>
            <p:nvPr userDrawn="1"/>
          </p:nvSpPr>
          <p:spPr>
            <a:xfrm>
              <a:off x="2408565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ounded Rectangle 9">
              <a:extLst>
                <a:ext uri="{FF2B5EF4-FFF2-40B4-BE49-F238E27FC236}">
                  <a16:creationId xmlns:a16="http://schemas.microsoft.com/office/drawing/2014/main" id="{46C3B048-8655-48FD-A66A-25877202A43C}"/>
                </a:ext>
              </a:extLst>
            </p:cNvPr>
            <p:cNvSpPr/>
            <p:nvPr userDrawn="1"/>
          </p:nvSpPr>
          <p:spPr>
            <a:xfrm rot="5400000">
              <a:off x="1990094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ounded Rectangle 9">
              <a:extLst>
                <a:ext uri="{FF2B5EF4-FFF2-40B4-BE49-F238E27FC236}">
                  <a16:creationId xmlns:a16="http://schemas.microsoft.com/office/drawing/2014/main" id="{1009AEB2-3826-4BA3-BD4C-8AB2180576E5}"/>
                </a:ext>
              </a:extLst>
            </p:cNvPr>
            <p:cNvSpPr/>
            <p:nvPr userDrawn="1"/>
          </p:nvSpPr>
          <p:spPr>
            <a:xfrm>
              <a:off x="2408565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C234D698-4C76-40F1-9F9E-49390A74CCE7}"/>
                </a:ext>
              </a:extLst>
            </p:cNvPr>
            <p:cNvSpPr/>
            <p:nvPr userDrawn="1"/>
          </p:nvSpPr>
          <p:spPr>
            <a:xfrm rot="5400000">
              <a:off x="1990094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9">
              <a:extLst>
                <a:ext uri="{FF2B5EF4-FFF2-40B4-BE49-F238E27FC236}">
                  <a16:creationId xmlns:a16="http://schemas.microsoft.com/office/drawing/2014/main" id="{A9890426-5DFF-45A9-A98A-9BCB0540DD46}"/>
                </a:ext>
              </a:extLst>
            </p:cNvPr>
            <p:cNvSpPr/>
            <p:nvPr userDrawn="1"/>
          </p:nvSpPr>
          <p:spPr>
            <a:xfrm>
              <a:off x="5064322" y="1303778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9">
              <a:extLst>
                <a:ext uri="{FF2B5EF4-FFF2-40B4-BE49-F238E27FC236}">
                  <a16:creationId xmlns:a16="http://schemas.microsoft.com/office/drawing/2014/main" id="{1CE59BA0-3A3B-4747-9AF0-8E6EB457FA5F}"/>
                </a:ext>
              </a:extLst>
            </p:cNvPr>
            <p:cNvSpPr/>
            <p:nvPr userDrawn="1"/>
          </p:nvSpPr>
          <p:spPr>
            <a:xfrm rot="5400000">
              <a:off x="5482792" y="172225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9">
              <a:extLst>
                <a:ext uri="{FF2B5EF4-FFF2-40B4-BE49-F238E27FC236}">
                  <a16:creationId xmlns:a16="http://schemas.microsoft.com/office/drawing/2014/main" id="{76D87820-EC74-4425-85DE-2BE54A29EA93}"/>
                </a:ext>
              </a:extLst>
            </p:cNvPr>
            <p:cNvSpPr/>
            <p:nvPr userDrawn="1"/>
          </p:nvSpPr>
          <p:spPr>
            <a:xfrm>
              <a:off x="5064322" y="4815343"/>
              <a:ext cx="1183533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9">
              <a:extLst>
                <a:ext uri="{FF2B5EF4-FFF2-40B4-BE49-F238E27FC236}">
                  <a16:creationId xmlns:a16="http://schemas.microsoft.com/office/drawing/2014/main" id="{053EEFED-55CB-4FC7-BD76-A8256127DA6D}"/>
                </a:ext>
              </a:extLst>
            </p:cNvPr>
            <p:cNvSpPr/>
            <p:nvPr userDrawn="1"/>
          </p:nvSpPr>
          <p:spPr>
            <a:xfrm rot="5400000">
              <a:off x="5482792" y="4396871"/>
              <a:ext cx="1183534" cy="34659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7EFA9-B1B8-4A27-AEF6-80150AFEBA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09FBD-63ED-4D41-8B1E-458DA8F5C776}"/>
              </a:ext>
            </a:extLst>
          </p:cNvPr>
          <p:cNvSpPr txBox="1"/>
          <p:nvPr userDrawn="1"/>
        </p:nvSpPr>
        <p:spPr>
          <a:xfrm>
            <a:off x="2825440" y="2983109"/>
            <a:ext cx="2448710" cy="687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>
                <a:solidFill>
                  <a:schemeClr val="tx1"/>
                </a:solidFill>
              </a:rPr>
              <a:t>Thank You</a:t>
            </a:r>
            <a:endParaRPr lang="en-US" sz="400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FE60A725-5089-0642-9952-7CEF8B931E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2411D56-8AC1-504B-BC42-40C352FF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0" y="3220522"/>
            <a:ext cx="3733800" cy="180867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&amp; Contact Information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296217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1927 -0.39514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64" y="-197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1654 -0.38449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20" y="-1923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0.24831 0.43865 " pathEditMode="relative" rAng="0" ptsTypes="AA">
                                      <p:cBhvr>
                                        <p:cTn id="10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22" y="2192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0.24831 0.44722 " pathEditMode="relative" rAng="0" ptsTypes="AA">
                                      <p:cBhvr>
                                        <p:cTn id="12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09" y="2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08AC1DDE-D431-1D63-C76C-4BFDD796ED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50" y="8834"/>
            <a:ext cx="4144144" cy="332399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0000"/>
                </a:solidFill>
              </a:rPr>
              <a:t>DRAFT – still under review</a:t>
            </a:r>
          </a:p>
        </p:txBody>
      </p:sp>
    </p:spTree>
    <p:extLst>
      <p:ext uri="{BB962C8B-B14F-4D97-AF65-F5344CB8AC3E}">
        <p14:creationId xmlns:p14="http://schemas.microsoft.com/office/powerpoint/2010/main" val="27624630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0" y="2458"/>
            <a:ext cx="7081519" cy="6853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DCC9C26-A55E-5444-8645-28FB5C7E1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5"/>
            <a:ext cx="4419600" cy="12604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42CF1C5-8EDB-1643-BF99-9784BB315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3639526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3598256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F07CC35C-8C66-4D0F-B6C2-C72675BA92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4126"/>
            <a:ext cx="2228757" cy="484899"/>
          </a:xfrm>
          <a:prstGeom prst="rect">
            <a:avLst/>
          </a:prstGeom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50E6E49-F164-4AA4-9E43-45F8FEA9F8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87C60-4699-FD4A-BFFF-DFC69929D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0481" y="4917"/>
            <a:ext cx="7081519" cy="685308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BC61742-86B8-F346-9444-531C23E3AA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168525"/>
            <a:ext cx="4419600" cy="12604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3D5274-C6B6-CD4E-B11C-AB1268E583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3639526"/>
            <a:ext cx="4419600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ay – Month – Year</a:t>
            </a:r>
          </a:p>
        </p:txBody>
      </p:sp>
    </p:spTree>
    <p:extLst>
      <p:ext uri="{BB962C8B-B14F-4D97-AF65-F5344CB8AC3E}">
        <p14:creationId xmlns:p14="http://schemas.microsoft.com/office/powerpoint/2010/main" val="3371064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210BCD1-D1A9-354D-B60F-18F04393B2BD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659D7D0-DF3C-CC4C-82A1-59C8F21CA343}"/>
              </a:ext>
            </a:extLst>
          </p:cNvPr>
          <p:cNvSpPr/>
          <p:nvPr userDrawn="1"/>
        </p:nvSpPr>
        <p:spPr>
          <a:xfrm>
            <a:off x="213131" y="228599"/>
            <a:ext cx="11763446" cy="6175533"/>
          </a:xfrm>
          <a:prstGeom prst="roundRect">
            <a:avLst>
              <a:gd name="adj" fmla="val 27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ED9843-4902-C44A-A8B4-B0C1A046F3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A3753DB6-49BE-E64E-BA2E-13BF618D8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8100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D6EAEDD7-7368-FE43-880A-74703893A7BB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9BC134-962A-A145-84E3-69E6A7767F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0090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4"/>
          </a:xfrm>
        </p:spPr>
        <p:txBody>
          <a:bodyPr wrap="square"/>
          <a:lstStyle/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619D531-5BC5-4B9B-9DD9-01CD00BB18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95D0B0-B14D-49B4-823D-98BA24A8BF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485900"/>
            <a:ext cx="10972799" cy="430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B3C16569-087E-F141-B443-C074BE0E3BF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235D8C6-52B4-754E-987F-C0BDD7F4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54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1584E716-F7AA-4578-8F00-3394E8AE48DD}"/>
              </a:ext>
            </a:extLst>
          </p:cNvPr>
          <p:cNvSpPr/>
          <p:nvPr userDrawn="1"/>
        </p:nvSpPr>
        <p:spPr>
          <a:xfrm>
            <a:off x="609600" y="2377791"/>
            <a:ext cx="109003" cy="260730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2258FB2-39F7-465A-A088-B6E461A3F6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69299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0846B96-0154-4114-AFAF-9BBF0FCAD5C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769299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F1B30A0B-EA3F-4B6B-909B-2629F9764B0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052713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74CD4E2-B2BF-4AB8-8F9D-8FD77CA3170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052713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8629EAB8-CBF3-411C-B84F-79A4BB16668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335845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6D1ADCA-9D66-48BD-95E7-01BA582C313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335845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518226A-CA13-4867-A8F3-EBA00B0628B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052431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81FFB85E-6C1B-413E-9C66-B01BE74E5B4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6769299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9849030-B82B-4519-B35A-7F3935B0C637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335563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224BE1A4-50E0-49D4-9CAF-95B9E10F29E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488424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3D3334C-E082-4416-8DF1-1203EB9EE35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488424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54FC8659-D240-4A26-9CB1-7FC8BAF42D26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488424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7736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4">
            <a:extLst>
              <a:ext uri="{FF2B5EF4-FFF2-40B4-BE49-F238E27FC236}">
                <a16:creationId xmlns:a16="http://schemas.microsoft.com/office/drawing/2014/main" id="{35B4658E-A6EB-4BCE-B278-BA7251A9685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513FAA4-8204-470B-B1C1-1180C641F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638ED00A-687D-D447-8DC1-1867AEAF4739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7DE761-B4B8-7246-951F-51A4506594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2367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/>
          <a:p>
            <a:r>
              <a:rPr lang="en-US"/>
              <a:t>Heading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FCF12-2F2E-4661-8E8D-7D8BA19EB6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485900"/>
            <a:ext cx="10972800" cy="4305300"/>
          </a:xfrm>
        </p:spPr>
        <p:txBody>
          <a:bodyPr/>
          <a:lstStyle>
            <a:lvl1pPr marL="0" indent="0">
              <a:buNone/>
              <a:defRPr>
                <a:solidFill>
                  <a:srgbClr val="00609C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9E71735-F065-4DE2-A648-07679A8D4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id="{18ED3E9C-3476-B942-9568-53BDB4D2118A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1FB6F1-339B-CB45-9BA2-C1B3E592F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282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Presenter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1584E716-F7AA-4578-8F00-3394E8AE48DD}"/>
              </a:ext>
            </a:extLst>
          </p:cNvPr>
          <p:cNvSpPr/>
          <p:nvPr userDrawn="1"/>
        </p:nvSpPr>
        <p:spPr>
          <a:xfrm>
            <a:off x="609600" y="2377791"/>
            <a:ext cx="109003" cy="260730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2258FB2-39F7-465A-A088-B6E461A3F6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69299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0846B96-0154-4114-AFAF-9BBF0FCAD5C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769299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F1B30A0B-EA3F-4B6B-909B-2629F9764B0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052713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74CD4E2-B2BF-4AB8-8F9D-8FD77CA3170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052713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8629EAB8-CBF3-411C-B84F-79A4BB16668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335845" y="4400719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6D1ADCA-9D66-48BD-95E7-01BA582C313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335845" y="4705278"/>
            <a:ext cx="2091437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518226A-CA13-4867-A8F3-EBA00B0628B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052431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81FFB85E-6C1B-413E-9C66-B01BE74E5B4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6769299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9849030-B82B-4519-B35A-7F3935B0C637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335563" y="2377791"/>
            <a:ext cx="2091719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224BE1A4-50E0-49D4-9CAF-95B9E10F29E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488424" y="4400719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3D3334C-E082-4416-8DF1-1203EB9EE35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488424" y="4705278"/>
            <a:ext cx="2093976" cy="279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400" i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54FC8659-D240-4A26-9CB1-7FC8BAF42D26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488424" y="2377791"/>
            <a:ext cx="2093976" cy="1851472"/>
          </a:xfrm>
          <a:prstGeom prst="round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3972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Icon U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1630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M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urpose, Mission and 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A5B832-27C1-0A4A-99F9-5B9ABE38A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3798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6F6B25-4B2C-B94E-8911-9A1FD2F5F0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0299" y="1600200"/>
            <a:ext cx="3048000" cy="3436047"/>
          </a:xfrm>
          <a:prstGeom prst="roundRect">
            <a:avLst>
              <a:gd name="adj" fmla="val 7828"/>
            </a:avLst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9F7F46-BDE9-C340-A871-1618B19D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800" y="1600200"/>
            <a:ext cx="3048000" cy="3436047"/>
          </a:xfrm>
          <a:prstGeom prst="roundRect">
            <a:avLst>
              <a:gd name="adj" fmla="val 8631"/>
            </a:avLst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FA691F0-E837-5741-9629-FF013C922851}"/>
              </a:ext>
            </a:extLst>
          </p:cNvPr>
          <p:cNvSpPr/>
          <p:nvPr userDrawn="1"/>
        </p:nvSpPr>
        <p:spPr>
          <a:xfrm>
            <a:off x="8204131" y="4648200"/>
            <a:ext cx="2675618" cy="1004530"/>
          </a:xfrm>
          <a:prstGeom prst="roundRect">
            <a:avLst/>
          </a:prstGeom>
          <a:solidFill>
            <a:srgbClr val="00933C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Vision</a:t>
            </a:r>
          </a:p>
          <a:p>
            <a:r>
              <a:rPr lang="en-US" sz="1200">
                <a:solidFill>
                  <a:schemeClr val="bg1"/>
                </a:solidFill>
              </a:rPr>
              <a:t>We will accelerate global commerce, one transaction at a time.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9492FBA-5B9B-2E4F-BB59-9C6A172025E7}"/>
              </a:ext>
            </a:extLst>
          </p:cNvPr>
          <p:cNvSpPr/>
          <p:nvPr userDrawn="1"/>
        </p:nvSpPr>
        <p:spPr>
          <a:xfrm>
            <a:off x="4723802" y="4648200"/>
            <a:ext cx="2675618" cy="100453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Mission</a:t>
            </a:r>
          </a:p>
          <a:p>
            <a:r>
              <a:rPr lang="en-US" sz="1200">
                <a:solidFill>
                  <a:schemeClr val="bg1"/>
                </a:solidFill>
              </a:rPr>
              <a:t>Empower businesses to transact, comply and grow with confidence.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C8EB1EA8-A962-794C-934B-DF1C16274E9E}"/>
              </a:ext>
            </a:extLst>
          </p:cNvPr>
          <p:cNvSpPr/>
          <p:nvPr userDrawn="1"/>
        </p:nvSpPr>
        <p:spPr>
          <a:xfrm>
            <a:off x="1243472" y="4648200"/>
            <a:ext cx="2675618" cy="1004530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Purpose</a:t>
            </a:r>
          </a:p>
          <a:p>
            <a:r>
              <a:rPr lang="en-US" sz="1200">
                <a:solidFill>
                  <a:schemeClr val="bg1"/>
                </a:solidFill>
              </a:rPr>
              <a:t>Build trusted relationships at work, 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in business and in our communities.</a:t>
            </a:r>
          </a:p>
        </p:txBody>
      </p:sp>
    </p:spTree>
    <p:extLst>
      <p:ext uri="{BB962C8B-B14F-4D97-AF65-F5344CB8AC3E}">
        <p14:creationId xmlns:p14="http://schemas.microsoft.com/office/powerpoint/2010/main" val="30862737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sted Name in Tax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object 2">
            <a:extLst>
              <a:ext uri="{FF2B5EF4-FFF2-40B4-BE49-F238E27FC236}">
                <a16:creationId xmlns:a16="http://schemas.microsoft.com/office/drawing/2014/main" id="{DA05C91D-B761-9F47-BB1B-5B79171CE6B7}"/>
              </a:ext>
            </a:extLst>
          </p:cNvPr>
          <p:cNvSpPr/>
          <p:nvPr userDrawn="1"/>
        </p:nvSpPr>
        <p:spPr>
          <a:xfrm>
            <a:off x="3203566" y="2463040"/>
            <a:ext cx="45719" cy="1143000"/>
          </a:xfrm>
          <a:custGeom>
            <a:avLst/>
            <a:gdLst/>
            <a:ahLst/>
            <a:cxnLst/>
            <a:rect l="l" t="t" r="r" b="b"/>
            <a:pathLst>
              <a:path h="5299709">
                <a:moveTo>
                  <a:pt x="0" y="0"/>
                </a:moveTo>
                <a:lnTo>
                  <a:pt x="0" y="5299367"/>
                </a:lnTo>
              </a:path>
            </a:pathLst>
          </a:custGeom>
          <a:ln w="12700">
            <a:solidFill>
              <a:srgbClr val="BCDEFF"/>
            </a:solidFill>
            <a:prstDash val="solid"/>
          </a:ln>
        </p:spPr>
        <p:txBody>
          <a:bodyPr wrap="square" lIns="0" tIns="0" rIns="0" bIns="0" rtlCol="0"/>
          <a:lstStyle/>
          <a:p>
            <a:endParaRPr>
              <a:latin typeface="+mj-lt"/>
            </a:endParaRPr>
          </a:p>
        </p:txBody>
      </p:sp>
      <p:sp>
        <p:nvSpPr>
          <p:cNvPr id="24" name="object 5">
            <a:extLst>
              <a:ext uri="{FF2B5EF4-FFF2-40B4-BE49-F238E27FC236}">
                <a16:creationId xmlns:a16="http://schemas.microsoft.com/office/drawing/2014/main" id="{5C09CB55-67F6-F641-84C9-F257215DF235}"/>
              </a:ext>
            </a:extLst>
          </p:cNvPr>
          <p:cNvSpPr txBox="1"/>
          <p:nvPr userDrawn="1"/>
        </p:nvSpPr>
        <p:spPr>
          <a:xfrm>
            <a:off x="1003569" y="2563140"/>
            <a:ext cx="159067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4</a:t>
            </a:r>
            <a:r>
              <a:rPr sz="4000" b="1" spc="-15">
                <a:solidFill>
                  <a:srgbClr val="003970"/>
                </a:solidFill>
                <a:latin typeface="+mj-lt"/>
                <a:cs typeface="Arial"/>
              </a:rPr>
              <a:t>,</a:t>
            </a: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000+</a:t>
            </a:r>
            <a:endParaRPr sz="4000" b="1">
              <a:latin typeface="+mj-lt"/>
              <a:cs typeface="Arial"/>
            </a:endParaRPr>
          </a:p>
          <a:p>
            <a:pPr marL="1905"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usto</a:t>
            </a:r>
            <a:r>
              <a:rPr sz="1200" spc="5">
                <a:latin typeface="+mj-lt"/>
                <a:cs typeface="Arial"/>
              </a:rPr>
              <a:t>m</a:t>
            </a:r>
            <a:r>
              <a:rPr sz="1200">
                <a:latin typeface="+mj-lt"/>
                <a:cs typeface="Arial"/>
              </a:rPr>
              <a:t>e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s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EEFC15D8-9C8F-8946-8CFF-B79ED39799F0}"/>
              </a:ext>
            </a:extLst>
          </p:cNvPr>
          <p:cNvSpPr txBox="1"/>
          <p:nvPr userDrawn="1"/>
        </p:nvSpPr>
        <p:spPr>
          <a:xfrm>
            <a:off x="3694415" y="2563140"/>
            <a:ext cx="1521460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4000" b="1" spc="-30">
                <a:solidFill>
                  <a:srgbClr val="003970"/>
                </a:solidFill>
                <a:latin typeface="+mj-lt"/>
                <a:cs typeface="Arial"/>
              </a:rPr>
              <a:t>&gt;13</a:t>
            </a:r>
            <a:r>
              <a:rPr sz="4000" b="1" spc="-25">
                <a:solidFill>
                  <a:srgbClr val="003970"/>
                </a:solidFill>
                <a:latin typeface="+mj-lt"/>
                <a:cs typeface="Arial"/>
              </a:rPr>
              <a:t>0</a:t>
            </a:r>
            <a:endParaRPr sz="4000" b="1">
              <a:latin typeface="+mj-lt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55"/>
              </a:spcBef>
            </a:pPr>
            <a:r>
              <a:rPr sz="1200" spc="-5">
                <a:latin typeface="+mj-lt"/>
                <a:cs typeface="Arial"/>
              </a:rPr>
              <a:t>C</a:t>
            </a:r>
            <a:r>
              <a:rPr sz="1200">
                <a:latin typeface="+mj-lt"/>
                <a:cs typeface="Arial"/>
              </a:rPr>
              <a:t>ount</a:t>
            </a:r>
            <a:r>
              <a:rPr sz="1200" spc="-5">
                <a:latin typeface="+mj-lt"/>
                <a:cs typeface="Arial"/>
              </a:rPr>
              <a:t>ri</a:t>
            </a:r>
            <a:r>
              <a:rPr sz="1200">
                <a:latin typeface="+mj-lt"/>
                <a:cs typeface="Arial"/>
              </a:rPr>
              <a:t>es</a:t>
            </a:r>
            <a:r>
              <a:rPr sz="1200" spc="-35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supp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e</a:t>
            </a:r>
            <a:r>
              <a:rPr sz="1200" spc="-10">
                <a:latin typeface="+mj-lt"/>
                <a:cs typeface="Arial"/>
              </a:rPr>
              <a:t>d</a:t>
            </a:r>
            <a:r>
              <a:rPr lang="en-US" sz="1200" spc="-1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6" name="object 8">
            <a:extLst>
              <a:ext uri="{FF2B5EF4-FFF2-40B4-BE49-F238E27FC236}">
                <a16:creationId xmlns:a16="http://schemas.microsoft.com/office/drawing/2014/main" id="{616644B8-E198-694B-A45A-A203CEAC4841}"/>
              </a:ext>
            </a:extLst>
          </p:cNvPr>
          <p:cNvSpPr txBox="1"/>
          <p:nvPr userDrawn="1"/>
        </p:nvSpPr>
        <p:spPr>
          <a:xfrm>
            <a:off x="2505383" y="3784600"/>
            <a:ext cx="1396365" cy="8643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2545" algn="ctr">
              <a:lnSpc>
                <a:spcPct val="100000"/>
              </a:lnSpc>
            </a:pPr>
            <a:r>
              <a:rPr sz="4000" b="1" spc="-30">
                <a:solidFill>
                  <a:srgbClr val="0058B0"/>
                </a:solidFill>
                <a:latin typeface="+mj-lt"/>
                <a:cs typeface="Arial"/>
              </a:rPr>
              <a:t>5</a:t>
            </a:r>
            <a:r>
              <a:rPr lang="en-US" sz="4000" b="1" spc="-30">
                <a:solidFill>
                  <a:srgbClr val="0058B0"/>
                </a:solidFill>
                <a:latin typeface="+mj-lt"/>
                <a:cs typeface="Arial"/>
              </a:rPr>
              <a:t>9</a:t>
            </a:r>
            <a:r>
              <a:rPr sz="4000" b="1" spc="-40">
                <a:solidFill>
                  <a:srgbClr val="0058B0"/>
                </a:solidFill>
                <a:latin typeface="+mj-lt"/>
                <a:cs typeface="Arial"/>
              </a:rPr>
              <a:t>%</a:t>
            </a:r>
            <a:endParaRPr sz="4000" b="1">
              <a:latin typeface="+mj-lt"/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455"/>
              </a:spcBef>
            </a:pPr>
            <a:r>
              <a:rPr sz="1200">
                <a:latin typeface="+mj-lt"/>
                <a:cs typeface="Arial"/>
              </a:rPr>
              <a:t>of</a:t>
            </a:r>
            <a:r>
              <a:rPr sz="1200" spc="-1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the</a:t>
            </a:r>
            <a:r>
              <a:rPr sz="1200" spc="-5">
                <a:latin typeface="+mj-lt"/>
                <a:cs typeface="Arial"/>
              </a:rPr>
              <a:t> F</a:t>
            </a:r>
            <a:r>
              <a:rPr sz="1200">
                <a:latin typeface="+mj-lt"/>
                <a:cs typeface="Arial"/>
              </a:rPr>
              <a:t>o</a:t>
            </a:r>
            <a:r>
              <a:rPr sz="1200" spc="-5">
                <a:latin typeface="+mj-lt"/>
                <a:cs typeface="Arial"/>
              </a:rPr>
              <a:t>r</a:t>
            </a:r>
            <a:r>
              <a:rPr sz="1200">
                <a:latin typeface="+mj-lt"/>
                <a:cs typeface="Arial"/>
              </a:rPr>
              <a:t>tune</a:t>
            </a:r>
            <a:r>
              <a:rPr sz="1200" spc="-20">
                <a:latin typeface="+mj-lt"/>
                <a:cs typeface="Arial"/>
              </a:rPr>
              <a:t> </a:t>
            </a:r>
            <a:r>
              <a:rPr sz="1200">
                <a:latin typeface="+mj-lt"/>
                <a:cs typeface="Arial"/>
              </a:rPr>
              <a:t>500</a:t>
            </a:r>
            <a:r>
              <a:rPr lang="en-US" sz="1200">
                <a:latin typeface="+mj-lt"/>
                <a:cs typeface="Arial"/>
              </a:rPr>
              <a:t> </a:t>
            </a:r>
            <a:r>
              <a:rPr sz="1200" spc="-7" baseline="24305">
                <a:latin typeface="+mj-lt"/>
                <a:cs typeface="Arial"/>
              </a:rPr>
              <a:t>(</a:t>
            </a:r>
            <a:r>
              <a:rPr lang="en-US" sz="1200" spc="-7" baseline="24305">
                <a:latin typeface="+mj-lt"/>
                <a:cs typeface="Arial"/>
              </a:rPr>
              <a:t>1</a:t>
            </a:r>
            <a:r>
              <a:rPr sz="1200" baseline="24305">
                <a:latin typeface="+mj-lt"/>
                <a:cs typeface="Arial"/>
              </a:rPr>
              <a:t>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4A556A-04D8-484A-96CF-539E8971E4D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953968" y="6045200"/>
            <a:ext cx="4648007" cy="309468"/>
          </a:xfrm>
          <a:prstGeom prst="rect">
            <a:avLst/>
          </a:prstGeom>
          <a:noFill/>
        </p:spPr>
        <p:txBody>
          <a:bodyPr wrap="square" lIns="40341" tIns="40341" rIns="40341" bIns="40341" rtlCol="0" anchor="b">
            <a:noAutofit/>
          </a:bodyPr>
          <a:lstStyle/>
          <a:p>
            <a:r>
              <a:rPr lang="en-US" sz="530">
                <a:latin typeface="+mj-lt"/>
              </a:rPr>
              <a:t>Notes:</a:t>
            </a:r>
          </a:p>
          <a:p>
            <a:r>
              <a:rPr lang="en-US" sz="530" baseline="30000"/>
              <a:t>(1)</a:t>
            </a:r>
            <a:r>
              <a:rPr lang="en-US" sz="530"/>
              <a:t> Based on information as of December 31, 2020. </a:t>
            </a:r>
            <a:r>
              <a:rPr lang="en-US" sz="530" baseline="30000"/>
              <a:t>(2)</a:t>
            </a:r>
            <a:r>
              <a:rPr lang="en-US" sz="530"/>
              <a:t> Based on results for the year ended September 31, 2021.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A7A339F-9C86-964F-A1FF-D7307C482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4" r="8773"/>
          <a:stretch/>
        </p:blipFill>
        <p:spPr>
          <a:xfrm>
            <a:off x="5791200" y="1630680"/>
            <a:ext cx="6400800" cy="4307840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FB43572-1366-C046-A184-B0A3200878DA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The trusted name in tax technology for over 40 years </a:t>
            </a:r>
          </a:p>
        </p:txBody>
      </p:sp>
    </p:spTree>
    <p:extLst>
      <p:ext uri="{BB962C8B-B14F-4D97-AF65-F5344CB8AC3E}">
        <p14:creationId xmlns:p14="http://schemas.microsoft.com/office/powerpoint/2010/main" val="11045193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o End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3" name="Flowchart: Terminator 18">
            <a:extLst>
              <a:ext uri="{FF2B5EF4-FFF2-40B4-BE49-F238E27FC236}">
                <a16:creationId xmlns:a16="http://schemas.microsoft.com/office/drawing/2014/main" id="{E5D17620-1EB9-8640-95F5-9E1EAE2EF6EC}"/>
              </a:ext>
            </a:extLst>
          </p:cNvPr>
          <p:cNvSpPr/>
          <p:nvPr userDrawn="1"/>
        </p:nvSpPr>
        <p:spPr>
          <a:xfrm>
            <a:off x="640339" y="5401717"/>
            <a:ext cx="2116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gistration</a:t>
            </a:r>
          </a:p>
        </p:txBody>
      </p:sp>
      <p:sp>
        <p:nvSpPr>
          <p:cNvPr id="24" name="Flowchart: Terminator 19">
            <a:extLst>
              <a:ext uri="{FF2B5EF4-FFF2-40B4-BE49-F238E27FC236}">
                <a16:creationId xmlns:a16="http://schemas.microsoft.com/office/drawing/2014/main" id="{B38B2E1D-391A-124D-B951-857117AA045E}"/>
              </a:ext>
            </a:extLst>
          </p:cNvPr>
          <p:cNvSpPr/>
          <p:nvPr userDrawn="1"/>
        </p:nvSpPr>
        <p:spPr>
          <a:xfrm>
            <a:off x="1893237" y="5401709"/>
            <a:ext cx="245790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Product Mapping</a:t>
            </a:r>
          </a:p>
        </p:txBody>
      </p:sp>
      <p:sp>
        <p:nvSpPr>
          <p:cNvPr id="25" name="Flowchart: Terminator 20">
            <a:extLst>
              <a:ext uri="{FF2B5EF4-FFF2-40B4-BE49-F238E27FC236}">
                <a16:creationId xmlns:a16="http://schemas.microsoft.com/office/drawing/2014/main" id="{6D53C892-6202-B945-85F9-B238251C5FAE}"/>
              </a:ext>
            </a:extLst>
          </p:cNvPr>
          <p:cNvSpPr/>
          <p:nvPr userDrawn="1"/>
        </p:nvSpPr>
        <p:spPr>
          <a:xfrm>
            <a:off x="3561103" y="5401708"/>
            <a:ext cx="2114092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26" name="Flowchart: Terminator 15">
            <a:extLst>
              <a:ext uri="{FF2B5EF4-FFF2-40B4-BE49-F238E27FC236}">
                <a16:creationId xmlns:a16="http://schemas.microsoft.com/office/drawing/2014/main" id="{D3C8D301-9158-FD42-80F1-46FC49903874}"/>
              </a:ext>
            </a:extLst>
          </p:cNvPr>
          <p:cNvSpPr/>
          <p:nvPr userDrawn="1"/>
        </p:nvSpPr>
        <p:spPr>
          <a:xfrm>
            <a:off x="4863208" y="5401721"/>
            <a:ext cx="1909268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Exemptions</a:t>
            </a:r>
          </a:p>
        </p:txBody>
      </p:sp>
      <p:sp>
        <p:nvSpPr>
          <p:cNvPr id="27" name="Flowchart: Terminator 16">
            <a:extLst>
              <a:ext uri="{FF2B5EF4-FFF2-40B4-BE49-F238E27FC236}">
                <a16:creationId xmlns:a16="http://schemas.microsoft.com/office/drawing/2014/main" id="{BE553782-844C-A94B-BC27-B98379A903BF}"/>
              </a:ext>
            </a:extLst>
          </p:cNvPr>
          <p:cNvSpPr/>
          <p:nvPr userDrawn="1"/>
        </p:nvSpPr>
        <p:spPr>
          <a:xfrm>
            <a:off x="6114108" y="5401722"/>
            <a:ext cx="2055570" cy="7229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28" name="Flowchart: Terminator 17">
            <a:extLst>
              <a:ext uri="{FF2B5EF4-FFF2-40B4-BE49-F238E27FC236}">
                <a16:creationId xmlns:a16="http://schemas.microsoft.com/office/drawing/2014/main" id="{4D68D29C-FC48-2244-B92E-31758B4C9542}"/>
              </a:ext>
            </a:extLst>
          </p:cNvPr>
          <p:cNvSpPr/>
          <p:nvPr userDrawn="1"/>
        </p:nvSpPr>
        <p:spPr>
          <a:xfrm>
            <a:off x="7386952" y="5401722"/>
            <a:ext cx="2084831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Invoicing</a:t>
            </a:r>
          </a:p>
        </p:txBody>
      </p:sp>
      <p:sp>
        <p:nvSpPr>
          <p:cNvPr id="29" name="Flowchart: Terminator 10">
            <a:extLst>
              <a:ext uri="{FF2B5EF4-FFF2-40B4-BE49-F238E27FC236}">
                <a16:creationId xmlns:a16="http://schemas.microsoft.com/office/drawing/2014/main" id="{27FA8512-0A45-2741-B191-9C91BDECB701}"/>
              </a:ext>
            </a:extLst>
          </p:cNvPr>
          <p:cNvSpPr/>
          <p:nvPr userDrawn="1"/>
        </p:nvSpPr>
        <p:spPr>
          <a:xfrm>
            <a:off x="8457769" y="5401708"/>
            <a:ext cx="2074719" cy="7229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/>
            <a:r>
              <a:rPr lang="en-US" sz="1300">
                <a:solidFill>
                  <a:schemeClr val="bg1"/>
                </a:solidFill>
              </a:rPr>
              <a:t>Payments</a:t>
            </a:r>
          </a:p>
        </p:txBody>
      </p:sp>
      <p:sp>
        <p:nvSpPr>
          <p:cNvPr id="30" name="Flowchart: Terminator 12">
            <a:extLst>
              <a:ext uri="{FF2B5EF4-FFF2-40B4-BE49-F238E27FC236}">
                <a16:creationId xmlns:a16="http://schemas.microsoft.com/office/drawing/2014/main" id="{BBD08C35-1188-274A-BE14-568D43435D95}"/>
              </a:ext>
            </a:extLst>
          </p:cNvPr>
          <p:cNvSpPr/>
          <p:nvPr userDrawn="1"/>
        </p:nvSpPr>
        <p:spPr>
          <a:xfrm>
            <a:off x="9715450" y="5401699"/>
            <a:ext cx="1813305" cy="72294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/>
            <a:r>
              <a:rPr lang="en-US" sz="130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D0272C-5B72-AB47-BCCC-771358560196}"/>
              </a:ext>
            </a:extLst>
          </p:cNvPr>
          <p:cNvSpPr txBox="1"/>
          <p:nvPr userDrawn="1"/>
        </p:nvSpPr>
        <p:spPr>
          <a:xfrm>
            <a:off x="927652" y="4996893"/>
            <a:ext cx="10545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TAX DETERMINATION		COMPLIANCE &amp; REPORTING	TAX DATA MANAGEMENT	DOCUMENT MANAGEMENT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ECFB994-B060-2946-91CB-5E9BBD0CCF50}"/>
              </a:ext>
            </a:extLst>
          </p:cNvPr>
          <p:cNvGrpSpPr/>
          <p:nvPr userDrawn="1"/>
        </p:nvGrpSpPr>
        <p:grpSpPr>
          <a:xfrm>
            <a:off x="6114107" y="1240435"/>
            <a:ext cx="6004411" cy="3707932"/>
            <a:chOff x="5567705" y="769661"/>
            <a:chExt cx="6550814" cy="3869629"/>
          </a:xfrm>
        </p:grpSpPr>
        <p:pic>
          <p:nvPicPr>
            <p:cNvPr id="33" name="Picture 5" descr="A screenshot of a computer screen&#10;&#10;Description automatically generated">
              <a:extLst>
                <a:ext uri="{FF2B5EF4-FFF2-40B4-BE49-F238E27FC236}">
                  <a16:creationId xmlns:a16="http://schemas.microsoft.com/office/drawing/2014/main" id="{43F7C9F7-AB87-E843-97B9-4CD063A63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3026" t="391" r="-7940" b="151"/>
            <a:stretch/>
          </p:blipFill>
          <p:spPr>
            <a:xfrm>
              <a:off x="5567705" y="769661"/>
              <a:ext cx="6550814" cy="3869629"/>
            </a:xfrm>
            <a:prstGeom prst="rect">
              <a:avLst/>
            </a:prstGeom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DC9D523-7B8E-5148-BF66-9B79797B3588}"/>
                </a:ext>
              </a:extLst>
            </p:cNvPr>
            <p:cNvGrpSpPr/>
            <p:nvPr/>
          </p:nvGrpSpPr>
          <p:grpSpPr>
            <a:xfrm>
              <a:off x="6437328" y="955518"/>
              <a:ext cx="4511088" cy="3177570"/>
              <a:chOff x="6437328" y="955518"/>
              <a:chExt cx="4511088" cy="3177570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619BC44-B683-7D40-AAFC-ACC6C721CC26}"/>
                  </a:ext>
                </a:extLst>
              </p:cNvPr>
              <p:cNvSpPr/>
              <p:nvPr/>
            </p:nvSpPr>
            <p:spPr>
              <a:xfrm>
                <a:off x="6437376" y="3651504"/>
                <a:ext cx="4511040" cy="4815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E612FE43-F5AF-CE49-99A1-BEE9F00930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254"/>
              <a:stretch/>
            </p:blipFill>
            <p:spPr>
              <a:xfrm>
                <a:off x="6437328" y="955518"/>
                <a:ext cx="4507817" cy="2927634"/>
              </a:xfrm>
              <a:prstGeom prst="rect">
                <a:avLst/>
              </a:prstGeom>
            </p:spPr>
          </p:pic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D57B80-3192-C140-8C7F-F8E46E22BEFB}"/>
              </a:ext>
            </a:extLst>
          </p:cNvPr>
          <p:cNvSpPr txBox="1"/>
          <p:nvPr userDrawn="1"/>
        </p:nvSpPr>
        <p:spPr>
          <a:xfrm>
            <a:off x="817533" y="1594008"/>
            <a:ext cx="492059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/>
              <a:t>Our solutions address the complexities of the broadest set of global businesses, commerce platforms and B2B / B2C marketpla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FB20FF7-2163-0A43-8C1A-CC3822E41C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17533" y="2719882"/>
            <a:ext cx="5616524" cy="781545"/>
          </a:xfrm>
          <a:prstGeom prst="rect">
            <a:avLst/>
          </a:prstGeom>
          <a:noFill/>
          <a:ln w="19050">
            <a:noFill/>
          </a:ln>
        </p:spPr>
        <p:txBody>
          <a:bodyPr wrap="square" lIns="80682" tIns="80682" rIns="80682" bIns="80682" numCol="2" anchor="t">
            <a:noAutofit/>
          </a:bodyPr>
          <a:lstStyle/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jurisdictions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-channel distribution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Multiple transaction systems </a:t>
            </a:r>
          </a:p>
          <a:p>
            <a:pPr marL="151287" indent="-151287">
              <a:spcBef>
                <a:spcPts val="353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High transaction volum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EDC53E-7548-8348-BFED-B9954892B972}"/>
              </a:ext>
            </a:extLst>
          </p:cNvPr>
          <p:cNvSpPr txBox="1"/>
          <p:nvPr userDrawn="1"/>
        </p:nvSpPr>
        <p:spPr>
          <a:xfrm>
            <a:off x="920032" y="4153639"/>
            <a:ext cx="4688287" cy="64633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/>
              <a:t>Modular capabilities supporting multiple end-to-end use cases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E3A7C29-A6C5-9945-94E3-F323269D76FC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Powerful end-to-end solutions</a:t>
            </a:r>
          </a:p>
        </p:txBody>
      </p:sp>
    </p:spTree>
    <p:extLst>
      <p:ext uri="{BB962C8B-B14F-4D97-AF65-F5344CB8AC3E}">
        <p14:creationId xmlns:p14="http://schemas.microsoft.com/office/powerpoint/2010/main" val="8563064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 Commerce and Compli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54ABA-6502-2046-AD9A-E9D6D73C7623}"/>
              </a:ext>
            </a:extLst>
          </p:cNvPr>
          <p:cNvSpPr/>
          <p:nvPr userDrawn="1"/>
        </p:nvSpPr>
        <p:spPr>
          <a:xfrm>
            <a:off x="0" y="-1"/>
            <a:ext cx="12192000" cy="6492875"/>
          </a:xfrm>
          <a:prstGeom prst="rect">
            <a:avLst/>
          </a:prstGeom>
          <a:solidFill>
            <a:srgbClr val="3B3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7472B4BC-3A49-E64D-A4D0-13A21E2F56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80" name="Freihandform: Form 23">
            <a:extLst>
              <a:ext uri="{FF2B5EF4-FFF2-40B4-BE49-F238E27FC236}">
                <a16:creationId xmlns:a16="http://schemas.microsoft.com/office/drawing/2014/main" id="{C802338F-2356-6641-8E81-A20F802430D7}"/>
              </a:ext>
            </a:extLst>
          </p:cNvPr>
          <p:cNvSpPr/>
          <p:nvPr userDrawn="1"/>
        </p:nvSpPr>
        <p:spPr bwMode="gray">
          <a:xfrm>
            <a:off x="6191176" y="2481919"/>
            <a:ext cx="2576168" cy="2576368"/>
          </a:xfrm>
          <a:custGeom>
            <a:avLst/>
            <a:gdLst>
              <a:gd name="connsiteX0" fmla="*/ 2231983 w 4463968"/>
              <a:gd name="connsiteY0" fmla="*/ 630299 h 4463628"/>
              <a:gd name="connsiteX1" fmla="*/ 630347 w 4463968"/>
              <a:gd name="connsiteY1" fmla="*/ 2231813 h 4463628"/>
              <a:gd name="connsiteX2" fmla="*/ 2231983 w 4463968"/>
              <a:gd name="connsiteY2" fmla="*/ 3833327 h 4463628"/>
              <a:gd name="connsiteX3" fmla="*/ 3833619 w 4463968"/>
              <a:gd name="connsiteY3" fmla="*/ 2231813 h 4463628"/>
              <a:gd name="connsiteX4" fmla="*/ 2231983 w 4463968"/>
              <a:gd name="connsiteY4" fmla="*/ 630299 h 4463628"/>
              <a:gd name="connsiteX5" fmla="*/ 2231984 w 4463968"/>
              <a:gd name="connsiteY5" fmla="*/ 0 h 4463628"/>
              <a:gd name="connsiteX6" fmla="*/ 4463968 w 4463968"/>
              <a:gd name="connsiteY6" fmla="*/ 2231814 h 4463628"/>
              <a:gd name="connsiteX7" fmla="*/ 2231984 w 4463968"/>
              <a:gd name="connsiteY7" fmla="*/ 4463628 h 4463628"/>
              <a:gd name="connsiteX8" fmla="*/ 0 w 4463968"/>
              <a:gd name="connsiteY8" fmla="*/ 2231814 h 4463628"/>
              <a:gd name="connsiteX9" fmla="*/ 2231984 w 4463968"/>
              <a:gd name="connsiteY9" fmla="*/ 0 h 4463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968" h="4463628">
                <a:moveTo>
                  <a:pt x="2231983" y="630299"/>
                </a:moveTo>
                <a:cubicBezTo>
                  <a:pt x="1347424" y="630299"/>
                  <a:pt x="630347" y="1347321"/>
                  <a:pt x="630347" y="2231813"/>
                </a:cubicBezTo>
                <a:cubicBezTo>
                  <a:pt x="630347" y="3116305"/>
                  <a:pt x="1347424" y="3833327"/>
                  <a:pt x="2231983" y="3833327"/>
                </a:cubicBezTo>
                <a:cubicBezTo>
                  <a:pt x="3116542" y="3833327"/>
                  <a:pt x="3833619" y="3116305"/>
                  <a:pt x="3833619" y="2231813"/>
                </a:cubicBezTo>
                <a:cubicBezTo>
                  <a:pt x="3833619" y="1347321"/>
                  <a:pt x="3116542" y="630299"/>
                  <a:pt x="2231983" y="630299"/>
                </a:cubicBezTo>
                <a:close/>
                <a:moveTo>
                  <a:pt x="2231984" y="0"/>
                </a:moveTo>
                <a:cubicBezTo>
                  <a:pt x="3464675" y="0"/>
                  <a:pt x="4463968" y="999217"/>
                  <a:pt x="4463968" y="2231814"/>
                </a:cubicBezTo>
                <a:cubicBezTo>
                  <a:pt x="4463968" y="3464411"/>
                  <a:pt x="3464675" y="4463628"/>
                  <a:pt x="2231984" y="4463628"/>
                </a:cubicBezTo>
                <a:cubicBezTo>
                  <a:pt x="999293" y="4463628"/>
                  <a:pt x="0" y="3464411"/>
                  <a:pt x="0" y="2231814"/>
                </a:cubicBezTo>
                <a:cubicBezTo>
                  <a:pt x="0" y="999217"/>
                  <a:pt x="999293" y="0"/>
                  <a:pt x="2231984" y="0"/>
                </a:cubicBezTo>
                <a:close/>
              </a:path>
            </a:pathLst>
          </a:custGeom>
          <a:solidFill>
            <a:srgbClr val="008FDC">
              <a:alpha val="4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" name="Freihandform: Form 24">
            <a:extLst>
              <a:ext uri="{FF2B5EF4-FFF2-40B4-BE49-F238E27FC236}">
                <a16:creationId xmlns:a16="http://schemas.microsoft.com/office/drawing/2014/main" id="{53B5FFA5-4E65-E849-8454-2BFEAA570E3D}"/>
              </a:ext>
            </a:extLst>
          </p:cNvPr>
          <p:cNvSpPr/>
          <p:nvPr userDrawn="1"/>
        </p:nvSpPr>
        <p:spPr bwMode="gray">
          <a:xfrm>
            <a:off x="6278007" y="2566624"/>
            <a:ext cx="2406772" cy="2406959"/>
          </a:xfrm>
          <a:custGeom>
            <a:avLst/>
            <a:gdLst>
              <a:gd name="connsiteX0" fmla="*/ 2085219 w 4170440"/>
              <a:gd name="connsiteY0" fmla="*/ 483546 h 4170122"/>
              <a:gd name="connsiteX1" fmla="*/ 483583 w 4170440"/>
              <a:gd name="connsiteY1" fmla="*/ 2085060 h 4170122"/>
              <a:gd name="connsiteX2" fmla="*/ 2085219 w 4170440"/>
              <a:gd name="connsiteY2" fmla="*/ 3686574 h 4170122"/>
              <a:gd name="connsiteX3" fmla="*/ 3686855 w 4170440"/>
              <a:gd name="connsiteY3" fmla="*/ 2085060 h 4170122"/>
              <a:gd name="connsiteX4" fmla="*/ 2085219 w 4170440"/>
              <a:gd name="connsiteY4" fmla="*/ 483546 h 4170122"/>
              <a:gd name="connsiteX5" fmla="*/ 2085220 w 4170440"/>
              <a:gd name="connsiteY5" fmla="*/ 0 h 4170122"/>
              <a:gd name="connsiteX6" fmla="*/ 4170440 w 4170440"/>
              <a:gd name="connsiteY6" fmla="*/ 2085061 h 4170122"/>
              <a:gd name="connsiteX7" fmla="*/ 2085220 w 4170440"/>
              <a:gd name="connsiteY7" fmla="*/ 4170122 h 4170122"/>
              <a:gd name="connsiteX8" fmla="*/ 0 w 4170440"/>
              <a:gd name="connsiteY8" fmla="*/ 2085061 h 4170122"/>
              <a:gd name="connsiteX9" fmla="*/ 2085220 w 4170440"/>
              <a:gd name="connsiteY9" fmla="*/ 0 h 4170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440" h="4170122">
                <a:moveTo>
                  <a:pt x="2085219" y="483546"/>
                </a:moveTo>
                <a:cubicBezTo>
                  <a:pt x="1200660" y="483546"/>
                  <a:pt x="483583" y="1200568"/>
                  <a:pt x="483583" y="2085060"/>
                </a:cubicBezTo>
                <a:cubicBezTo>
                  <a:pt x="483583" y="2969552"/>
                  <a:pt x="1200660" y="3686574"/>
                  <a:pt x="2085219" y="3686574"/>
                </a:cubicBezTo>
                <a:cubicBezTo>
                  <a:pt x="2969778" y="3686574"/>
                  <a:pt x="3686855" y="2969552"/>
                  <a:pt x="3686855" y="2085060"/>
                </a:cubicBezTo>
                <a:cubicBezTo>
                  <a:pt x="3686855" y="1200568"/>
                  <a:pt x="2969778" y="483546"/>
                  <a:pt x="2085219" y="483546"/>
                </a:cubicBezTo>
                <a:close/>
                <a:moveTo>
                  <a:pt x="2085220" y="0"/>
                </a:moveTo>
                <a:cubicBezTo>
                  <a:pt x="3236855" y="0"/>
                  <a:pt x="4170440" y="933514"/>
                  <a:pt x="4170440" y="2085061"/>
                </a:cubicBezTo>
                <a:cubicBezTo>
                  <a:pt x="4170440" y="3236608"/>
                  <a:pt x="3236855" y="4170122"/>
                  <a:pt x="2085220" y="4170122"/>
                </a:cubicBezTo>
                <a:cubicBezTo>
                  <a:pt x="933585" y="4170122"/>
                  <a:pt x="0" y="3236608"/>
                  <a:pt x="0" y="2085061"/>
                </a:cubicBezTo>
                <a:cubicBezTo>
                  <a:pt x="0" y="933514"/>
                  <a:pt x="933585" y="0"/>
                  <a:pt x="2085220" y="0"/>
                </a:cubicBezTo>
                <a:close/>
              </a:path>
            </a:pathLst>
          </a:custGeom>
          <a:solidFill>
            <a:srgbClr val="008FDC">
              <a:alpha val="55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2" name="Gerade Verbindung 354">
            <a:extLst>
              <a:ext uri="{FF2B5EF4-FFF2-40B4-BE49-F238E27FC236}">
                <a16:creationId xmlns:a16="http://schemas.microsoft.com/office/drawing/2014/main" id="{26971BF2-522D-7645-A139-A4B5C1B83941}"/>
              </a:ext>
            </a:extLst>
          </p:cNvPr>
          <p:cNvCxnSpPr>
            <a:cxnSpLocks/>
          </p:cNvCxnSpPr>
          <p:nvPr userDrawn="1"/>
        </p:nvCxnSpPr>
        <p:spPr>
          <a:xfrm>
            <a:off x="2253655" y="3805219"/>
            <a:ext cx="636443" cy="496"/>
          </a:xfrm>
          <a:prstGeom prst="line">
            <a:avLst/>
          </a:prstGeom>
          <a:noFill/>
          <a:ln w="12700" cap="rnd" cmpd="sng" algn="ctr">
            <a:solidFill>
              <a:schemeClr val="accent4"/>
            </a:solidFill>
            <a:prstDash val="solid"/>
            <a:round/>
          </a:ln>
          <a:effectLst/>
        </p:spPr>
      </p:cxnSp>
      <p:sp>
        <p:nvSpPr>
          <p:cNvPr id="83" name="Title 1">
            <a:extLst>
              <a:ext uri="{FF2B5EF4-FFF2-40B4-BE49-F238E27FC236}">
                <a16:creationId xmlns:a16="http://schemas.microsoft.com/office/drawing/2014/main" id="{686EE6CB-EA60-AE4A-9AFD-370651A9B6E2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11155742" cy="1143000"/>
          </a:xfrm>
          <a:prstGeom prst="rect">
            <a:avLst/>
          </a:prstGeom>
        </p:spPr>
        <p:txBody>
          <a:bodyPr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bg1"/>
                </a:solidFill>
                <a:effectLst/>
              </a:rPr>
              <a:t>Global commerce and compliance </a:t>
            </a:r>
            <a:br>
              <a:rPr lang="en-US" sz="4000" b="0" kern="0">
                <a:solidFill>
                  <a:schemeClr val="bg1"/>
                </a:solidFill>
                <a:effectLst/>
              </a:rPr>
            </a:br>
            <a:r>
              <a:rPr lang="en-US" sz="4000" b="0" kern="0">
                <a:solidFill>
                  <a:schemeClr val="bg1"/>
                </a:solidFill>
                <a:effectLst/>
              </a:rPr>
              <a:t>that’s seamlessly connected</a:t>
            </a:r>
          </a:p>
        </p:txBody>
      </p:sp>
      <p:sp>
        <p:nvSpPr>
          <p:cNvPr id="84" name="Freihandform: Form 26">
            <a:extLst>
              <a:ext uri="{FF2B5EF4-FFF2-40B4-BE49-F238E27FC236}">
                <a16:creationId xmlns:a16="http://schemas.microsoft.com/office/drawing/2014/main" id="{D51C5F37-522F-E545-BE1C-25A8049A6749}"/>
              </a:ext>
            </a:extLst>
          </p:cNvPr>
          <p:cNvSpPr/>
          <p:nvPr userDrawn="1"/>
        </p:nvSpPr>
        <p:spPr bwMode="gray">
          <a:xfrm>
            <a:off x="6393486" y="2690449"/>
            <a:ext cx="2159141" cy="2159309"/>
          </a:xfrm>
          <a:custGeom>
            <a:avLst/>
            <a:gdLst>
              <a:gd name="connsiteX0" fmla="*/ 1870672 w 3741346"/>
              <a:gd name="connsiteY0" fmla="*/ 269015 h 3741062"/>
              <a:gd name="connsiteX1" fmla="*/ 269036 w 3741346"/>
              <a:gd name="connsiteY1" fmla="*/ 1870529 h 3741062"/>
              <a:gd name="connsiteX2" fmla="*/ 1870672 w 3741346"/>
              <a:gd name="connsiteY2" fmla="*/ 3472043 h 3741062"/>
              <a:gd name="connsiteX3" fmla="*/ 3472308 w 3741346"/>
              <a:gd name="connsiteY3" fmla="*/ 1870529 h 3741062"/>
              <a:gd name="connsiteX4" fmla="*/ 1870672 w 3741346"/>
              <a:gd name="connsiteY4" fmla="*/ 269015 h 3741062"/>
              <a:gd name="connsiteX5" fmla="*/ 1870673 w 3741346"/>
              <a:gd name="connsiteY5" fmla="*/ 0 h 3741062"/>
              <a:gd name="connsiteX6" fmla="*/ 3741346 w 3741346"/>
              <a:gd name="connsiteY6" fmla="*/ 1870531 h 3741062"/>
              <a:gd name="connsiteX7" fmla="*/ 1870673 w 3741346"/>
              <a:gd name="connsiteY7" fmla="*/ 3741062 h 3741062"/>
              <a:gd name="connsiteX8" fmla="*/ 0 w 3741346"/>
              <a:gd name="connsiteY8" fmla="*/ 1870531 h 3741062"/>
              <a:gd name="connsiteX9" fmla="*/ 1870673 w 3741346"/>
              <a:gd name="connsiteY9" fmla="*/ 0 h 374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1346" h="3741062">
                <a:moveTo>
                  <a:pt x="1870672" y="269015"/>
                </a:moveTo>
                <a:cubicBezTo>
                  <a:pt x="986113" y="269015"/>
                  <a:pt x="269036" y="986037"/>
                  <a:pt x="269036" y="1870529"/>
                </a:cubicBezTo>
                <a:cubicBezTo>
                  <a:pt x="269036" y="2755021"/>
                  <a:pt x="986113" y="3472043"/>
                  <a:pt x="1870672" y="3472043"/>
                </a:cubicBezTo>
                <a:cubicBezTo>
                  <a:pt x="2755231" y="3472043"/>
                  <a:pt x="3472308" y="2755021"/>
                  <a:pt x="3472308" y="1870529"/>
                </a:cubicBezTo>
                <a:cubicBezTo>
                  <a:pt x="3472308" y="986037"/>
                  <a:pt x="2755231" y="269015"/>
                  <a:pt x="1870672" y="269015"/>
                </a:cubicBezTo>
                <a:close/>
                <a:moveTo>
                  <a:pt x="1870673" y="0"/>
                </a:moveTo>
                <a:cubicBezTo>
                  <a:pt x="2903817" y="0"/>
                  <a:pt x="3741346" y="837465"/>
                  <a:pt x="3741346" y="1870531"/>
                </a:cubicBezTo>
                <a:cubicBezTo>
                  <a:pt x="3741346" y="2903597"/>
                  <a:pt x="2903817" y="3741062"/>
                  <a:pt x="1870673" y="3741062"/>
                </a:cubicBezTo>
                <a:cubicBezTo>
                  <a:pt x="837529" y="3741062"/>
                  <a:pt x="0" y="2903597"/>
                  <a:pt x="0" y="1870531"/>
                </a:cubicBezTo>
                <a:cubicBezTo>
                  <a:pt x="0" y="837465"/>
                  <a:pt x="837529" y="0"/>
                  <a:pt x="1870673" y="0"/>
                </a:cubicBezTo>
                <a:close/>
              </a:path>
            </a:pathLst>
          </a:custGeom>
          <a:solidFill>
            <a:srgbClr val="008FDC">
              <a:alpha val="70000"/>
            </a:srgbClr>
          </a:solidFill>
          <a:ln w="28575" algn="ctr">
            <a:noFill/>
            <a:miter lim="800000"/>
            <a:headEnd/>
            <a:tailEnd/>
          </a:ln>
        </p:spPr>
        <p:txBody>
          <a:bodyPr wrap="square" lIns="119999" tIns="95999" rIns="119999" bIns="95999" rtlCol="0" anchor="ctr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900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267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1F90BDB8-DBAD-0044-B01A-74D905B63A8C}"/>
              </a:ext>
            </a:extLst>
          </p:cNvPr>
          <p:cNvGrpSpPr/>
          <p:nvPr userDrawn="1"/>
        </p:nvGrpSpPr>
        <p:grpSpPr>
          <a:xfrm>
            <a:off x="2892341" y="2523452"/>
            <a:ext cx="2576168" cy="2576368"/>
            <a:chOff x="2984143" y="2430946"/>
            <a:chExt cx="2576168" cy="2576368"/>
          </a:xfrm>
        </p:grpSpPr>
        <p:sp>
          <p:nvSpPr>
            <p:cNvPr id="86" name="Freihandform: Form 23">
              <a:extLst>
                <a:ext uri="{FF2B5EF4-FFF2-40B4-BE49-F238E27FC236}">
                  <a16:creationId xmlns:a16="http://schemas.microsoft.com/office/drawing/2014/main" id="{E548A468-5671-4344-BDDD-7790FAA41343}"/>
                </a:ext>
              </a:extLst>
            </p:cNvPr>
            <p:cNvSpPr/>
            <p:nvPr/>
          </p:nvSpPr>
          <p:spPr bwMode="gray">
            <a:xfrm>
              <a:off x="2984143" y="2430946"/>
              <a:ext cx="2576168" cy="2576368"/>
            </a:xfrm>
            <a:custGeom>
              <a:avLst/>
              <a:gdLst>
                <a:gd name="connsiteX0" fmla="*/ 2231983 w 4463968"/>
                <a:gd name="connsiteY0" fmla="*/ 630299 h 4463628"/>
                <a:gd name="connsiteX1" fmla="*/ 630347 w 4463968"/>
                <a:gd name="connsiteY1" fmla="*/ 2231813 h 4463628"/>
                <a:gd name="connsiteX2" fmla="*/ 2231983 w 4463968"/>
                <a:gd name="connsiteY2" fmla="*/ 3833327 h 4463628"/>
                <a:gd name="connsiteX3" fmla="*/ 3833619 w 4463968"/>
                <a:gd name="connsiteY3" fmla="*/ 2231813 h 4463628"/>
                <a:gd name="connsiteX4" fmla="*/ 2231983 w 4463968"/>
                <a:gd name="connsiteY4" fmla="*/ 630299 h 4463628"/>
                <a:gd name="connsiteX5" fmla="*/ 2231984 w 4463968"/>
                <a:gd name="connsiteY5" fmla="*/ 0 h 4463628"/>
                <a:gd name="connsiteX6" fmla="*/ 4463968 w 4463968"/>
                <a:gd name="connsiteY6" fmla="*/ 2231814 h 4463628"/>
                <a:gd name="connsiteX7" fmla="*/ 2231984 w 4463968"/>
                <a:gd name="connsiteY7" fmla="*/ 4463628 h 4463628"/>
                <a:gd name="connsiteX8" fmla="*/ 0 w 4463968"/>
                <a:gd name="connsiteY8" fmla="*/ 2231814 h 4463628"/>
                <a:gd name="connsiteX9" fmla="*/ 2231984 w 4463968"/>
                <a:gd name="connsiteY9" fmla="*/ 0 h 446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3968" h="4463628">
                  <a:moveTo>
                    <a:pt x="2231983" y="630299"/>
                  </a:moveTo>
                  <a:cubicBezTo>
                    <a:pt x="1347424" y="630299"/>
                    <a:pt x="630347" y="1347321"/>
                    <a:pt x="630347" y="2231813"/>
                  </a:cubicBezTo>
                  <a:cubicBezTo>
                    <a:pt x="630347" y="3116305"/>
                    <a:pt x="1347424" y="3833327"/>
                    <a:pt x="2231983" y="3833327"/>
                  </a:cubicBezTo>
                  <a:cubicBezTo>
                    <a:pt x="3116542" y="3833327"/>
                    <a:pt x="3833619" y="3116305"/>
                    <a:pt x="3833619" y="2231813"/>
                  </a:cubicBezTo>
                  <a:cubicBezTo>
                    <a:pt x="3833619" y="1347321"/>
                    <a:pt x="3116542" y="630299"/>
                    <a:pt x="2231983" y="630299"/>
                  </a:cubicBezTo>
                  <a:close/>
                  <a:moveTo>
                    <a:pt x="2231984" y="0"/>
                  </a:moveTo>
                  <a:cubicBezTo>
                    <a:pt x="3464675" y="0"/>
                    <a:pt x="4463968" y="999217"/>
                    <a:pt x="4463968" y="2231814"/>
                  </a:cubicBezTo>
                  <a:cubicBezTo>
                    <a:pt x="4463968" y="3464411"/>
                    <a:pt x="3464675" y="4463628"/>
                    <a:pt x="2231984" y="4463628"/>
                  </a:cubicBezTo>
                  <a:cubicBezTo>
                    <a:pt x="999293" y="4463628"/>
                    <a:pt x="0" y="3464411"/>
                    <a:pt x="0" y="2231814"/>
                  </a:cubicBezTo>
                  <a:cubicBezTo>
                    <a:pt x="0" y="999217"/>
                    <a:pt x="999293" y="0"/>
                    <a:pt x="2231984" y="0"/>
                  </a:cubicBezTo>
                  <a:close/>
                </a:path>
              </a:pathLst>
            </a:custGeom>
            <a:solidFill>
              <a:schemeClr val="accent4">
                <a:alpha val="45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19999" tIns="95999" rIns="119999" bIns="95999" rtlCol="0" anchor="ctr">
              <a:noAutofit/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9007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2267" kern="0" err="1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7" name="Freihandform: Form 24">
              <a:extLst>
                <a:ext uri="{FF2B5EF4-FFF2-40B4-BE49-F238E27FC236}">
                  <a16:creationId xmlns:a16="http://schemas.microsoft.com/office/drawing/2014/main" id="{5169E014-A456-A347-BD9D-563D9FC5B2FB}"/>
                </a:ext>
              </a:extLst>
            </p:cNvPr>
            <p:cNvSpPr/>
            <p:nvPr/>
          </p:nvSpPr>
          <p:spPr bwMode="gray">
            <a:xfrm>
              <a:off x="3068841" y="2515651"/>
              <a:ext cx="2406772" cy="2406959"/>
            </a:xfrm>
            <a:custGeom>
              <a:avLst/>
              <a:gdLst>
                <a:gd name="connsiteX0" fmla="*/ 2085219 w 4170440"/>
                <a:gd name="connsiteY0" fmla="*/ 483546 h 4170122"/>
                <a:gd name="connsiteX1" fmla="*/ 483583 w 4170440"/>
                <a:gd name="connsiteY1" fmla="*/ 2085060 h 4170122"/>
                <a:gd name="connsiteX2" fmla="*/ 2085219 w 4170440"/>
                <a:gd name="connsiteY2" fmla="*/ 3686574 h 4170122"/>
                <a:gd name="connsiteX3" fmla="*/ 3686855 w 4170440"/>
                <a:gd name="connsiteY3" fmla="*/ 2085060 h 4170122"/>
                <a:gd name="connsiteX4" fmla="*/ 2085219 w 4170440"/>
                <a:gd name="connsiteY4" fmla="*/ 483546 h 4170122"/>
                <a:gd name="connsiteX5" fmla="*/ 2085220 w 4170440"/>
                <a:gd name="connsiteY5" fmla="*/ 0 h 4170122"/>
                <a:gd name="connsiteX6" fmla="*/ 4170440 w 4170440"/>
                <a:gd name="connsiteY6" fmla="*/ 2085061 h 4170122"/>
                <a:gd name="connsiteX7" fmla="*/ 2085220 w 4170440"/>
                <a:gd name="connsiteY7" fmla="*/ 4170122 h 4170122"/>
                <a:gd name="connsiteX8" fmla="*/ 0 w 4170440"/>
                <a:gd name="connsiteY8" fmla="*/ 2085061 h 4170122"/>
                <a:gd name="connsiteX9" fmla="*/ 2085220 w 4170440"/>
                <a:gd name="connsiteY9" fmla="*/ 0 h 417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70440" h="4170122">
                  <a:moveTo>
                    <a:pt x="2085219" y="483546"/>
                  </a:moveTo>
                  <a:cubicBezTo>
                    <a:pt x="1200660" y="483546"/>
                    <a:pt x="483583" y="1200568"/>
                    <a:pt x="483583" y="2085060"/>
                  </a:cubicBezTo>
                  <a:cubicBezTo>
                    <a:pt x="483583" y="2969552"/>
                    <a:pt x="1200660" y="3686574"/>
                    <a:pt x="2085219" y="3686574"/>
                  </a:cubicBezTo>
                  <a:cubicBezTo>
                    <a:pt x="2969778" y="3686574"/>
                    <a:pt x="3686855" y="2969552"/>
                    <a:pt x="3686855" y="2085060"/>
                  </a:cubicBezTo>
                  <a:cubicBezTo>
                    <a:pt x="3686855" y="1200568"/>
                    <a:pt x="2969778" y="483546"/>
                    <a:pt x="2085219" y="483546"/>
                  </a:cubicBezTo>
                  <a:close/>
                  <a:moveTo>
                    <a:pt x="2085220" y="0"/>
                  </a:moveTo>
                  <a:cubicBezTo>
                    <a:pt x="3236855" y="0"/>
                    <a:pt x="4170440" y="933514"/>
                    <a:pt x="4170440" y="2085061"/>
                  </a:cubicBezTo>
                  <a:cubicBezTo>
                    <a:pt x="4170440" y="3236608"/>
                    <a:pt x="3236855" y="4170122"/>
                    <a:pt x="2085220" y="4170122"/>
                  </a:cubicBezTo>
                  <a:cubicBezTo>
                    <a:pt x="933585" y="4170122"/>
                    <a:pt x="0" y="3236608"/>
                    <a:pt x="0" y="2085061"/>
                  </a:cubicBezTo>
                  <a:cubicBezTo>
                    <a:pt x="0" y="933514"/>
                    <a:pt x="933585" y="0"/>
                    <a:pt x="2085220" y="0"/>
                  </a:cubicBezTo>
                  <a:close/>
                </a:path>
              </a:pathLst>
            </a:custGeom>
            <a:solidFill>
              <a:schemeClr val="accent4">
                <a:alpha val="55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19999" tIns="95999" rIns="119999" bIns="95999" rtlCol="0" anchor="ctr">
              <a:noAutofit/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9007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2267" kern="0" err="1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8" name="Freihandform: Form 26">
              <a:extLst>
                <a:ext uri="{FF2B5EF4-FFF2-40B4-BE49-F238E27FC236}">
                  <a16:creationId xmlns:a16="http://schemas.microsoft.com/office/drawing/2014/main" id="{D46B4A6C-FA3F-2B40-B8F1-5381020718D1}"/>
                </a:ext>
              </a:extLst>
            </p:cNvPr>
            <p:cNvSpPr/>
            <p:nvPr/>
          </p:nvSpPr>
          <p:spPr bwMode="gray">
            <a:xfrm>
              <a:off x="3192657" y="2639475"/>
              <a:ext cx="2159141" cy="2159309"/>
            </a:xfrm>
            <a:custGeom>
              <a:avLst/>
              <a:gdLst>
                <a:gd name="connsiteX0" fmla="*/ 1870672 w 3741346"/>
                <a:gd name="connsiteY0" fmla="*/ 269015 h 3741062"/>
                <a:gd name="connsiteX1" fmla="*/ 269036 w 3741346"/>
                <a:gd name="connsiteY1" fmla="*/ 1870529 h 3741062"/>
                <a:gd name="connsiteX2" fmla="*/ 1870672 w 3741346"/>
                <a:gd name="connsiteY2" fmla="*/ 3472043 h 3741062"/>
                <a:gd name="connsiteX3" fmla="*/ 3472308 w 3741346"/>
                <a:gd name="connsiteY3" fmla="*/ 1870529 h 3741062"/>
                <a:gd name="connsiteX4" fmla="*/ 1870672 w 3741346"/>
                <a:gd name="connsiteY4" fmla="*/ 269015 h 3741062"/>
                <a:gd name="connsiteX5" fmla="*/ 1870673 w 3741346"/>
                <a:gd name="connsiteY5" fmla="*/ 0 h 3741062"/>
                <a:gd name="connsiteX6" fmla="*/ 3741346 w 3741346"/>
                <a:gd name="connsiteY6" fmla="*/ 1870531 h 3741062"/>
                <a:gd name="connsiteX7" fmla="*/ 1870673 w 3741346"/>
                <a:gd name="connsiteY7" fmla="*/ 3741062 h 3741062"/>
                <a:gd name="connsiteX8" fmla="*/ 0 w 3741346"/>
                <a:gd name="connsiteY8" fmla="*/ 1870531 h 3741062"/>
                <a:gd name="connsiteX9" fmla="*/ 1870673 w 3741346"/>
                <a:gd name="connsiteY9" fmla="*/ 0 h 3741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1346" h="3741062">
                  <a:moveTo>
                    <a:pt x="1870672" y="269015"/>
                  </a:moveTo>
                  <a:cubicBezTo>
                    <a:pt x="986113" y="269015"/>
                    <a:pt x="269036" y="986037"/>
                    <a:pt x="269036" y="1870529"/>
                  </a:cubicBezTo>
                  <a:cubicBezTo>
                    <a:pt x="269036" y="2755021"/>
                    <a:pt x="986113" y="3472043"/>
                    <a:pt x="1870672" y="3472043"/>
                  </a:cubicBezTo>
                  <a:cubicBezTo>
                    <a:pt x="2755231" y="3472043"/>
                    <a:pt x="3472308" y="2755021"/>
                    <a:pt x="3472308" y="1870529"/>
                  </a:cubicBezTo>
                  <a:cubicBezTo>
                    <a:pt x="3472308" y="986037"/>
                    <a:pt x="2755231" y="269015"/>
                    <a:pt x="1870672" y="269015"/>
                  </a:cubicBezTo>
                  <a:close/>
                  <a:moveTo>
                    <a:pt x="1870673" y="0"/>
                  </a:moveTo>
                  <a:cubicBezTo>
                    <a:pt x="2903817" y="0"/>
                    <a:pt x="3741346" y="837465"/>
                    <a:pt x="3741346" y="1870531"/>
                  </a:cubicBezTo>
                  <a:cubicBezTo>
                    <a:pt x="3741346" y="2903597"/>
                    <a:pt x="2903817" y="3741062"/>
                    <a:pt x="1870673" y="3741062"/>
                  </a:cubicBezTo>
                  <a:cubicBezTo>
                    <a:pt x="837529" y="3741062"/>
                    <a:pt x="0" y="2903597"/>
                    <a:pt x="0" y="1870531"/>
                  </a:cubicBezTo>
                  <a:cubicBezTo>
                    <a:pt x="0" y="837465"/>
                    <a:pt x="837529" y="0"/>
                    <a:pt x="1870673" y="0"/>
                  </a:cubicBezTo>
                  <a:close/>
                </a:path>
              </a:pathLst>
            </a:custGeom>
            <a:solidFill>
              <a:srgbClr val="6FD34E">
                <a:alpha val="70000"/>
              </a:srgbClr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19999" tIns="95999" rIns="119999" bIns="95999" rtlCol="0" anchor="ctr">
              <a:noAutofit/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9007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2267" kern="0" err="1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89" name="Gruppieren 74">
            <a:extLst>
              <a:ext uri="{FF2B5EF4-FFF2-40B4-BE49-F238E27FC236}">
                <a16:creationId xmlns:a16="http://schemas.microsoft.com/office/drawing/2014/main" id="{B05CDF71-7B3F-1749-A0BE-BC1A7DFC81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610415" y="5354127"/>
            <a:ext cx="208544" cy="303153"/>
            <a:chOff x="6938963" y="3908426"/>
            <a:chExt cx="290513" cy="422275"/>
          </a:xfrm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F8052CBF-48CB-6748-8611-7001C46329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71926"/>
              <a:ext cx="144463" cy="309563"/>
            </a:xfrm>
            <a:custGeom>
              <a:avLst/>
              <a:gdLst>
                <a:gd name="T0" fmla="*/ 539 w 539"/>
                <a:gd name="T1" fmla="*/ 1150 h 1150"/>
                <a:gd name="T2" fmla="*/ 4 w 539"/>
                <a:gd name="T3" fmla="*/ 734 h 1150"/>
                <a:gd name="T4" fmla="*/ 539 w 539"/>
                <a:gd name="T5" fmla="*/ 1150 h 1150"/>
                <a:gd name="T6" fmla="*/ 0 w 539"/>
                <a:gd name="T7" fmla="*/ 200 h 1150"/>
                <a:gd name="T8" fmla="*/ 0 w 539"/>
                <a:gd name="T9" fmla="*/ 200 h 1150"/>
                <a:gd name="T10" fmla="*/ 63 w 539"/>
                <a:gd name="T11" fmla="*/ 101 h 1150"/>
                <a:gd name="T12" fmla="*/ 0 w 539"/>
                <a:gd name="T13" fmla="*/ 200 h 1150"/>
                <a:gd name="T14" fmla="*/ 539 w 539"/>
                <a:gd name="T15" fmla="*/ 102 h 1150"/>
                <a:gd name="T16" fmla="*/ 437 w 539"/>
                <a:gd name="T17" fmla="*/ 63 h 1150"/>
                <a:gd name="T18" fmla="*/ 376 w 539"/>
                <a:gd name="T19" fmla="*/ 55 h 1150"/>
                <a:gd name="T20" fmla="*/ 437 w 539"/>
                <a:gd name="T21" fmla="*/ 63 h 1150"/>
                <a:gd name="T22" fmla="*/ 539 w 539"/>
                <a:gd name="T23" fmla="*/ 102 h 1150"/>
                <a:gd name="T24" fmla="*/ 228 w 539"/>
                <a:gd name="T25" fmla="*/ 16 h 1150"/>
                <a:gd name="T26" fmla="*/ 215 w 539"/>
                <a:gd name="T27" fmla="*/ 9 h 1150"/>
                <a:gd name="T28" fmla="*/ 175 w 539"/>
                <a:gd name="T29" fmla="*/ 0 h 1150"/>
                <a:gd name="T30" fmla="*/ 169 w 539"/>
                <a:gd name="T31" fmla="*/ 0 h 1150"/>
                <a:gd name="T32" fmla="*/ 175 w 539"/>
                <a:gd name="T33" fmla="*/ 0 h 1150"/>
                <a:gd name="T34" fmla="*/ 215 w 539"/>
                <a:gd name="T35" fmla="*/ 9 h 1150"/>
                <a:gd name="T36" fmla="*/ 228 w 539"/>
                <a:gd name="T37" fmla="*/ 16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9" h="1150">
                  <a:moveTo>
                    <a:pt x="539" y="1150"/>
                  </a:moveTo>
                  <a:cubicBezTo>
                    <a:pt x="350" y="1034"/>
                    <a:pt x="133" y="859"/>
                    <a:pt x="4" y="734"/>
                  </a:cubicBezTo>
                  <a:cubicBezTo>
                    <a:pt x="133" y="859"/>
                    <a:pt x="350" y="1034"/>
                    <a:pt x="539" y="1150"/>
                  </a:cubicBezTo>
                  <a:close/>
                  <a:moveTo>
                    <a:pt x="0" y="200"/>
                  </a:moveTo>
                  <a:lnTo>
                    <a:pt x="0" y="200"/>
                  </a:lnTo>
                  <a:lnTo>
                    <a:pt x="63" y="101"/>
                  </a:lnTo>
                  <a:lnTo>
                    <a:pt x="0" y="200"/>
                  </a:lnTo>
                  <a:close/>
                  <a:moveTo>
                    <a:pt x="539" y="102"/>
                  </a:moveTo>
                  <a:cubicBezTo>
                    <a:pt x="501" y="85"/>
                    <a:pt x="466" y="71"/>
                    <a:pt x="437" y="63"/>
                  </a:cubicBezTo>
                  <a:cubicBezTo>
                    <a:pt x="421" y="58"/>
                    <a:pt x="398" y="56"/>
                    <a:pt x="376" y="55"/>
                  </a:cubicBezTo>
                  <a:cubicBezTo>
                    <a:pt x="398" y="56"/>
                    <a:pt x="421" y="58"/>
                    <a:pt x="437" y="63"/>
                  </a:cubicBezTo>
                  <a:cubicBezTo>
                    <a:pt x="466" y="71"/>
                    <a:pt x="501" y="85"/>
                    <a:pt x="539" y="102"/>
                  </a:cubicBezTo>
                  <a:close/>
                  <a:moveTo>
                    <a:pt x="228" y="16"/>
                  </a:moveTo>
                  <a:lnTo>
                    <a:pt x="215" y="9"/>
                  </a:lnTo>
                  <a:cubicBezTo>
                    <a:pt x="202" y="3"/>
                    <a:pt x="189" y="0"/>
                    <a:pt x="175" y="0"/>
                  </a:cubicBezTo>
                  <a:cubicBezTo>
                    <a:pt x="173" y="0"/>
                    <a:pt x="171" y="0"/>
                    <a:pt x="169" y="0"/>
                  </a:cubicBezTo>
                  <a:cubicBezTo>
                    <a:pt x="171" y="0"/>
                    <a:pt x="173" y="0"/>
                    <a:pt x="175" y="0"/>
                  </a:cubicBezTo>
                  <a:cubicBezTo>
                    <a:pt x="189" y="0"/>
                    <a:pt x="202" y="3"/>
                    <a:pt x="215" y="9"/>
                  </a:cubicBezTo>
                  <a:lnTo>
                    <a:pt x="228" y="16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91" name="Freeform 83">
              <a:extLst>
                <a:ext uri="{FF2B5EF4-FFF2-40B4-BE49-F238E27FC236}">
                  <a16:creationId xmlns:a16="http://schemas.microsoft.com/office/drawing/2014/main" id="{23AE9A3D-7845-9143-BD91-625845220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8963" y="3908426"/>
              <a:ext cx="31750" cy="84138"/>
            </a:xfrm>
            <a:custGeom>
              <a:avLst/>
              <a:gdLst>
                <a:gd name="T0" fmla="*/ 0 w 122"/>
                <a:gd name="T1" fmla="*/ 309 h 309"/>
                <a:gd name="T2" fmla="*/ 0 w 122"/>
                <a:gd name="T3" fmla="*/ 309 h 309"/>
                <a:gd name="T4" fmla="*/ 87 w 122"/>
                <a:gd name="T5" fmla="*/ 172 h 309"/>
                <a:gd name="T6" fmla="*/ 0 w 122"/>
                <a:gd name="T7" fmla="*/ 309 h 309"/>
                <a:gd name="T8" fmla="*/ 106 w 122"/>
                <a:gd name="T9" fmla="*/ 141 h 309"/>
                <a:gd name="T10" fmla="*/ 85 w 122"/>
                <a:gd name="T11" fmla="*/ 53 h 309"/>
                <a:gd name="T12" fmla="*/ 106 w 122"/>
                <a:gd name="T13" fmla="*/ 141 h 309"/>
                <a:gd name="T14" fmla="*/ 85 w 122"/>
                <a:gd name="T15" fmla="*/ 53 h 309"/>
                <a:gd name="T16" fmla="*/ 84 w 122"/>
                <a:gd name="T17" fmla="*/ 53 h 309"/>
                <a:gd name="T18" fmla="*/ 85 w 122"/>
                <a:gd name="T19" fmla="*/ 53 h 309"/>
                <a:gd name="T20" fmla="*/ 58 w 122"/>
                <a:gd name="T21" fmla="*/ 37 h 309"/>
                <a:gd name="T22" fmla="*/ 0 w 122"/>
                <a:gd name="T23" fmla="*/ 0 h 309"/>
                <a:gd name="T24" fmla="*/ 58 w 122"/>
                <a:gd name="T25" fmla="*/ 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309">
                  <a:moveTo>
                    <a:pt x="0" y="309"/>
                  </a:moveTo>
                  <a:lnTo>
                    <a:pt x="0" y="309"/>
                  </a:lnTo>
                  <a:lnTo>
                    <a:pt x="87" y="172"/>
                  </a:lnTo>
                  <a:lnTo>
                    <a:pt x="0" y="309"/>
                  </a:lnTo>
                  <a:close/>
                  <a:moveTo>
                    <a:pt x="106" y="141"/>
                  </a:moveTo>
                  <a:cubicBezTo>
                    <a:pt x="122" y="111"/>
                    <a:pt x="113" y="73"/>
                    <a:pt x="85" y="53"/>
                  </a:cubicBezTo>
                  <a:cubicBezTo>
                    <a:pt x="113" y="73"/>
                    <a:pt x="122" y="111"/>
                    <a:pt x="106" y="141"/>
                  </a:cubicBezTo>
                  <a:close/>
                  <a:moveTo>
                    <a:pt x="85" y="53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5" y="53"/>
                  </a:cubicBezTo>
                  <a:close/>
                  <a:moveTo>
                    <a:pt x="58" y="37"/>
                  </a:moveTo>
                  <a:lnTo>
                    <a:pt x="0" y="0"/>
                  </a:lnTo>
                  <a:lnTo>
                    <a:pt x="58" y="37"/>
                  </a:lnTo>
                  <a:close/>
                </a:path>
              </a:pathLst>
            </a:custGeom>
            <a:solidFill>
              <a:srgbClr val="F8D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2C59EFE4-DF1E-BE47-AB5D-E5E662E52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3998913"/>
              <a:ext cx="146050" cy="331788"/>
            </a:xfrm>
            <a:custGeom>
              <a:avLst/>
              <a:gdLst>
                <a:gd name="T0" fmla="*/ 459 w 538"/>
                <a:gd name="T1" fmla="*/ 1227 h 1227"/>
                <a:gd name="T2" fmla="*/ 429 w 538"/>
                <a:gd name="T3" fmla="*/ 1221 h 1227"/>
                <a:gd name="T4" fmla="*/ 459 w 538"/>
                <a:gd name="T5" fmla="*/ 1227 h 1227"/>
                <a:gd name="T6" fmla="*/ 535 w 538"/>
                <a:gd name="T7" fmla="*/ 1166 h 1227"/>
                <a:gd name="T8" fmla="*/ 505 w 538"/>
                <a:gd name="T9" fmla="*/ 1132 h 1227"/>
                <a:gd name="T10" fmla="*/ 535 w 538"/>
                <a:gd name="T11" fmla="*/ 1166 h 1227"/>
                <a:gd name="T12" fmla="*/ 58 w 538"/>
                <a:gd name="T13" fmla="*/ 1083 h 1227"/>
                <a:gd name="T14" fmla="*/ 0 w 538"/>
                <a:gd name="T15" fmla="*/ 1048 h 1227"/>
                <a:gd name="T16" fmla="*/ 58 w 538"/>
                <a:gd name="T17" fmla="*/ 1083 h 1227"/>
                <a:gd name="T18" fmla="*/ 323 w 538"/>
                <a:gd name="T19" fmla="*/ 997 h 1227"/>
                <a:gd name="T20" fmla="*/ 350 w 538"/>
                <a:gd name="T21" fmla="*/ 984 h 1227"/>
                <a:gd name="T22" fmla="*/ 356 w 538"/>
                <a:gd name="T23" fmla="*/ 984 h 1227"/>
                <a:gd name="T24" fmla="*/ 350 w 538"/>
                <a:gd name="T25" fmla="*/ 984 h 1227"/>
                <a:gd name="T26" fmla="*/ 323 w 538"/>
                <a:gd name="T27" fmla="*/ 997 h 1227"/>
                <a:gd name="T28" fmla="*/ 538 w 538"/>
                <a:gd name="T29" fmla="*/ 886 h 1227"/>
                <a:gd name="T30" fmla="*/ 432 w 538"/>
                <a:gd name="T31" fmla="*/ 827 h 1227"/>
                <a:gd name="T32" fmla="*/ 419 w 538"/>
                <a:gd name="T33" fmla="*/ 814 h 1227"/>
                <a:gd name="T34" fmla="*/ 432 w 538"/>
                <a:gd name="T35" fmla="*/ 827 h 1227"/>
                <a:gd name="T36" fmla="*/ 538 w 538"/>
                <a:gd name="T37" fmla="*/ 886 h 1227"/>
                <a:gd name="T38" fmla="*/ 419 w 538"/>
                <a:gd name="T39" fmla="*/ 783 h 1227"/>
                <a:gd name="T40" fmla="*/ 428 w 538"/>
                <a:gd name="T41" fmla="*/ 773 h 1227"/>
                <a:gd name="T42" fmla="*/ 419 w 538"/>
                <a:gd name="T43" fmla="*/ 783 h 1227"/>
                <a:gd name="T44" fmla="*/ 538 w 538"/>
                <a:gd name="T45" fmla="*/ 604 h 1227"/>
                <a:gd name="T46" fmla="*/ 536 w 538"/>
                <a:gd name="T47" fmla="*/ 602 h 1227"/>
                <a:gd name="T48" fmla="*/ 538 w 538"/>
                <a:gd name="T49" fmla="*/ 604 h 1227"/>
                <a:gd name="T50" fmla="*/ 516 w 538"/>
                <a:gd name="T51" fmla="*/ 573 h 1227"/>
                <a:gd name="T52" fmla="*/ 521 w 538"/>
                <a:gd name="T53" fmla="*/ 555 h 1227"/>
                <a:gd name="T54" fmla="*/ 531 w 538"/>
                <a:gd name="T55" fmla="*/ 545 h 1227"/>
                <a:gd name="T56" fmla="*/ 521 w 538"/>
                <a:gd name="T57" fmla="*/ 555 h 1227"/>
                <a:gd name="T58" fmla="*/ 516 w 538"/>
                <a:gd name="T59" fmla="*/ 573 h 1227"/>
                <a:gd name="T60" fmla="*/ 538 w 538"/>
                <a:gd name="T61" fmla="*/ 302 h 1227"/>
                <a:gd name="T62" fmla="*/ 293 w 538"/>
                <a:gd name="T63" fmla="*/ 154 h 1227"/>
                <a:gd name="T64" fmla="*/ 0 w 538"/>
                <a:gd name="T65" fmla="*/ 0 h 1227"/>
                <a:gd name="T66" fmla="*/ 293 w 538"/>
                <a:gd name="T67" fmla="*/ 154 h 1227"/>
                <a:gd name="T68" fmla="*/ 538 w 538"/>
                <a:gd name="T69" fmla="*/ 302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8" h="1227">
                  <a:moveTo>
                    <a:pt x="459" y="1227"/>
                  </a:moveTo>
                  <a:cubicBezTo>
                    <a:pt x="449" y="1225"/>
                    <a:pt x="439" y="1223"/>
                    <a:pt x="429" y="1221"/>
                  </a:cubicBezTo>
                  <a:cubicBezTo>
                    <a:pt x="439" y="1223"/>
                    <a:pt x="449" y="1225"/>
                    <a:pt x="459" y="1227"/>
                  </a:cubicBezTo>
                  <a:close/>
                  <a:moveTo>
                    <a:pt x="535" y="1166"/>
                  </a:moveTo>
                  <a:cubicBezTo>
                    <a:pt x="531" y="1153"/>
                    <a:pt x="521" y="1141"/>
                    <a:pt x="505" y="1132"/>
                  </a:cubicBezTo>
                  <a:cubicBezTo>
                    <a:pt x="521" y="1141"/>
                    <a:pt x="531" y="1153"/>
                    <a:pt x="535" y="1166"/>
                  </a:cubicBezTo>
                  <a:close/>
                  <a:moveTo>
                    <a:pt x="58" y="1083"/>
                  </a:moveTo>
                  <a:cubicBezTo>
                    <a:pt x="39" y="1072"/>
                    <a:pt x="20" y="1060"/>
                    <a:pt x="0" y="1048"/>
                  </a:cubicBezTo>
                  <a:cubicBezTo>
                    <a:pt x="20" y="1060"/>
                    <a:pt x="39" y="1072"/>
                    <a:pt x="58" y="1083"/>
                  </a:cubicBezTo>
                  <a:close/>
                  <a:moveTo>
                    <a:pt x="323" y="997"/>
                  </a:moveTo>
                  <a:cubicBezTo>
                    <a:pt x="330" y="989"/>
                    <a:pt x="339" y="984"/>
                    <a:pt x="350" y="984"/>
                  </a:cubicBezTo>
                  <a:cubicBezTo>
                    <a:pt x="352" y="984"/>
                    <a:pt x="354" y="984"/>
                    <a:pt x="356" y="984"/>
                  </a:cubicBezTo>
                  <a:cubicBezTo>
                    <a:pt x="354" y="984"/>
                    <a:pt x="352" y="984"/>
                    <a:pt x="350" y="984"/>
                  </a:cubicBezTo>
                  <a:cubicBezTo>
                    <a:pt x="339" y="984"/>
                    <a:pt x="330" y="989"/>
                    <a:pt x="323" y="997"/>
                  </a:cubicBezTo>
                  <a:close/>
                  <a:moveTo>
                    <a:pt x="538" y="886"/>
                  </a:moveTo>
                  <a:lnTo>
                    <a:pt x="432" y="827"/>
                  </a:lnTo>
                  <a:cubicBezTo>
                    <a:pt x="426" y="824"/>
                    <a:pt x="422" y="820"/>
                    <a:pt x="419" y="814"/>
                  </a:cubicBezTo>
                  <a:cubicBezTo>
                    <a:pt x="422" y="820"/>
                    <a:pt x="426" y="824"/>
                    <a:pt x="432" y="827"/>
                  </a:cubicBezTo>
                  <a:lnTo>
                    <a:pt x="538" y="886"/>
                  </a:lnTo>
                  <a:close/>
                  <a:moveTo>
                    <a:pt x="419" y="783"/>
                  </a:moveTo>
                  <a:cubicBezTo>
                    <a:pt x="421" y="779"/>
                    <a:pt x="424" y="775"/>
                    <a:pt x="428" y="773"/>
                  </a:cubicBezTo>
                  <a:cubicBezTo>
                    <a:pt x="424" y="775"/>
                    <a:pt x="421" y="779"/>
                    <a:pt x="419" y="783"/>
                  </a:cubicBezTo>
                  <a:close/>
                  <a:moveTo>
                    <a:pt x="538" y="604"/>
                  </a:moveTo>
                  <a:lnTo>
                    <a:pt x="536" y="602"/>
                  </a:lnTo>
                  <a:lnTo>
                    <a:pt x="538" y="604"/>
                  </a:lnTo>
                  <a:close/>
                  <a:moveTo>
                    <a:pt x="516" y="573"/>
                  </a:moveTo>
                  <a:cubicBezTo>
                    <a:pt x="516" y="567"/>
                    <a:pt x="517" y="561"/>
                    <a:pt x="521" y="555"/>
                  </a:cubicBezTo>
                  <a:cubicBezTo>
                    <a:pt x="523" y="551"/>
                    <a:pt x="527" y="548"/>
                    <a:pt x="531" y="545"/>
                  </a:cubicBezTo>
                  <a:cubicBezTo>
                    <a:pt x="527" y="548"/>
                    <a:pt x="523" y="551"/>
                    <a:pt x="521" y="555"/>
                  </a:cubicBezTo>
                  <a:cubicBezTo>
                    <a:pt x="517" y="561"/>
                    <a:pt x="516" y="567"/>
                    <a:pt x="516" y="573"/>
                  </a:cubicBezTo>
                  <a:close/>
                  <a:moveTo>
                    <a:pt x="538" y="302"/>
                  </a:moveTo>
                  <a:cubicBezTo>
                    <a:pt x="440" y="242"/>
                    <a:pt x="351" y="188"/>
                    <a:pt x="293" y="154"/>
                  </a:cubicBezTo>
                  <a:cubicBezTo>
                    <a:pt x="222" y="113"/>
                    <a:pt x="102" y="45"/>
                    <a:pt x="0" y="0"/>
                  </a:cubicBezTo>
                  <a:cubicBezTo>
                    <a:pt x="102" y="45"/>
                    <a:pt x="222" y="113"/>
                    <a:pt x="293" y="154"/>
                  </a:cubicBezTo>
                  <a:cubicBezTo>
                    <a:pt x="351" y="188"/>
                    <a:pt x="440" y="242"/>
                    <a:pt x="538" y="302"/>
                  </a:cubicBezTo>
                  <a:close/>
                </a:path>
              </a:pathLst>
            </a:custGeom>
            <a:solidFill>
              <a:srgbClr val="F4C3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93" name="TextBox 8">
            <a:extLst>
              <a:ext uri="{FF2B5EF4-FFF2-40B4-BE49-F238E27FC236}">
                <a16:creationId xmlns:a16="http://schemas.microsoft.com/office/drawing/2014/main" id="{B9147DF6-A95D-B64E-B006-46A28A5637F6}"/>
              </a:ext>
            </a:extLst>
          </p:cNvPr>
          <p:cNvSpPr txBox="1"/>
          <p:nvPr userDrawn="1"/>
        </p:nvSpPr>
        <p:spPr>
          <a:xfrm>
            <a:off x="347067" y="4700248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Billing</a:t>
            </a:r>
          </a:p>
        </p:txBody>
      </p:sp>
      <p:sp>
        <p:nvSpPr>
          <p:cNvPr id="94" name="TextBox 8">
            <a:extLst>
              <a:ext uri="{FF2B5EF4-FFF2-40B4-BE49-F238E27FC236}">
                <a16:creationId xmlns:a16="http://schemas.microsoft.com/office/drawing/2014/main" id="{90AD12E1-5833-B64D-8F4F-9B8A54F3EFF3}"/>
              </a:ext>
            </a:extLst>
          </p:cNvPr>
          <p:cNvSpPr txBox="1"/>
          <p:nvPr userDrawn="1"/>
        </p:nvSpPr>
        <p:spPr>
          <a:xfrm>
            <a:off x="362968" y="3665932"/>
            <a:ext cx="1232654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Procurement</a:t>
            </a:r>
          </a:p>
        </p:txBody>
      </p:sp>
      <p:sp>
        <p:nvSpPr>
          <p:cNvPr id="95" name="TextBox 8">
            <a:extLst>
              <a:ext uri="{FF2B5EF4-FFF2-40B4-BE49-F238E27FC236}">
                <a16:creationId xmlns:a16="http://schemas.microsoft.com/office/drawing/2014/main" id="{FA1AE61C-A9B9-C841-94D0-AC6EA4EDC2B9}"/>
              </a:ext>
            </a:extLst>
          </p:cNvPr>
          <p:cNvSpPr txBox="1"/>
          <p:nvPr userDrawn="1"/>
        </p:nvSpPr>
        <p:spPr>
          <a:xfrm>
            <a:off x="819278" y="5463688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Supply Chain</a:t>
            </a:r>
          </a:p>
        </p:txBody>
      </p:sp>
      <p:sp>
        <p:nvSpPr>
          <p:cNvPr id="96" name="Rechteck 92">
            <a:extLst>
              <a:ext uri="{FF2B5EF4-FFF2-40B4-BE49-F238E27FC236}">
                <a16:creationId xmlns:a16="http://schemas.microsoft.com/office/drawing/2014/main" id="{00D77475-61CB-8046-A4C8-40AE63DE2072}"/>
              </a:ext>
            </a:extLst>
          </p:cNvPr>
          <p:cNvSpPr/>
          <p:nvPr userDrawn="1"/>
        </p:nvSpPr>
        <p:spPr>
          <a:xfrm>
            <a:off x="282791" y="2675654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alibri"/>
                <a:ea typeface="ＭＳ Ｐゴシック" charset="0"/>
                <a:cs typeface="ＭＳ Ｐゴシック" charset="0"/>
              </a:rPr>
              <a:t>eCommerce</a:t>
            </a:r>
          </a:p>
        </p:txBody>
      </p:sp>
      <p:cxnSp>
        <p:nvCxnSpPr>
          <p:cNvPr id="97" name="Gerade Verbindung 365">
            <a:extLst>
              <a:ext uri="{FF2B5EF4-FFF2-40B4-BE49-F238E27FC236}">
                <a16:creationId xmlns:a16="http://schemas.microsoft.com/office/drawing/2014/main" id="{B144485F-0C59-734B-828E-E44FD1A1EDC8}"/>
              </a:ext>
            </a:extLst>
          </p:cNvPr>
          <p:cNvCxnSpPr>
            <a:cxnSpLocks/>
          </p:cNvCxnSpPr>
          <p:nvPr userDrawn="1"/>
        </p:nvCxnSpPr>
        <p:spPr>
          <a:xfrm>
            <a:off x="8761141" y="3795749"/>
            <a:ext cx="688813" cy="3204"/>
          </a:xfrm>
          <a:prstGeom prst="line">
            <a:avLst/>
          </a:prstGeom>
          <a:noFill/>
          <a:ln w="12700" cap="rnd" cmpd="sng" algn="ctr">
            <a:solidFill>
              <a:schemeClr val="accent2"/>
            </a:solidFill>
            <a:prstDash val="solid"/>
            <a:round/>
          </a:ln>
          <a:effectLst/>
        </p:spPr>
      </p:cxnSp>
      <p:grpSp>
        <p:nvGrpSpPr>
          <p:cNvPr id="98" name="Gruppieren 103">
            <a:extLst>
              <a:ext uri="{FF2B5EF4-FFF2-40B4-BE49-F238E27FC236}">
                <a16:creationId xmlns:a16="http://schemas.microsoft.com/office/drawing/2014/main" id="{C1ACE539-7953-7948-9547-A11BE5C4B9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3179" y="4768528"/>
            <a:ext cx="52207" cy="12285"/>
            <a:chOff x="10272713" y="2805113"/>
            <a:chExt cx="134938" cy="31750"/>
          </a:xfrm>
        </p:grpSpPr>
        <p:sp>
          <p:nvSpPr>
            <p:cNvPr id="99" name="Freeform 13">
              <a:extLst>
                <a:ext uri="{FF2B5EF4-FFF2-40B4-BE49-F238E27FC236}">
                  <a16:creationId xmlns:a16="http://schemas.microsoft.com/office/drawing/2014/main" id="{A8075552-3F90-A24A-9E88-CFC85868F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3686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A9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  <p:sp>
          <p:nvSpPr>
            <p:cNvPr id="100" name="Freeform 17">
              <a:extLst>
                <a:ext uri="{FF2B5EF4-FFF2-40B4-BE49-F238E27FC236}">
                  <a16:creationId xmlns:a16="http://schemas.microsoft.com/office/drawing/2014/main" id="{1405946B-F43D-6440-8496-331ED08C4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805113"/>
              <a:ext cx="134938" cy="0"/>
            </a:xfrm>
            <a:custGeom>
              <a:avLst/>
              <a:gdLst>
                <a:gd name="T0" fmla="*/ 0 w 496"/>
                <a:gd name="T1" fmla="*/ 496 w 496"/>
                <a:gd name="T2" fmla="*/ 0 w 4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96">
                  <a:moveTo>
                    <a:pt x="0" y="0"/>
                  </a:moveTo>
                  <a:lnTo>
                    <a:pt x="4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A4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7" tIns="60959" rIns="121917" bIns="60959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813791">
                <a:defRPr/>
              </a:pPr>
              <a:endParaRPr lang="de-DE" sz="2800">
                <a:solidFill>
                  <a:srgbClr val="2E4250"/>
                </a:solidFill>
                <a:latin typeface="Calibri"/>
              </a:endParaRPr>
            </a:p>
          </p:txBody>
        </p:sp>
      </p:grpSp>
      <p:sp>
        <p:nvSpPr>
          <p:cNvPr id="101" name="Rechteck 170">
            <a:extLst>
              <a:ext uri="{FF2B5EF4-FFF2-40B4-BE49-F238E27FC236}">
                <a16:creationId xmlns:a16="http://schemas.microsoft.com/office/drawing/2014/main" id="{B85B050F-5036-3B45-88E8-8A70FD5F3956}"/>
              </a:ext>
            </a:extLst>
          </p:cNvPr>
          <p:cNvSpPr/>
          <p:nvPr userDrawn="1"/>
        </p:nvSpPr>
        <p:spPr>
          <a:xfrm>
            <a:off x="6869670" y="4171224"/>
            <a:ext cx="1206771" cy="234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chemeClr val="accent2"/>
                </a:solidFill>
                <a:latin typeface="Calibri"/>
                <a:ea typeface="ＭＳ Ｐゴシック" charset="0"/>
                <a:cs typeface="ＭＳ Ｐゴシック" charset="0"/>
              </a:rPr>
              <a:t>COMPLIANCE</a:t>
            </a:r>
          </a:p>
        </p:txBody>
      </p:sp>
      <p:sp>
        <p:nvSpPr>
          <p:cNvPr id="102" name="Rechteck 171">
            <a:extLst>
              <a:ext uri="{FF2B5EF4-FFF2-40B4-BE49-F238E27FC236}">
                <a16:creationId xmlns:a16="http://schemas.microsoft.com/office/drawing/2014/main" id="{C804D3F1-246C-8145-95A3-211A3CDC1148}"/>
              </a:ext>
            </a:extLst>
          </p:cNvPr>
          <p:cNvSpPr/>
          <p:nvPr userDrawn="1"/>
        </p:nvSpPr>
        <p:spPr>
          <a:xfrm>
            <a:off x="3155467" y="4178945"/>
            <a:ext cx="2045779" cy="263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2195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>
                <a:solidFill>
                  <a:srgbClr val="6FD44E"/>
                </a:solidFill>
                <a:latin typeface="Calibri"/>
                <a:ea typeface="ＭＳ Ｐゴシック" charset="0"/>
                <a:cs typeface="ＭＳ Ｐゴシック" charset="0"/>
              </a:rPr>
              <a:t>COMMERCE</a:t>
            </a:r>
          </a:p>
        </p:txBody>
      </p:sp>
      <p:sp>
        <p:nvSpPr>
          <p:cNvPr id="103" name="Rechteck 92">
            <a:extLst>
              <a:ext uri="{FF2B5EF4-FFF2-40B4-BE49-F238E27FC236}">
                <a16:creationId xmlns:a16="http://schemas.microsoft.com/office/drawing/2014/main" id="{ECE97537-7B05-5143-B238-5208781E9E60}"/>
              </a:ext>
            </a:extLst>
          </p:cNvPr>
          <p:cNvSpPr/>
          <p:nvPr userDrawn="1"/>
        </p:nvSpPr>
        <p:spPr>
          <a:xfrm>
            <a:off x="506500" y="1990516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alibri"/>
                <a:ea typeface="ＭＳ Ｐゴシック" charset="0"/>
                <a:cs typeface="ＭＳ Ｐゴシック" charset="0"/>
              </a:rPr>
              <a:t>Accounting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321D295-719E-A94A-878C-E4106B696128}"/>
              </a:ext>
            </a:extLst>
          </p:cNvPr>
          <p:cNvSpPr txBox="1"/>
          <p:nvPr userDrawn="1"/>
        </p:nvSpPr>
        <p:spPr>
          <a:xfrm>
            <a:off x="5156731" y="4254245"/>
            <a:ext cx="1279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Strategic Insight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1BC85B6-8EFC-BC41-8D9A-AB54F8FEBCFF}"/>
              </a:ext>
            </a:extLst>
          </p:cNvPr>
          <p:cNvSpPr txBox="1"/>
          <p:nvPr userDrawn="1"/>
        </p:nvSpPr>
        <p:spPr>
          <a:xfrm>
            <a:off x="4959652" y="2800012"/>
            <a:ext cx="16740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Transaction Volumes</a:t>
            </a:r>
          </a:p>
        </p:txBody>
      </p:sp>
      <p:pic>
        <p:nvPicPr>
          <p:cNvPr id="106" name="Picture 39">
            <a:extLst>
              <a:ext uri="{FF2B5EF4-FFF2-40B4-BE49-F238E27FC236}">
                <a16:creationId xmlns:a16="http://schemas.microsoft.com/office/drawing/2014/main" id="{5D0FD0C8-80AA-0C44-845E-7E2EC602DD3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551166" y="3046812"/>
            <a:ext cx="1220825" cy="1220825"/>
          </a:xfrm>
          <a:prstGeom prst="rect">
            <a:avLst/>
          </a:prstGeom>
        </p:spPr>
      </p:pic>
      <p:pic>
        <p:nvPicPr>
          <p:cNvPr id="107" name="Picture 40">
            <a:extLst>
              <a:ext uri="{FF2B5EF4-FFF2-40B4-BE49-F238E27FC236}">
                <a16:creationId xmlns:a16="http://schemas.microsoft.com/office/drawing/2014/main" id="{786121AB-19AB-7544-BF4F-BA9F35734F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961668" y="3103365"/>
            <a:ext cx="1005059" cy="1005059"/>
          </a:xfrm>
          <a:prstGeom prst="rect">
            <a:avLst/>
          </a:prstGeom>
        </p:spPr>
      </p:pic>
      <p:pic>
        <p:nvPicPr>
          <p:cNvPr id="108" name="Picture 41">
            <a:extLst>
              <a:ext uri="{FF2B5EF4-FFF2-40B4-BE49-F238E27FC236}">
                <a16:creationId xmlns:a16="http://schemas.microsoft.com/office/drawing/2014/main" id="{0A6830A9-9CBB-284C-8C55-1951544CBCD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190169" y="2246139"/>
            <a:ext cx="1100782" cy="237769"/>
          </a:xfrm>
          <a:prstGeom prst="rect">
            <a:avLst/>
          </a:prstGeom>
        </p:spPr>
      </p:pic>
      <p:sp>
        <p:nvSpPr>
          <p:cNvPr id="109" name="Bogen 42">
            <a:extLst>
              <a:ext uri="{FF2B5EF4-FFF2-40B4-BE49-F238E27FC236}">
                <a16:creationId xmlns:a16="http://schemas.microsoft.com/office/drawing/2014/main" id="{21184D59-532C-2745-8531-F01949F59245}"/>
              </a:ext>
            </a:extLst>
          </p:cNvPr>
          <p:cNvSpPr/>
          <p:nvPr userDrawn="1"/>
        </p:nvSpPr>
        <p:spPr bwMode="gray">
          <a:xfrm rot="16200000">
            <a:off x="4700572" y="2851063"/>
            <a:ext cx="2102497" cy="2087619"/>
          </a:xfrm>
          <a:prstGeom prst="arc">
            <a:avLst>
              <a:gd name="adj1" fmla="val 7163904"/>
              <a:gd name="adj2" fmla="val 13964759"/>
            </a:avLst>
          </a:prstGeom>
          <a:noFill/>
          <a:ln w="15875">
            <a:solidFill>
              <a:schemeClr val="bg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0" name="Bogen 40">
            <a:extLst>
              <a:ext uri="{FF2B5EF4-FFF2-40B4-BE49-F238E27FC236}">
                <a16:creationId xmlns:a16="http://schemas.microsoft.com/office/drawing/2014/main" id="{7E566E84-04BE-3145-9CC5-57736F9363C5}"/>
              </a:ext>
            </a:extLst>
          </p:cNvPr>
          <p:cNvSpPr/>
          <p:nvPr userDrawn="1"/>
        </p:nvSpPr>
        <p:spPr bwMode="gray">
          <a:xfrm rot="16200000">
            <a:off x="4700572" y="2701960"/>
            <a:ext cx="2102497" cy="2087619"/>
          </a:xfrm>
          <a:prstGeom prst="arc">
            <a:avLst>
              <a:gd name="adj1" fmla="val 18479587"/>
              <a:gd name="adj2" fmla="val 3491434"/>
            </a:avLst>
          </a:prstGeom>
          <a:noFill/>
          <a:ln w="15875">
            <a:solidFill>
              <a:schemeClr val="bg1"/>
            </a:solidFill>
            <a:prstDash val="solid"/>
            <a:tailEnd type="arrow" w="med" len="med"/>
          </a:ln>
        </p:spPr>
        <p:txBody>
          <a:bodyPr lIns="79180" tIns="63345" rIns="79180" bIns="6334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00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" name="Bogen 43">
            <a:extLst>
              <a:ext uri="{FF2B5EF4-FFF2-40B4-BE49-F238E27FC236}">
                <a16:creationId xmlns:a16="http://schemas.microsoft.com/office/drawing/2014/main" id="{0339D900-FFB9-7247-91CB-8D8F205B1F12}"/>
              </a:ext>
            </a:extLst>
          </p:cNvPr>
          <p:cNvSpPr/>
          <p:nvPr userDrawn="1"/>
        </p:nvSpPr>
        <p:spPr bwMode="gray">
          <a:xfrm rot="16200000">
            <a:off x="2078372" y="1892210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4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1DA6DD57-4E73-1E46-AA3F-685B0C25FC21}"/>
              </a:ext>
            </a:extLst>
          </p:cNvPr>
          <p:cNvGrpSpPr/>
          <p:nvPr userDrawn="1"/>
        </p:nvGrpSpPr>
        <p:grpSpPr>
          <a:xfrm>
            <a:off x="2764533" y="5257340"/>
            <a:ext cx="640080" cy="640080"/>
            <a:chOff x="2624929" y="5201499"/>
            <a:chExt cx="640080" cy="640080"/>
          </a:xfrm>
        </p:grpSpPr>
        <p:sp>
          <p:nvSpPr>
            <p:cNvPr id="113" name="Ellipse 132">
              <a:extLst>
                <a:ext uri="{FF2B5EF4-FFF2-40B4-BE49-F238E27FC236}">
                  <a16:creationId xmlns:a16="http://schemas.microsoft.com/office/drawing/2014/main" id="{384C406A-68FF-A247-9B53-6C6E148F7B4A}"/>
                </a:ext>
              </a:extLst>
            </p:cNvPr>
            <p:cNvSpPr/>
            <p:nvPr/>
          </p:nvSpPr>
          <p:spPr bwMode="gray">
            <a:xfrm rot="16200000">
              <a:off x="2624929" y="5201499"/>
              <a:ext cx="640080" cy="640080"/>
            </a:xfrm>
            <a:prstGeom prst="ellipse">
              <a:avLst/>
            </a:prstGeom>
            <a:solidFill>
              <a:srgbClr val="3B3D3F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48EB7166-7389-0047-B764-AD091CE28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87751" y="5306291"/>
              <a:ext cx="466171" cy="466171"/>
            </a:xfrm>
            <a:prstGeom prst="rect">
              <a:avLst/>
            </a:prstGeom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1258ECD5-AF0D-2647-87B9-8CF0661FDCDE}"/>
              </a:ext>
            </a:extLst>
          </p:cNvPr>
          <p:cNvGrpSpPr/>
          <p:nvPr userDrawn="1"/>
        </p:nvGrpSpPr>
        <p:grpSpPr>
          <a:xfrm>
            <a:off x="1999694" y="4489827"/>
            <a:ext cx="637271" cy="636991"/>
            <a:chOff x="1999694" y="4489827"/>
            <a:chExt cx="637271" cy="636991"/>
          </a:xfrm>
        </p:grpSpPr>
        <p:sp>
          <p:nvSpPr>
            <p:cNvPr id="116" name="Ellipse 132">
              <a:extLst>
                <a:ext uri="{FF2B5EF4-FFF2-40B4-BE49-F238E27FC236}">
                  <a16:creationId xmlns:a16="http://schemas.microsoft.com/office/drawing/2014/main" id="{DD1E6573-6793-464D-B55B-7251E46EB776}"/>
                </a:ext>
              </a:extLst>
            </p:cNvPr>
            <p:cNvSpPr/>
            <p:nvPr/>
          </p:nvSpPr>
          <p:spPr bwMode="gray">
            <a:xfrm rot="16200000">
              <a:off x="1999834" y="4489687"/>
              <a:ext cx="636991" cy="637271"/>
            </a:xfrm>
            <a:prstGeom prst="ellipse">
              <a:avLst/>
            </a:prstGeom>
            <a:solidFill>
              <a:srgbClr val="3B3D3F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DFDB17B5-BEF7-D348-B5FC-B34F2D3FE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2462" y="4549389"/>
              <a:ext cx="507620" cy="507620"/>
            </a:xfrm>
            <a:prstGeom prst="rect">
              <a:avLst/>
            </a:prstGeom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21381447-48E5-4441-B7D1-756AA7D0C846}"/>
              </a:ext>
            </a:extLst>
          </p:cNvPr>
          <p:cNvGrpSpPr/>
          <p:nvPr userDrawn="1"/>
        </p:nvGrpSpPr>
        <p:grpSpPr>
          <a:xfrm>
            <a:off x="1719600" y="3473659"/>
            <a:ext cx="640080" cy="640080"/>
            <a:chOff x="1719600" y="3473659"/>
            <a:chExt cx="640080" cy="640080"/>
          </a:xfrm>
        </p:grpSpPr>
        <p:sp>
          <p:nvSpPr>
            <p:cNvPr id="119" name="Ellipse 120">
              <a:extLst>
                <a:ext uri="{FF2B5EF4-FFF2-40B4-BE49-F238E27FC236}">
                  <a16:creationId xmlns:a16="http://schemas.microsoft.com/office/drawing/2014/main" id="{3BF2DB6E-86DF-7241-BDD5-F9D3EB1207A7}"/>
                </a:ext>
              </a:extLst>
            </p:cNvPr>
            <p:cNvSpPr/>
            <p:nvPr/>
          </p:nvSpPr>
          <p:spPr bwMode="gray">
            <a:xfrm rot="16200000">
              <a:off x="1719600" y="3473659"/>
              <a:ext cx="640080" cy="640080"/>
            </a:xfrm>
            <a:prstGeom prst="ellipse">
              <a:avLst/>
            </a:prstGeom>
            <a:solidFill>
              <a:srgbClr val="3B3D3F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B1A16D7F-3859-3240-A3FF-5E8193DA4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0272" y="3536025"/>
              <a:ext cx="529093" cy="529093"/>
            </a:xfrm>
            <a:prstGeom prst="rect">
              <a:avLst/>
            </a:prstGeom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0553A48-ABF7-1F4E-83E6-7B1777207A18}"/>
              </a:ext>
            </a:extLst>
          </p:cNvPr>
          <p:cNvGrpSpPr/>
          <p:nvPr userDrawn="1"/>
        </p:nvGrpSpPr>
        <p:grpSpPr>
          <a:xfrm>
            <a:off x="1999694" y="2499322"/>
            <a:ext cx="637271" cy="636991"/>
            <a:chOff x="1999694" y="2534222"/>
            <a:chExt cx="637271" cy="636991"/>
          </a:xfrm>
        </p:grpSpPr>
        <p:sp>
          <p:nvSpPr>
            <p:cNvPr id="122" name="Ellipse 132">
              <a:extLst>
                <a:ext uri="{FF2B5EF4-FFF2-40B4-BE49-F238E27FC236}">
                  <a16:creationId xmlns:a16="http://schemas.microsoft.com/office/drawing/2014/main" id="{253E7F64-1F58-6444-8C47-4AD7ABA941D9}"/>
                </a:ext>
              </a:extLst>
            </p:cNvPr>
            <p:cNvSpPr/>
            <p:nvPr/>
          </p:nvSpPr>
          <p:spPr bwMode="gray">
            <a:xfrm rot="16200000">
              <a:off x="1999834" y="2534082"/>
              <a:ext cx="636991" cy="637271"/>
            </a:xfrm>
            <a:prstGeom prst="ellipse">
              <a:avLst/>
            </a:prstGeom>
            <a:solidFill>
              <a:srgbClr val="3B3D3F"/>
            </a:solidFill>
            <a:ln w="1587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134687" tIns="107749" rIns="134687" bIns="107749" rtlCol="0" anchor="ctr"/>
            <a:lstStyle>
              <a:defPPr>
                <a:defRPr lang="de-DE"/>
              </a:defPPr>
              <a:lvl1pPr marL="0" algn="l" defTabSz="1285606" rtl="0" eaLnBrk="1" latinLnBrk="0" hangingPunct="1"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642802" algn="l" defTabSz="128560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5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285606" algn="l" defTabSz="128560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20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928408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6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571211" algn="l" defTabSz="128560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3214014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56816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99619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42422" algn="l" defTabSz="1285606" rtl="0" eaLnBrk="1" latinLnBrk="0" hangingPunct="1">
                <a:defRPr sz="2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61214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467" kern="0">
                <a:solidFill>
                  <a:srgbClr val="2E4250"/>
                </a:solidFill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591F5DB6-9A70-D549-A1FB-657E9DE7C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5843" y="2633217"/>
              <a:ext cx="462961" cy="462961"/>
            </a:xfrm>
            <a:prstGeom prst="rect">
              <a:avLst/>
            </a:prstGeom>
          </p:spPr>
        </p:pic>
      </p:grpSp>
      <p:sp>
        <p:nvSpPr>
          <p:cNvPr id="124" name="Ellipse 132">
            <a:extLst>
              <a:ext uri="{FF2B5EF4-FFF2-40B4-BE49-F238E27FC236}">
                <a16:creationId xmlns:a16="http://schemas.microsoft.com/office/drawing/2014/main" id="{FBFCF5E0-96A7-F541-8CFD-57F5ADEAE395}"/>
              </a:ext>
            </a:extLst>
          </p:cNvPr>
          <p:cNvSpPr/>
          <p:nvPr userDrawn="1"/>
        </p:nvSpPr>
        <p:spPr bwMode="gray">
          <a:xfrm rot="16200000">
            <a:off x="2812231" y="1801002"/>
            <a:ext cx="640080" cy="640080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4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C97D4D7F-75BC-B347-B758-477EE67DF08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1017" y="1855383"/>
            <a:ext cx="541228" cy="541228"/>
          </a:xfrm>
          <a:prstGeom prst="rect">
            <a:avLst/>
          </a:prstGeom>
        </p:spPr>
      </p:pic>
      <p:sp>
        <p:nvSpPr>
          <p:cNvPr id="126" name="Bogen 43">
            <a:extLst>
              <a:ext uri="{FF2B5EF4-FFF2-40B4-BE49-F238E27FC236}">
                <a16:creationId xmlns:a16="http://schemas.microsoft.com/office/drawing/2014/main" id="{5F336F3D-56B3-C043-9BA6-FEFD2C81C645}"/>
              </a:ext>
            </a:extLst>
          </p:cNvPr>
          <p:cNvSpPr/>
          <p:nvPr userDrawn="1"/>
        </p:nvSpPr>
        <p:spPr bwMode="gray">
          <a:xfrm rot="5400000" flipH="1">
            <a:off x="5732900" y="1891046"/>
            <a:ext cx="3968600" cy="3970353"/>
          </a:xfrm>
          <a:prstGeom prst="arc">
            <a:avLst>
              <a:gd name="adj1" fmla="val 12839011"/>
              <a:gd name="adj2" fmla="val 19440652"/>
            </a:avLst>
          </a:prstGeom>
          <a:noFill/>
          <a:ln w="15875" cap="rnd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lIns="168344" tIns="134675" rIns="168344" bIns="134675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2800" kern="0" err="1">
              <a:solidFill>
                <a:srgbClr val="FFFFFF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7" name="Ellipse 132">
            <a:extLst>
              <a:ext uri="{FF2B5EF4-FFF2-40B4-BE49-F238E27FC236}">
                <a16:creationId xmlns:a16="http://schemas.microsoft.com/office/drawing/2014/main" id="{D9B6A947-D8FF-C245-AEDE-8E2B0F33BB03}"/>
              </a:ext>
            </a:extLst>
          </p:cNvPr>
          <p:cNvSpPr/>
          <p:nvPr userDrawn="1"/>
        </p:nvSpPr>
        <p:spPr bwMode="gray">
          <a:xfrm rot="5400000" flipH="1">
            <a:off x="8375259" y="5256176"/>
            <a:ext cx="640080" cy="640080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8" name="Ellipse 132">
            <a:extLst>
              <a:ext uri="{FF2B5EF4-FFF2-40B4-BE49-F238E27FC236}">
                <a16:creationId xmlns:a16="http://schemas.microsoft.com/office/drawing/2014/main" id="{72DF7D16-B944-7A40-A130-4CD7C049A4FC}"/>
              </a:ext>
            </a:extLst>
          </p:cNvPr>
          <p:cNvSpPr/>
          <p:nvPr userDrawn="1"/>
        </p:nvSpPr>
        <p:spPr bwMode="gray">
          <a:xfrm rot="5400000" flipH="1">
            <a:off x="9143047" y="4488523"/>
            <a:ext cx="636991" cy="637271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9" name="Ellipse 120">
            <a:extLst>
              <a:ext uri="{FF2B5EF4-FFF2-40B4-BE49-F238E27FC236}">
                <a16:creationId xmlns:a16="http://schemas.microsoft.com/office/drawing/2014/main" id="{FC8FA4D1-ADBE-D247-938A-5122B03943F4}"/>
              </a:ext>
            </a:extLst>
          </p:cNvPr>
          <p:cNvSpPr/>
          <p:nvPr userDrawn="1"/>
        </p:nvSpPr>
        <p:spPr bwMode="gray">
          <a:xfrm rot="5400000" flipH="1">
            <a:off x="9420192" y="3472495"/>
            <a:ext cx="640080" cy="640080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0" name="Ellipse 132">
            <a:extLst>
              <a:ext uri="{FF2B5EF4-FFF2-40B4-BE49-F238E27FC236}">
                <a16:creationId xmlns:a16="http://schemas.microsoft.com/office/drawing/2014/main" id="{C4FB9D84-0D0D-1D46-93A9-04A3A6F1160F}"/>
              </a:ext>
            </a:extLst>
          </p:cNvPr>
          <p:cNvSpPr/>
          <p:nvPr userDrawn="1"/>
        </p:nvSpPr>
        <p:spPr bwMode="gray">
          <a:xfrm rot="5400000" flipH="1">
            <a:off x="9143047" y="2498018"/>
            <a:ext cx="636991" cy="637271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" name="Ellipse 132">
            <a:extLst>
              <a:ext uri="{FF2B5EF4-FFF2-40B4-BE49-F238E27FC236}">
                <a16:creationId xmlns:a16="http://schemas.microsoft.com/office/drawing/2014/main" id="{19454188-B21E-5240-BCC3-15918A0DAB6F}"/>
              </a:ext>
            </a:extLst>
          </p:cNvPr>
          <p:cNvSpPr/>
          <p:nvPr userDrawn="1"/>
        </p:nvSpPr>
        <p:spPr bwMode="gray">
          <a:xfrm rot="5400000" flipH="1">
            <a:off x="8327561" y="1799838"/>
            <a:ext cx="640080" cy="640080"/>
          </a:xfrm>
          <a:prstGeom prst="ellipse">
            <a:avLst/>
          </a:prstGeom>
          <a:solidFill>
            <a:srgbClr val="3B3D3F"/>
          </a:solidFill>
          <a:ln w="15875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134687" tIns="107749" rIns="134687" bIns="107749" rtlCol="0" anchor="ctr"/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1214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467" kern="0">
              <a:solidFill>
                <a:srgbClr val="2E425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2" name="TextBox 8">
            <a:extLst>
              <a:ext uri="{FF2B5EF4-FFF2-40B4-BE49-F238E27FC236}">
                <a16:creationId xmlns:a16="http://schemas.microsoft.com/office/drawing/2014/main" id="{58ABC45B-0EE1-584B-A1DD-796C46A57DA6}"/>
              </a:ext>
            </a:extLst>
          </p:cNvPr>
          <p:cNvSpPr txBox="1"/>
          <p:nvPr userDrawn="1"/>
        </p:nvSpPr>
        <p:spPr>
          <a:xfrm>
            <a:off x="9893298" y="4699084"/>
            <a:ext cx="1509648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Planning</a:t>
            </a:r>
          </a:p>
        </p:txBody>
      </p:sp>
      <p:sp>
        <p:nvSpPr>
          <p:cNvPr id="133" name="TextBox 8">
            <a:extLst>
              <a:ext uri="{FF2B5EF4-FFF2-40B4-BE49-F238E27FC236}">
                <a16:creationId xmlns:a16="http://schemas.microsoft.com/office/drawing/2014/main" id="{A645C2A7-97B9-2E4F-B9B5-2267E1E960E4}"/>
              </a:ext>
            </a:extLst>
          </p:cNvPr>
          <p:cNvSpPr txBox="1"/>
          <p:nvPr userDrawn="1"/>
        </p:nvSpPr>
        <p:spPr>
          <a:xfrm>
            <a:off x="10189859" y="3664768"/>
            <a:ext cx="176016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Data Management</a:t>
            </a:r>
          </a:p>
        </p:txBody>
      </p:sp>
      <p:sp>
        <p:nvSpPr>
          <p:cNvPr id="134" name="TextBox 8">
            <a:extLst>
              <a:ext uri="{FF2B5EF4-FFF2-40B4-BE49-F238E27FC236}">
                <a16:creationId xmlns:a16="http://schemas.microsoft.com/office/drawing/2014/main" id="{C618BF23-4518-DA42-A79A-987A6D2A1AED}"/>
              </a:ext>
            </a:extLst>
          </p:cNvPr>
          <p:cNvSpPr txBox="1"/>
          <p:nvPr userDrawn="1"/>
        </p:nvSpPr>
        <p:spPr>
          <a:xfrm>
            <a:off x="9124497" y="5462524"/>
            <a:ext cx="1824241" cy="2348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Global Transparency</a:t>
            </a:r>
          </a:p>
        </p:txBody>
      </p:sp>
      <p:sp>
        <p:nvSpPr>
          <p:cNvPr id="135" name="Rechteck 92">
            <a:extLst>
              <a:ext uri="{FF2B5EF4-FFF2-40B4-BE49-F238E27FC236}">
                <a16:creationId xmlns:a16="http://schemas.microsoft.com/office/drawing/2014/main" id="{AF5ED1F1-E4D0-E649-B791-62C0BD77C04C}"/>
              </a:ext>
            </a:extLst>
          </p:cNvPr>
          <p:cNvSpPr/>
          <p:nvPr userDrawn="1"/>
        </p:nvSpPr>
        <p:spPr>
          <a:xfrm>
            <a:off x="9893298" y="2674490"/>
            <a:ext cx="1591276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1957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alibri"/>
                <a:ea typeface="ＭＳ Ｐゴシック" charset="0"/>
                <a:cs typeface="ＭＳ Ｐゴシック" charset="0"/>
              </a:rPr>
              <a:t>Audit</a:t>
            </a:r>
          </a:p>
        </p:txBody>
      </p:sp>
      <p:sp>
        <p:nvSpPr>
          <p:cNvPr id="136" name="Rechteck 92">
            <a:extLst>
              <a:ext uri="{FF2B5EF4-FFF2-40B4-BE49-F238E27FC236}">
                <a16:creationId xmlns:a16="http://schemas.microsoft.com/office/drawing/2014/main" id="{1DC59588-CCDA-784B-86AB-992A975E0C9D}"/>
              </a:ext>
            </a:extLst>
          </p:cNvPr>
          <p:cNvSpPr/>
          <p:nvPr userDrawn="1"/>
        </p:nvSpPr>
        <p:spPr>
          <a:xfrm>
            <a:off x="9124497" y="1989352"/>
            <a:ext cx="2137019" cy="234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285606" rtl="0" eaLnBrk="1" latinLnBrk="0" hangingPunct="1"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42802" algn="l" defTabSz="128560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5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285606" algn="l" defTabSz="128560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928408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6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571211" algn="l" defTabSz="128560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214014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56816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619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42422" algn="l" defTabSz="1285606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13791">
              <a:defRPr/>
            </a:pPr>
            <a:r>
              <a:rPr lang="en-US" sz="1600">
                <a:solidFill>
                  <a:srgbClr val="FFFFFF"/>
                </a:solidFill>
                <a:latin typeface="Calibri"/>
              </a:rPr>
              <a:t>Real-time Reporting</a:t>
            </a: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5120DDB9-40A2-A048-B58F-9376E459D56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048" y="1863482"/>
            <a:ext cx="494597" cy="494597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64E93338-728B-4B4F-9896-ACC2F4C84CAF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7273" y="3561546"/>
            <a:ext cx="461936" cy="461936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FDDEA6EE-3870-E74D-9390-E3D4ADAB074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0614" y="5276275"/>
            <a:ext cx="645948" cy="6161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AB1A5CED-AFF1-D245-AE7B-371DEEC0627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1421" y="2616060"/>
            <a:ext cx="413815" cy="390641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89A67EAF-2FAA-E343-9FB1-8BA7C0CA1B7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8399" y="4485687"/>
            <a:ext cx="642161" cy="642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558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g and differentiated capabiliti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EA9DC0-188C-6B45-8927-0AC670A2C3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6012" t="4829" r="5991" b="19317"/>
          <a:stretch/>
        </p:blipFill>
        <p:spPr>
          <a:xfrm rot="630688">
            <a:off x="3937000" y="2143377"/>
            <a:ext cx="3949700" cy="3949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20B068-BE0C-CC41-B7AF-AABC10B1E5BF}"/>
              </a:ext>
            </a:extLst>
          </p:cNvPr>
          <p:cNvSpPr txBox="1"/>
          <p:nvPr userDrawn="1"/>
        </p:nvSpPr>
        <p:spPr>
          <a:xfrm>
            <a:off x="2380342" y="1673189"/>
            <a:ext cx="69523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4"/>
                </a:solidFill>
              </a:rPr>
              <a:t>MULTI-TAX TYPES </a:t>
            </a:r>
            <a:r>
              <a:rPr lang="en-US" sz="1600"/>
              <a:t>integrated</a:t>
            </a:r>
            <a:r>
              <a:rPr lang="en-US" sz="1600" b="1"/>
              <a:t> </a:t>
            </a:r>
            <a:r>
              <a:rPr lang="en-US" sz="1600"/>
              <a:t>on a single platform and data mod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F7988A-EDB3-C74F-9170-11544470617E}"/>
              </a:ext>
            </a:extLst>
          </p:cNvPr>
          <p:cNvSpPr txBox="1"/>
          <p:nvPr userDrawn="1"/>
        </p:nvSpPr>
        <p:spPr>
          <a:xfrm>
            <a:off x="748322" y="5020137"/>
            <a:ext cx="29793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8F8F8F"/>
                </a:solidFill>
              </a:rPr>
              <a:t>MULTI-CLOUD</a:t>
            </a:r>
            <a:r>
              <a:rPr lang="en-US" sz="1600" b="1"/>
              <a:t> </a:t>
            </a:r>
            <a:r>
              <a:rPr lang="en-US" sz="1600"/>
              <a:t>delivery for rapid value and customer experi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5247F3-31BB-2344-B0AA-34FCF95DD030}"/>
              </a:ext>
            </a:extLst>
          </p:cNvPr>
          <p:cNvSpPr txBox="1"/>
          <p:nvPr userDrawn="1"/>
        </p:nvSpPr>
        <p:spPr>
          <a:xfrm>
            <a:off x="7957515" y="2490491"/>
            <a:ext cx="38134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6"/>
                </a:solidFill>
              </a:rPr>
              <a:t>GLOBAL CONTENT DATABASE </a:t>
            </a:r>
            <a:r>
              <a:rPr lang="en-US" sz="1600"/>
              <a:t>coverage across verticals, digital and physical good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290B19-B6F5-2944-BA6F-891BACDDDEEE}"/>
              </a:ext>
            </a:extLst>
          </p:cNvPr>
          <p:cNvSpPr txBox="1"/>
          <p:nvPr userDrawn="1"/>
        </p:nvSpPr>
        <p:spPr>
          <a:xfrm>
            <a:off x="7870429" y="4996584"/>
            <a:ext cx="3470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/>
                </a:solidFill>
              </a:rPr>
              <a:t>ACCELERATORS</a:t>
            </a:r>
            <a:r>
              <a:rPr lang="en-US" sz="1600"/>
              <a:t> enable codeless configuration and native user experience for rapid time-to-benefi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73DF1D-835C-EE45-ABC2-5D53A5BDA0A9}"/>
              </a:ext>
            </a:extLst>
          </p:cNvPr>
          <p:cNvSpPr txBox="1"/>
          <p:nvPr userDrawn="1"/>
        </p:nvSpPr>
        <p:spPr>
          <a:xfrm>
            <a:off x="2931886" y="6255379"/>
            <a:ext cx="5907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MULTI-MODAL</a:t>
            </a:r>
            <a:r>
              <a:rPr lang="en-US" sz="1600" b="1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600"/>
              <a:t>support</a:t>
            </a:r>
            <a:r>
              <a:rPr lang="en-US" sz="1600" b="1"/>
              <a:t> </a:t>
            </a:r>
            <a:r>
              <a:rPr lang="en-US" sz="1600"/>
              <a:t>from mainframe to edge compu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3C5E99-D835-4842-A629-B8CFCC28D6CD}"/>
              </a:ext>
            </a:extLst>
          </p:cNvPr>
          <p:cNvSpPr txBox="1"/>
          <p:nvPr userDrawn="1"/>
        </p:nvSpPr>
        <p:spPr>
          <a:xfrm>
            <a:off x="368300" y="2490491"/>
            <a:ext cx="34163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/>
              <a:t>Depth and breadth of </a:t>
            </a:r>
            <a:r>
              <a:rPr lang="en-US" sz="1600" b="1">
                <a:solidFill>
                  <a:schemeClr val="tx2"/>
                </a:solidFill>
              </a:rPr>
              <a:t>INTEGRATIONS</a:t>
            </a:r>
            <a:r>
              <a:rPr lang="en-US" sz="1600"/>
              <a:t> drives rapid time-to-benefit across core business process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C5FB423-EAB8-F34B-B63E-E7A637FAC762}"/>
              </a:ext>
            </a:extLst>
          </p:cNvPr>
          <p:cNvCxnSpPr>
            <a:cxnSpLocks/>
          </p:cNvCxnSpPr>
          <p:nvPr userDrawn="1"/>
        </p:nvCxnSpPr>
        <p:spPr>
          <a:xfrm>
            <a:off x="3683000" y="2994277"/>
            <a:ext cx="952500" cy="3175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17E248-4B54-3342-A6CC-24EA146A514D}"/>
              </a:ext>
            </a:extLst>
          </p:cNvPr>
          <p:cNvCxnSpPr>
            <a:cxnSpLocks/>
          </p:cNvCxnSpPr>
          <p:nvPr userDrawn="1"/>
        </p:nvCxnSpPr>
        <p:spPr>
          <a:xfrm>
            <a:off x="7226300" y="5000877"/>
            <a:ext cx="914400" cy="1651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7DD8C74-6875-8341-B742-76013FA75507}"/>
              </a:ext>
            </a:extLst>
          </p:cNvPr>
          <p:cNvCxnSpPr>
            <a:cxnSpLocks/>
          </p:cNvCxnSpPr>
          <p:nvPr userDrawn="1"/>
        </p:nvCxnSpPr>
        <p:spPr>
          <a:xfrm flipV="1">
            <a:off x="7366000" y="2820106"/>
            <a:ext cx="718457" cy="45357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A9D2FD-3D49-7548-B23D-63BF7419D740}"/>
              </a:ext>
            </a:extLst>
          </p:cNvPr>
          <p:cNvCxnSpPr>
            <a:cxnSpLocks/>
          </p:cNvCxnSpPr>
          <p:nvPr userDrawn="1"/>
        </p:nvCxnSpPr>
        <p:spPr>
          <a:xfrm flipV="1">
            <a:off x="2730500" y="4607177"/>
            <a:ext cx="1663700" cy="3683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D29FA11-E53A-364D-89A4-99B6685C0970}"/>
              </a:ext>
            </a:extLst>
          </p:cNvPr>
          <p:cNvCxnSpPr>
            <a:cxnSpLocks/>
          </p:cNvCxnSpPr>
          <p:nvPr userDrawn="1"/>
        </p:nvCxnSpPr>
        <p:spPr>
          <a:xfrm>
            <a:off x="5921830" y="1992794"/>
            <a:ext cx="0" cy="449943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C26B32-ED63-7C46-B242-C8BC6D414C6A}"/>
              </a:ext>
            </a:extLst>
          </p:cNvPr>
          <p:cNvCxnSpPr>
            <a:cxnSpLocks/>
          </p:cNvCxnSpPr>
          <p:nvPr userDrawn="1"/>
        </p:nvCxnSpPr>
        <p:spPr>
          <a:xfrm>
            <a:off x="5856515" y="5759250"/>
            <a:ext cx="0" cy="449943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>
            <a:extLst>
              <a:ext uri="{FF2B5EF4-FFF2-40B4-BE49-F238E27FC236}">
                <a16:creationId xmlns:a16="http://schemas.microsoft.com/office/drawing/2014/main" id="{D8B923F6-DE25-0C44-9E3E-6E2653A1C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8839"/>
          <a:stretch/>
        </p:blipFill>
        <p:spPr>
          <a:xfrm>
            <a:off x="5334000" y="3487908"/>
            <a:ext cx="1235000" cy="1260637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8" y="264067"/>
            <a:ext cx="9776562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Strong and differentiated capabilities with high barriers to entry</a:t>
            </a:r>
          </a:p>
        </p:txBody>
      </p:sp>
    </p:spTree>
    <p:extLst>
      <p:ext uri="{BB962C8B-B14F-4D97-AF65-F5344CB8AC3E}">
        <p14:creationId xmlns:p14="http://schemas.microsoft.com/office/powerpoint/2010/main" val="40598522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ly-integrated ecosyste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3FB716C-2B25-6C44-A8B0-AACB14120350}"/>
              </a:ext>
            </a:extLst>
          </p:cNvPr>
          <p:cNvSpPr txBox="1">
            <a:spLocks/>
          </p:cNvSpPr>
          <p:nvPr userDrawn="1"/>
        </p:nvSpPr>
        <p:spPr>
          <a:xfrm>
            <a:off x="510437" y="264067"/>
            <a:ext cx="10995761" cy="1143000"/>
          </a:xfrm>
          <a:prstGeom prst="rect">
            <a:avLst/>
          </a:prstGeom>
        </p:spPr>
        <p:txBody>
          <a:bodyPr anchor="ctr"/>
          <a:lstStyle>
            <a:lvl1pPr eaLnBrk="1" hangingPunct="1">
              <a:defRPr sz="3000" b="1">
                <a:solidFill>
                  <a:schemeClr val="tx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defTabSz="914378">
              <a:lnSpc>
                <a:spcPts val="4400"/>
              </a:lnSpc>
            </a:pPr>
            <a:r>
              <a:rPr lang="en-US" sz="4000" b="0" kern="0">
                <a:solidFill>
                  <a:schemeClr val="tx2"/>
                </a:solidFill>
                <a:effectLst/>
              </a:rPr>
              <a:t>Deeply-integrated ecosystem with unparalleled scale on the platforms that power global commer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D1782FE-6A3E-3448-B4CE-87636591EB90}"/>
              </a:ext>
            </a:extLst>
          </p:cNvPr>
          <p:cNvGrpSpPr/>
          <p:nvPr userDrawn="1"/>
        </p:nvGrpSpPr>
        <p:grpSpPr>
          <a:xfrm>
            <a:off x="2879994" y="5124831"/>
            <a:ext cx="1451962" cy="304367"/>
            <a:chOff x="5398589" y="6044226"/>
            <a:chExt cx="730732" cy="145483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394BBAB-B259-3844-95AE-A20CD506E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5051" t="22284" r="10808" b="22284"/>
            <a:stretch/>
          </p:blipFill>
          <p:spPr>
            <a:xfrm>
              <a:off x="5686259" y="6044226"/>
              <a:ext cx="443062" cy="14548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C16484D-754C-ED43-95EA-CFF20249B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8589" y="6044226"/>
              <a:ext cx="297453" cy="145482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D8D0821C-8A2F-F54D-886E-876F974421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7325" b="27325"/>
          <a:stretch/>
        </p:blipFill>
        <p:spPr>
          <a:xfrm>
            <a:off x="5125078" y="4980401"/>
            <a:ext cx="1047122" cy="27739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15B4DE7-266A-EC4E-A8FA-4C3028A73E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549" t="14158" r="22549" b="14158"/>
          <a:stretch/>
        </p:blipFill>
        <p:spPr>
          <a:xfrm>
            <a:off x="2507366" y="3016233"/>
            <a:ext cx="545765" cy="51307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533BC1-ACDF-D846-9F22-64191F9710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37151" y="3936239"/>
            <a:ext cx="1029374" cy="7603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2FFC4E6-D083-EB44-9F87-E4EDE79DBEE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270775" y="1944109"/>
            <a:ext cx="964602" cy="40511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C545590-4E89-9A46-B9B7-609BEC1301F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12640" y="1846923"/>
            <a:ext cx="786670" cy="4051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5E9E8A3-9663-CA4E-B279-DB300624C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33174" b="34246"/>
          <a:stretch/>
        </p:blipFill>
        <p:spPr>
          <a:xfrm>
            <a:off x="1398227" y="2405465"/>
            <a:ext cx="1644272" cy="37533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3A72112-2CD9-CA4F-850B-7FE827DDE62C}"/>
              </a:ext>
            </a:extLst>
          </p:cNvPr>
          <p:cNvSpPr txBox="1"/>
          <p:nvPr userDrawn="1"/>
        </p:nvSpPr>
        <p:spPr>
          <a:xfrm rot="20667641">
            <a:off x="3516995" y="2837785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ER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186986-7E5D-5048-B9AF-8EFEA05562B5}"/>
              </a:ext>
            </a:extLst>
          </p:cNvPr>
          <p:cNvSpPr txBox="1"/>
          <p:nvPr userDrawn="1"/>
        </p:nvSpPr>
        <p:spPr>
          <a:xfrm rot="2520728">
            <a:off x="3325889" y="3809723"/>
            <a:ext cx="1386475" cy="78848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769572"/>
              </a:avLst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Procur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5606EB-2BCA-BB4C-B876-76EB348D13D2}"/>
              </a:ext>
            </a:extLst>
          </p:cNvPr>
          <p:cNvSpPr txBox="1"/>
          <p:nvPr userDrawn="1"/>
        </p:nvSpPr>
        <p:spPr>
          <a:xfrm rot="17321933">
            <a:off x="3243074" y="3280765"/>
            <a:ext cx="851937" cy="298649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CR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8DAACB-71D5-404D-90B3-C0A65E6C136D}"/>
              </a:ext>
            </a:extLst>
          </p:cNvPr>
          <p:cNvSpPr txBox="1"/>
          <p:nvPr userDrawn="1"/>
        </p:nvSpPr>
        <p:spPr>
          <a:xfrm rot="20283180">
            <a:off x="4430945" y="4397832"/>
            <a:ext cx="1025970" cy="349388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Billing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6FBC3446-2788-3C45-92AA-6884285943B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091" y="4420487"/>
            <a:ext cx="1448423" cy="565873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F3E1ECEB-5318-6345-909D-8FFC7AB2218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657842" y="2844911"/>
            <a:ext cx="1756429" cy="1760308"/>
          </a:xfrm>
          <a:prstGeom prst="ellips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682" tIns="121024" rIns="80682" bIns="403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8FD8"/>
              </a:buClr>
            </a:pPr>
            <a:endParaRPr lang="en-US" sz="1059" err="1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6392D6E-BF04-0843-8F0C-94DEADF936E4}"/>
              </a:ext>
            </a:extLst>
          </p:cNvPr>
          <p:cNvGrpSpPr/>
          <p:nvPr userDrawn="1"/>
        </p:nvGrpSpPr>
        <p:grpSpPr>
          <a:xfrm>
            <a:off x="5579614" y="2381901"/>
            <a:ext cx="5674673" cy="323737"/>
            <a:chOff x="6334452" y="1382122"/>
            <a:chExt cx="4644085" cy="25163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606CEA8-1C53-4E42-B5A0-B1F9EB0F4782}"/>
                </a:ext>
              </a:extLst>
            </p:cNvPr>
            <p:cNvSpPr txBox="1"/>
            <p:nvPr/>
          </p:nvSpPr>
          <p:spPr>
            <a:xfrm>
              <a:off x="6334452" y="1424397"/>
              <a:ext cx="790854" cy="16745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2"/>
                  </a:solidFill>
                </a:rPr>
                <a:t>Digital goods</a:t>
              </a:r>
            </a:p>
          </p:txBody>
        </p:sp>
        <p:pic>
          <p:nvPicPr>
            <p:cNvPr id="40" name="Picture 8" descr="https://static.thenounproject.com/png/3266546-200.png">
              <a:extLst>
                <a:ext uri="{FF2B5EF4-FFF2-40B4-BE49-F238E27FC236}">
                  <a16:creationId xmlns:a16="http://schemas.microsoft.com/office/drawing/2014/main" id="{682C3598-BE1C-E04C-9F8F-96F01CBB9F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2702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10" descr="https://static.thenounproject.com/png/1501124-200.png">
              <a:extLst>
                <a:ext uri="{FF2B5EF4-FFF2-40B4-BE49-F238E27FC236}">
                  <a16:creationId xmlns:a16="http://schemas.microsoft.com/office/drawing/2014/main" id="{D88DA179-95CD-CB44-9134-D84BBD60C9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607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 descr="https://static.thenounproject.com/png/2716216-200.png">
              <a:extLst>
                <a:ext uri="{FF2B5EF4-FFF2-40B4-BE49-F238E27FC236}">
                  <a16:creationId xmlns:a16="http://schemas.microsoft.com/office/drawing/2014/main" id="{44F8EFAF-995E-044D-856F-C77DFD3C38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63760" y="1418975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4" descr="https://static.thenounproject.com/png/1831247-200.png">
              <a:extLst>
                <a:ext uri="{FF2B5EF4-FFF2-40B4-BE49-F238E27FC236}">
                  <a16:creationId xmlns:a16="http://schemas.microsoft.com/office/drawing/2014/main" id="{DD0455AE-1C6B-0E4A-A691-92DF4A6619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7576" y="1382122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6" descr="https://static.thenounproject.com/png/2024244-200.png">
              <a:extLst>
                <a:ext uri="{FF2B5EF4-FFF2-40B4-BE49-F238E27FC236}">
                  <a16:creationId xmlns:a16="http://schemas.microsoft.com/office/drawing/2014/main" id="{3AD3529F-45A5-324D-802B-8489D3E0B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580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8" descr="https://static.thenounproject.com/png/1735590-200.png">
              <a:extLst>
                <a:ext uri="{FF2B5EF4-FFF2-40B4-BE49-F238E27FC236}">
                  <a16:creationId xmlns:a16="http://schemas.microsoft.com/office/drawing/2014/main" id="{3505A0D3-48FB-2647-9DF7-FBB244167B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1101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0" descr="https://static.thenounproject.com/png/2594329-200.png">
              <a:extLst>
                <a:ext uri="{FF2B5EF4-FFF2-40B4-BE49-F238E27FC236}">
                  <a16:creationId xmlns:a16="http://schemas.microsoft.com/office/drawing/2014/main" id="{61BE550A-CEA3-DF40-91D0-A003A750D4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0489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2" descr="https://static.thenounproject.com/png/2608176-200.png">
              <a:extLst>
                <a:ext uri="{FF2B5EF4-FFF2-40B4-BE49-F238E27FC236}">
                  <a16:creationId xmlns:a16="http://schemas.microsoft.com/office/drawing/2014/main" id="{EA8F95FB-5DE2-7F4B-B903-6D686917EB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2305" y="1409560"/>
              <a:ext cx="214777" cy="21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1AF72A1-B52D-AB49-948D-5908277298CA}"/>
                </a:ext>
              </a:extLst>
            </p:cNvPr>
            <p:cNvSpPr txBox="1"/>
            <p:nvPr/>
          </p:nvSpPr>
          <p:spPr>
            <a:xfrm>
              <a:off x="7354647" y="1447572"/>
              <a:ext cx="327970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Gaming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0D652CB-68B0-EF46-9480-DB4720256AEF}"/>
                </a:ext>
              </a:extLst>
            </p:cNvPr>
            <p:cNvSpPr txBox="1"/>
            <p:nvPr/>
          </p:nvSpPr>
          <p:spPr>
            <a:xfrm>
              <a:off x="8752501" y="1466045"/>
              <a:ext cx="253193" cy="11961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2"/>
                  </a:solidFill>
                </a:rPr>
                <a:t>Music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F1F8AB-1219-FE46-868C-6489C472F529}"/>
              </a:ext>
            </a:extLst>
          </p:cNvPr>
          <p:cNvCxnSpPr>
            <a:cxnSpLocks/>
          </p:cNvCxnSpPr>
          <p:nvPr userDrawn="1"/>
        </p:nvCxnSpPr>
        <p:spPr>
          <a:xfrm>
            <a:off x="6732857" y="2136642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22151CA-72B5-9C4E-A2BC-8AF0FDFFDE51}"/>
              </a:ext>
            </a:extLst>
          </p:cNvPr>
          <p:cNvGrpSpPr/>
          <p:nvPr userDrawn="1"/>
        </p:nvGrpSpPr>
        <p:grpSpPr>
          <a:xfrm>
            <a:off x="5867400" y="3233529"/>
            <a:ext cx="4546440" cy="736753"/>
            <a:chOff x="5775076" y="1915537"/>
            <a:chExt cx="4546440" cy="736753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81DAED0-5BD3-0541-91B9-C7EA85E0D9A8}"/>
                </a:ext>
              </a:extLst>
            </p:cNvPr>
            <p:cNvGrpSpPr/>
            <p:nvPr/>
          </p:nvGrpSpPr>
          <p:grpSpPr>
            <a:xfrm>
              <a:off x="5775076" y="2010780"/>
              <a:ext cx="4546440" cy="430253"/>
              <a:chOff x="7046290" y="2064472"/>
              <a:chExt cx="3720755" cy="334423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B84BA2DF-522B-6642-914B-6FBFCEB64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088806" y="2075714"/>
                <a:ext cx="1111102" cy="323181"/>
              </a:xfrm>
              <a:prstGeom prst="rect">
                <a:avLst/>
              </a:prstGeom>
            </p:spPr>
          </p:pic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9E314C03-C9E3-0541-A2D9-C1C04528B31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1"/>
              <a:srcRect l="8785" t="27066" r="8785" b="36872"/>
              <a:stretch/>
            </p:blipFill>
            <p:spPr>
              <a:xfrm>
                <a:off x="9288721" y="2064472"/>
                <a:ext cx="1478324" cy="327421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AEB6A5EC-DD92-7E41-9235-0209C5782D81}"/>
                  </a:ext>
                </a:extLst>
              </p:cNvPr>
              <p:cNvSpPr txBox="1"/>
              <p:nvPr/>
            </p:nvSpPr>
            <p:spPr>
              <a:xfrm>
                <a:off x="7046290" y="2205836"/>
                <a:ext cx="754121" cy="16745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accent2"/>
                    </a:solidFill>
                  </a:rPr>
                  <a:t>E-commerce</a:t>
                </a:r>
              </a:p>
            </p:txBody>
          </p: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DEC3F70-7698-AB40-9A09-E6F9B996C957}"/>
                </a:ext>
              </a:extLst>
            </p:cNvPr>
            <p:cNvCxnSpPr>
              <a:cxnSpLocks/>
            </p:cNvCxnSpPr>
            <p:nvPr/>
          </p:nvCxnSpPr>
          <p:spPr>
            <a:xfrm>
              <a:off x="6831613" y="1915537"/>
              <a:ext cx="0" cy="73675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F92A6D6-3B03-2244-AECA-5D97DB4C6AF5}"/>
              </a:ext>
            </a:extLst>
          </p:cNvPr>
          <p:cNvGrpSpPr/>
          <p:nvPr/>
        </p:nvGrpSpPr>
        <p:grpSpPr>
          <a:xfrm>
            <a:off x="7767704" y="4059377"/>
            <a:ext cx="2553600" cy="1130295"/>
            <a:chOff x="8566818" y="2678659"/>
            <a:chExt cx="2089837" cy="878541"/>
          </a:xfrm>
        </p:grpSpPr>
        <p:sp>
          <p:nvSpPr>
            <p:cNvPr id="60" name="Rounded Rectangle 59">
              <a:extLst>
                <a:ext uri="{FF2B5EF4-FFF2-40B4-BE49-F238E27FC236}">
                  <a16:creationId xmlns:a16="http://schemas.microsoft.com/office/drawing/2014/main" id="{56FE18C8-B457-EF4F-9D17-4642C4838080}"/>
                </a:ext>
              </a:extLst>
            </p:cNvPr>
            <p:cNvSpPr/>
            <p:nvPr/>
          </p:nvSpPr>
          <p:spPr bwMode="auto">
            <a:xfrm>
              <a:off x="8566818" y="2678659"/>
              <a:ext cx="1766047" cy="878541"/>
            </a:xfrm>
            <a:prstGeom prst="round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0341" tIns="40341" rIns="40341" bIns="403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 err="1">
                <a:solidFill>
                  <a:schemeClr val="bg1"/>
                </a:solidFill>
              </a:endParaRP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70EFB91D-ECF4-DC4C-847E-E11AE8441F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t="40756" b="40756"/>
            <a:stretch/>
          </p:blipFill>
          <p:spPr>
            <a:xfrm>
              <a:off x="8671422" y="3062546"/>
              <a:ext cx="747070" cy="138123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C8A667FE-1AEF-7C45-8747-7CA8118F8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t="28110" b="28110"/>
            <a:stretch/>
          </p:blipFill>
          <p:spPr>
            <a:xfrm>
              <a:off x="9626089" y="3024819"/>
              <a:ext cx="1030566" cy="221363"/>
            </a:xfrm>
            <a:prstGeom prst="rect">
              <a:avLst/>
            </a:prstGeom>
          </p:spPr>
        </p:pic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9070592-BB8C-7C4E-896E-A9D755E1BCA7}"/>
              </a:ext>
            </a:extLst>
          </p:cNvPr>
          <p:cNvCxnSpPr>
            <a:cxnSpLocks/>
          </p:cNvCxnSpPr>
          <p:nvPr/>
        </p:nvCxnSpPr>
        <p:spPr>
          <a:xfrm>
            <a:off x="7716807" y="4249359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3315EEA2-389A-6640-9E57-B9DA3BC4E1E8}"/>
              </a:ext>
            </a:extLst>
          </p:cNvPr>
          <p:cNvSpPr txBox="1"/>
          <p:nvPr userDrawn="1"/>
        </p:nvSpPr>
        <p:spPr>
          <a:xfrm>
            <a:off x="10035874" y="2482012"/>
            <a:ext cx="468077" cy="1357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882">
                <a:solidFill>
                  <a:schemeClr val="accent2"/>
                </a:solidFill>
              </a:rPr>
              <a:t>Streamin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6EA632-7180-494C-A052-5BFA803C6823}"/>
              </a:ext>
            </a:extLst>
          </p:cNvPr>
          <p:cNvSpPr txBox="1"/>
          <p:nvPr userDrawn="1"/>
        </p:nvSpPr>
        <p:spPr>
          <a:xfrm rot="677337">
            <a:off x="4341577" y="2762932"/>
            <a:ext cx="1068108" cy="315341"/>
          </a:xfrm>
          <a:prstGeom prst="rect">
            <a:avLst/>
          </a:prstGeom>
          <a:noFill/>
        </p:spPr>
        <p:txBody>
          <a:bodyPr spcFirstLastPara="1" wrap="squar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HCM</a:t>
            </a:r>
          </a:p>
        </p:txBody>
      </p:sp>
      <p:pic>
        <p:nvPicPr>
          <p:cNvPr id="65" name="Picture 64" descr="Image result for recurly logo">
            <a:extLst>
              <a:ext uri="{FF2B5EF4-FFF2-40B4-BE49-F238E27FC236}">
                <a16:creationId xmlns:a16="http://schemas.microsoft.com/office/drawing/2014/main" id="{F592E142-6CB2-E640-BB55-8FF51F7CB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5470739"/>
            <a:ext cx="1058126" cy="320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32" descr="Image result for microsoft dynamics logo">
            <a:extLst>
              <a:ext uri="{FF2B5EF4-FFF2-40B4-BE49-F238E27FC236}">
                <a16:creationId xmlns:a16="http://schemas.microsoft.com/office/drawing/2014/main" id="{DEDF1641-E416-4F48-A7C3-EF7FF35068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9007" y="3675497"/>
            <a:ext cx="1216718" cy="44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object 20">
            <a:extLst>
              <a:ext uri="{FF2B5EF4-FFF2-40B4-BE49-F238E27FC236}">
                <a16:creationId xmlns:a16="http://schemas.microsoft.com/office/drawing/2014/main" id="{787A053F-B728-4241-911E-F021A3C08649}"/>
              </a:ext>
            </a:extLst>
          </p:cNvPr>
          <p:cNvSpPr>
            <a:spLocks noChangeAspect="1"/>
          </p:cNvSpPr>
          <p:nvPr userDrawn="1"/>
        </p:nvSpPr>
        <p:spPr>
          <a:xfrm>
            <a:off x="1176319" y="1982126"/>
            <a:ext cx="1179406" cy="170004"/>
          </a:xfrm>
          <a:prstGeom prst="rect">
            <a:avLst/>
          </a:prstGeom>
          <a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12">
              <a:latin typeface="Segoe UI Semibold" panose="020B0702040204020203" pitchFamily="34" charset="0"/>
            </a:endParaRPr>
          </a:p>
        </p:txBody>
      </p:sp>
      <p:pic>
        <p:nvPicPr>
          <p:cNvPr id="68" name="Picture 9">
            <a:extLst>
              <a:ext uri="{FF2B5EF4-FFF2-40B4-BE49-F238E27FC236}">
                <a16:creationId xmlns:a16="http://schemas.microsoft.com/office/drawing/2014/main" id="{D7EC8D72-BFBB-BA49-A653-B794890A9B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7891" y="3389779"/>
            <a:ext cx="1329297" cy="420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8BDDF724-15A9-1E45-98E3-9E44D2A63956}"/>
              </a:ext>
            </a:extLst>
          </p:cNvPr>
          <p:cNvSpPr txBox="1"/>
          <p:nvPr userDrawn="1"/>
        </p:nvSpPr>
        <p:spPr>
          <a:xfrm>
            <a:off x="6248400" y="4470635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ulti-cloud</a:t>
            </a:r>
          </a:p>
        </p:txBody>
      </p:sp>
      <p:pic>
        <p:nvPicPr>
          <p:cNvPr id="70" name="Picture 36" descr="Image result for oracle netsuite logo">
            <a:extLst>
              <a:ext uri="{FF2B5EF4-FFF2-40B4-BE49-F238E27FC236}">
                <a16:creationId xmlns:a16="http://schemas.microsoft.com/office/drawing/2014/main" id="{F492A5FD-227F-3B45-9477-089B69AA66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81" y="3059866"/>
            <a:ext cx="1204029" cy="492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7F6C056C-22C0-8A44-BEFA-04A465A0A85C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703" y="5463322"/>
            <a:ext cx="1317487" cy="35167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53D90C14-518E-1C49-84C1-66C070568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r="78839"/>
          <a:stretch/>
        </p:blipFill>
        <p:spPr>
          <a:xfrm>
            <a:off x="3988575" y="3100791"/>
            <a:ext cx="1235000" cy="1260637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E0AF94A-5E6B-054F-B2F5-9FE8E966D107}"/>
              </a:ext>
            </a:extLst>
          </p:cNvPr>
          <p:cNvCxnSpPr>
            <a:cxnSpLocks/>
          </p:cNvCxnSpPr>
          <p:nvPr userDrawn="1"/>
        </p:nvCxnSpPr>
        <p:spPr>
          <a:xfrm>
            <a:off x="8033782" y="5257800"/>
            <a:ext cx="0" cy="7367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99D08E09-0D49-A146-B0FF-0F6D2EDF1B72}"/>
              </a:ext>
            </a:extLst>
          </p:cNvPr>
          <p:cNvSpPr txBox="1"/>
          <p:nvPr userDrawn="1"/>
        </p:nvSpPr>
        <p:spPr>
          <a:xfrm>
            <a:off x="6565375" y="5479076"/>
            <a:ext cx="16646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Marketplaces</a:t>
            </a:r>
          </a:p>
        </p:txBody>
      </p:sp>
    </p:spTree>
    <p:extLst>
      <p:ext uri="{BB962C8B-B14F-4D97-AF65-F5344CB8AC3E}">
        <p14:creationId xmlns:p14="http://schemas.microsoft.com/office/powerpoint/2010/main" val="3702998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Icon U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F2224-56CD-49A4-9095-029852359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3867"/>
            <a:ext cx="10972800" cy="6381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525AAD22-6E83-4566-B90F-ABFE669D0B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3278297C-844B-BA44-99D6-25EBFE6D9CFC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AE80752-E53C-CD44-A20B-4442B3A32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2514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" y="1"/>
            <a:ext cx="12179296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79FC6-F3A8-134B-BF24-E167D09194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827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DB4306-E29A-3140-8CE1-834AAC1FDD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756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8EB599-FF9F-434A-A786-176C54F16097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289D8E4-F7B7-7640-B323-05091B0BC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149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1"/>
            <a:ext cx="121792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solidFill>
            <a:schemeClr val="tx1">
              <a:alpha val="75000"/>
            </a:schemeClr>
          </a:solidFill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66A1211A-5A5E-4648-92E4-29EC7E237A85}"/>
              </a:ext>
            </a:extLst>
          </p:cNvPr>
          <p:cNvSpPr/>
          <p:nvPr userDrawn="1"/>
        </p:nvSpPr>
        <p:spPr>
          <a:xfrm flipH="1">
            <a:off x="588394" y="6492877"/>
            <a:ext cx="11603606" cy="365126"/>
          </a:xfrm>
          <a:custGeom>
            <a:avLst/>
            <a:gdLst>
              <a:gd name="connsiteX0" fmla="*/ 0 w 11887201"/>
              <a:gd name="connsiteY0" fmla="*/ 182563 h 365125"/>
              <a:gd name="connsiteX1" fmla="*/ 182563 w 11887201"/>
              <a:gd name="connsiteY1" fmla="*/ 0 h 365125"/>
              <a:gd name="connsiteX2" fmla="*/ 11704639 w 11887201"/>
              <a:gd name="connsiteY2" fmla="*/ 0 h 365125"/>
              <a:gd name="connsiteX3" fmla="*/ 11887202 w 11887201"/>
              <a:gd name="connsiteY3" fmla="*/ 182563 h 365125"/>
              <a:gd name="connsiteX4" fmla="*/ 11887201 w 11887201"/>
              <a:gd name="connsiteY4" fmla="*/ 182563 h 365125"/>
              <a:gd name="connsiteX5" fmla="*/ 11704638 w 11887201"/>
              <a:gd name="connsiteY5" fmla="*/ 365126 h 365125"/>
              <a:gd name="connsiteX6" fmla="*/ 182563 w 11887201"/>
              <a:gd name="connsiteY6" fmla="*/ 365125 h 365125"/>
              <a:gd name="connsiteX7" fmla="*/ 0 w 11887201"/>
              <a:gd name="connsiteY7" fmla="*/ 182562 h 365125"/>
              <a:gd name="connsiteX8" fmla="*/ 0 w 11887201"/>
              <a:gd name="connsiteY8" fmla="*/ 182563 h 365125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3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8" fmla="*/ 0 w 11887202"/>
              <a:gd name="connsiteY8" fmla="*/ 182563 h 365126"/>
              <a:gd name="connsiteX0" fmla="*/ 0 w 11887202"/>
              <a:gd name="connsiteY0" fmla="*/ 182562 h 365126"/>
              <a:gd name="connsiteX1" fmla="*/ 182563 w 11887202"/>
              <a:gd name="connsiteY1" fmla="*/ 0 h 365126"/>
              <a:gd name="connsiteX2" fmla="*/ 11704639 w 11887202"/>
              <a:gd name="connsiteY2" fmla="*/ 0 h 365126"/>
              <a:gd name="connsiteX3" fmla="*/ 11887202 w 11887202"/>
              <a:gd name="connsiteY3" fmla="*/ 182563 h 365126"/>
              <a:gd name="connsiteX4" fmla="*/ 11887201 w 11887202"/>
              <a:gd name="connsiteY4" fmla="*/ 182563 h 365126"/>
              <a:gd name="connsiteX5" fmla="*/ 11704638 w 11887202"/>
              <a:gd name="connsiteY5" fmla="*/ 365126 h 365126"/>
              <a:gd name="connsiteX6" fmla="*/ 182563 w 11887202"/>
              <a:gd name="connsiteY6" fmla="*/ 365125 h 365126"/>
              <a:gd name="connsiteX7" fmla="*/ 0 w 11887202"/>
              <a:gd name="connsiteY7" fmla="*/ 182562 h 365126"/>
              <a:gd name="connsiteX0" fmla="*/ 1440259 w 13144898"/>
              <a:gd name="connsiteY0" fmla="*/ 365125 h 365126"/>
              <a:gd name="connsiteX1" fmla="*/ 1440259 w 13144898"/>
              <a:gd name="connsiteY1" fmla="*/ 0 h 365126"/>
              <a:gd name="connsiteX2" fmla="*/ 12962335 w 13144898"/>
              <a:gd name="connsiteY2" fmla="*/ 0 h 365126"/>
              <a:gd name="connsiteX3" fmla="*/ 13144898 w 13144898"/>
              <a:gd name="connsiteY3" fmla="*/ 182563 h 365126"/>
              <a:gd name="connsiteX4" fmla="*/ 13144897 w 13144898"/>
              <a:gd name="connsiteY4" fmla="*/ 182563 h 365126"/>
              <a:gd name="connsiteX5" fmla="*/ 12962334 w 13144898"/>
              <a:gd name="connsiteY5" fmla="*/ 365126 h 365126"/>
              <a:gd name="connsiteX6" fmla="*/ 1440259 w 13144898"/>
              <a:gd name="connsiteY6" fmla="*/ 365125 h 365126"/>
              <a:gd name="connsiteX0" fmla="*/ 853488 w 12558127"/>
              <a:gd name="connsiteY0" fmla="*/ 365125 h 365126"/>
              <a:gd name="connsiteX1" fmla="*/ 853488 w 12558127"/>
              <a:gd name="connsiteY1" fmla="*/ 0 h 365126"/>
              <a:gd name="connsiteX2" fmla="*/ 12375564 w 12558127"/>
              <a:gd name="connsiteY2" fmla="*/ 0 h 365126"/>
              <a:gd name="connsiteX3" fmla="*/ 12558127 w 12558127"/>
              <a:gd name="connsiteY3" fmla="*/ 182563 h 365126"/>
              <a:gd name="connsiteX4" fmla="*/ 12558126 w 12558127"/>
              <a:gd name="connsiteY4" fmla="*/ 182563 h 365126"/>
              <a:gd name="connsiteX5" fmla="*/ 12375563 w 12558127"/>
              <a:gd name="connsiteY5" fmla="*/ 365126 h 365126"/>
              <a:gd name="connsiteX6" fmla="*/ 853488 w 12558127"/>
              <a:gd name="connsiteY6" fmla="*/ 365125 h 365126"/>
              <a:gd name="connsiteX0" fmla="*/ 0 w 11704639"/>
              <a:gd name="connsiteY0" fmla="*/ 365125 h 365126"/>
              <a:gd name="connsiteX1" fmla="*/ 0 w 11704639"/>
              <a:gd name="connsiteY1" fmla="*/ 0 h 365126"/>
              <a:gd name="connsiteX2" fmla="*/ 11522076 w 11704639"/>
              <a:gd name="connsiteY2" fmla="*/ 0 h 365126"/>
              <a:gd name="connsiteX3" fmla="*/ 11704639 w 11704639"/>
              <a:gd name="connsiteY3" fmla="*/ 182563 h 365126"/>
              <a:gd name="connsiteX4" fmla="*/ 11704638 w 11704639"/>
              <a:gd name="connsiteY4" fmla="*/ 182563 h 365126"/>
              <a:gd name="connsiteX5" fmla="*/ 11522075 w 11704639"/>
              <a:gd name="connsiteY5" fmla="*/ 365126 h 365126"/>
              <a:gd name="connsiteX6" fmla="*/ 0 w 11704639"/>
              <a:gd name="connsiteY6" fmla="*/ 365125 h 36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04639" h="365126">
                <a:moveTo>
                  <a:pt x="0" y="365125"/>
                </a:moveTo>
                <a:lnTo>
                  <a:pt x="0" y="0"/>
                </a:lnTo>
                <a:lnTo>
                  <a:pt x="11522076" y="0"/>
                </a:lnTo>
                <a:cubicBezTo>
                  <a:pt x="11622903" y="0"/>
                  <a:pt x="11704639" y="81736"/>
                  <a:pt x="11704639" y="182563"/>
                </a:cubicBezTo>
                <a:lnTo>
                  <a:pt x="11704638" y="182563"/>
                </a:lnTo>
                <a:cubicBezTo>
                  <a:pt x="11704638" y="283390"/>
                  <a:pt x="11622902" y="365126"/>
                  <a:pt x="11522075" y="365126"/>
                </a:cubicBezTo>
                <a:lnTo>
                  <a:pt x="0" y="36512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84E856-8C9C-5F4F-87CD-D13BBB0D02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006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B9B6BF-CAEF-F049-80AA-027157A428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DFEF6469-74B7-114D-9E22-9CD17F9E9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550" y="6492875"/>
            <a:ext cx="444500" cy="365125"/>
          </a:xfrm>
        </p:spPr>
        <p:txBody>
          <a:bodyPr/>
          <a:lstStyle>
            <a:lvl1pPr>
              <a:defRPr>
                <a:solidFill>
                  <a:srgbClr val="8F8F8F"/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83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2EBEA-4AE6-0045-A4D9-08F9B5D0D0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4" cy="685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A711AA-35D6-4B8E-BC22-73C64E435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940236" y="-63424"/>
            <a:ext cx="1605915" cy="5486400"/>
          </a:xfrm>
          <a:prstGeom prst="round2SameRect">
            <a:avLst>
              <a:gd name="adj1" fmla="val 14202"/>
              <a:gd name="adj2" fmla="val 0"/>
            </a:avLst>
          </a:prstGeom>
          <a:noFill/>
        </p:spPr>
        <p:txBody>
          <a:bodyPr vert="vert270" lIns="457200" tIns="182880" rIns="457200" bIns="594360" anchor="ctr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DF47A3C-EBE2-4E96-88CF-86C63CCE1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187D8B-FB11-744F-9466-065B4333B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5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363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5ECE0-1D65-4CE5-AF49-45A248F6E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ing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CE5BF7-1589-4789-A9BD-4C51646D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54AC82-1BE5-8248-94FF-26177B095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47670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4F55C-ADD4-49A6-8F8F-52FC2F01F0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B4C0BFE-C169-A54D-95C6-326EDD559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426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899DF-C1EF-4DFB-94E3-E16F54796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9938" y="2153722"/>
            <a:ext cx="7652125" cy="2550556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“Quote goes here –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nostrud</a:t>
            </a:r>
            <a:r>
              <a:rPr lang="en-US"/>
              <a:t> exercitation”. </a:t>
            </a:r>
          </a:p>
          <a:p>
            <a:pPr lvl="0"/>
            <a:br>
              <a:rPr lang="en-US"/>
            </a:br>
            <a:r>
              <a:rPr lang="en-US"/>
              <a:t>Name, Title, Compan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066395-5FCF-47ED-A438-8B3776A98B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887" y="1185860"/>
            <a:ext cx="1340577" cy="1340577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2907ACF-DB05-43C0-8192-1D5C1355E7A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CECE5A2-B765-8C4F-8D6E-7AB9BDACBA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1288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-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5030D4E-0BBF-47E8-AD90-68B0388310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3004" y="2049520"/>
            <a:ext cx="8165989" cy="2758960"/>
          </a:xfrm>
        </p:spPr>
        <p:txBody>
          <a:bodyPr/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43C9E-F453-432B-AEB0-01083CA1A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687336" y="4306477"/>
            <a:ext cx="1192405" cy="119240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4DE86FF-4FE8-4526-BED5-14BFED465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312259" y="1359118"/>
            <a:ext cx="1192405" cy="1192405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AE21E70-71C9-467E-BD1D-8F4D0CAC3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BC5940-5A39-6A4E-8AA2-A2FAAF0B90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25042" y="6582806"/>
            <a:ext cx="851536" cy="18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801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51.xml"/><Relationship Id="rId40" Type="http://schemas.openxmlformats.org/officeDocument/2006/relationships/theme" Target="../theme/theme4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36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070D63-9242-46F4-88B9-10133D795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046" y="453867"/>
            <a:ext cx="10972800" cy="6381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C9FC3F-37F6-4A30-9763-1C334BBCD2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348" y="1485900"/>
            <a:ext cx="10464051" cy="4305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A953B7-F7D3-4430-90D8-9F84B7FCC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50" y="6492875"/>
            <a:ext cx="44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658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816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kern="1200">
          <a:solidFill>
            <a:srgbClr val="00387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933C"/>
        </a:buClr>
        <a:buFont typeface="Arial" panose="020B0604020202020204" pitchFamily="34" charset="0"/>
        <a:buChar char="•"/>
        <a:defRPr sz="2400" kern="1200">
          <a:solidFill>
            <a:srgbClr val="34343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3CF40"/>
        </a:buClr>
        <a:buFont typeface="Wingdings" panose="05000000000000000000" pitchFamily="2" charset="2"/>
        <a:buChar char="§"/>
        <a:defRPr sz="2000" kern="1200">
          <a:solidFill>
            <a:srgbClr val="34343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09C"/>
        </a:buClr>
        <a:buFont typeface="Calibri" panose="020F0502020204030204" pitchFamily="34" charset="0"/>
        <a:buChar char="–"/>
        <a:defRPr sz="1800" kern="1200">
          <a:solidFill>
            <a:srgbClr val="34343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FD34E"/>
        </a:buClr>
        <a:buFont typeface="Calibri" panose="020F0502020204030204" pitchFamily="34" charset="0"/>
        <a:buChar char="◌"/>
        <a:defRPr sz="1600" kern="1200">
          <a:solidFill>
            <a:srgbClr val="34343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2BF"/>
        </a:buClr>
        <a:buFont typeface="Arial" panose="020B0604020202020204" pitchFamily="34" charset="0"/>
        <a:buChar char="•"/>
        <a:defRPr sz="1600" kern="1200">
          <a:solidFill>
            <a:srgbClr val="3434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4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5" orient="horz" pos="36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070D63-9242-46F4-88B9-10133D795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046" y="453867"/>
            <a:ext cx="10972800" cy="6381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C9FC3F-37F6-4A30-9763-1C334BBCD2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348" y="1485900"/>
            <a:ext cx="10464051" cy="4305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A953B7-F7D3-4430-90D8-9F84B7FCC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50" y="6492875"/>
            <a:ext cx="44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142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kern="1200">
          <a:solidFill>
            <a:srgbClr val="00387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933C"/>
        </a:buClr>
        <a:buFont typeface="Arial" panose="020B0604020202020204" pitchFamily="34" charset="0"/>
        <a:buChar char="•"/>
        <a:defRPr sz="2400" kern="1200">
          <a:solidFill>
            <a:srgbClr val="34343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3CF40"/>
        </a:buClr>
        <a:buFont typeface="Wingdings" panose="05000000000000000000" pitchFamily="2" charset="2"/>
        <a:buChar char="§"/>
        <a:defRPr sz="2000" kern="1200">
          <a:solidFill>
            <a:srgbClr val="34343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09C"/>
        </a:buClr>
        <a:buFont typeface="Calibri" panose="020F0502020204030204" pitchFamily="34" charset="0"/>
        <a:buChar char="–"/>
        <a:defRPr sz="1800" kern="1200">
          <a:solidFill>
            <a:srgbClr val="34343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FD34E"/>
        </a:buClr>
        <a:buFont typeface="Calibri" panose="020F0502020204030204" pitchFamily="34" charset="0"/>
        <a:buChar char="◌"/>
        <a:defRPr sz="1600" kern="1200">
          <a:solidFill>
            <a:srgbClr val="34343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2BF"/>
        </a:buClr>
        <a:buFont typeface="Arial" panose="020B0604020202020204" pitchFamily="34" charset="0"/>
        <a:buChar char="•"/>
        <a:defRPr sz="1600" kern="1200">
          <a:solidFill>
            <a:srgbClr val="3434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4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5" orient="horz" pos="36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070D63-9242-46F4-88B9-10133D795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046" y="453867"/>
            <a:ext cx="10972800" cy="6381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C9FC3F-37F6-4A30-9763-1C334BBCD2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348" y="1485900"/>
            <a:ext cx="10464051" cy="4305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A953B7-F7D3-4430-90D8-9F84B7FCC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50" y="6492875"/>
            <a:ext cx="44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510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813" r:id="rId38"/>
    <p:sldLayoutId id="2147483814" r:id="rId39"/>
    <p:sldLayoutId id="2147483815" r:id="rId4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kern="1200">
          <a:solidFill>
            <a:srgbClr val="00387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933C"/>
        </a:buClr>
        <a:buFont typeface="Arial" panose="020B0604020202020204" pitchFamily="34" charset="0"/>
        <a:buChar char="•"/>
        <a:defRPr sz="2400" kern="1200">
          <a:solidFill>
            <a:srgbClr val="34343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3CF40"/>
        </a:buClr>
        <a:buFont typeface="Wingdings" panose="05000000000000000000" pitchFamily="2" charset="2"/>
        <a:buChar char="§"/>
        <a:defRPr sz="2000" kern="1200">
          <a:solidFill>
            <a:srgbClr val="34343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09C"/>
        </a:buClr>
        <a:buFont typeface="Calibri" panose="020F0502020204030204" pitchFamily="34" charset="0"/>
        <a:buChar char="–"/>
        <a:defRPr sz="1800" kern="1200">
          <a:solidFill>
            <a:srgbClr val="34343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FD34E"/>
        </a:buClr>
        <a:buFont typeface="Calibri" panose="020F0502020204030204" pitchFamily="34" charset="0"/>
        <a:buChar char="◌"/>
        <a:defRPr sz="1600" kern="1200">
          <a:solidFill>
            <a:srgbClr val="34343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2BF"/>
        </a:buClr>
        <a:buFont typeface="Arial" panose="020B0604020202020204" pitchFamily="34" charset="0"/>
        <a:buChar char="•"/>
        <a:defRPr sz="1600" kern="1200">
          <a:solidFill>
            <a:srgbClr val="3434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4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5" orient="horz" pos="36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070D63-9242-46F4-88B9-10133D795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046" y="453867"/>
            <a:ext cx="10972800" cy="6381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/>
              <a:t>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C9FC3F-37F6-4A30-9763-1C334BBCD2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348" y="1485900"/>
            <a:ext cx="10464051" cy="4305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A953B7-F7D3-4430-90D8-9F84B7FCC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50" y="6492875"/>
            <a:ext cx="444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9CC0C-C698-4E54-8A6B-C32C4010B3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88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  <p:sldLayoutId id="2147483807" r:id="rId34"/>
    <p:sldLayoutId id="2147483808" r:id="rId35"/>
    <p:sldLayoutId id="2147483809" r:id="rId36"/>
    <p:sldLayoutId id="2147483810" r:id="rId37"/>
    <p:sldLayoutId id="2147483811" r:id="rId38"/>
    <p:sldLayoutId id="2147483812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kern="1200">
          <a:solidFill>
            <a:srgbClr val="00387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933C"/>
        </a:buClr>
        <a:buFont typeface="Arial" panose="020B0604020202020204" pitchFamily="34" charset="0"/>
        <a:buChar char="•"/>
        <a:defRPr sz="2400" kern="1200">
          <a:solidFill>
            <a:srgbClr val="34343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3CF40"/>
        </a:buClr>
        <a:buFont typeface="Wingdings" panose="05000000000000000000" pitchFamily="2" charset="2"/>
        <a:buChar char="§"/>
        <a:defRPr sz="2000" kern="1200">
          <a:solidFill>
            <a:srgbClr val="34343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09C"/>
        </a:buClr>
        <a:buFont typeface="Calibri" panose="020F0502020204030204" pitchFamily="34" charset="0"/>
        <a:buChar char="–"/>
        <a:defRPr sz="1800" kern="1200">
          <a:solidFill>
            <a:srgbClr val="34343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FD34E"/>
        </a:buClr>
        <a:buFont typeface="Calibri" panose="020F0502020204030204" pitchFamily="34" charset="0"/>
        <a:buChar char="◌"/>
        <a:defRPr sz="1600" kern="1200">
          <a:solidFill>
            <a:srgbClr val="34343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2BF"/>
        </a:buClr>
        <a:buFont typeface="Arial" panose="020B0604020202020204" pitchFamily="34" charset="0"/>
        <a:buChar char="•"/>
        <a:defRPr sz="1600" kern="1200">
          <a:solidFill>
            <a:srgbClr val="3434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4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5" orient="horz" pos="36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142.png"/><Relationship Id="rId4" Type="http://schemas.openxmlformats.org/officeDocument/2006/relationships/image" Target="../media/image148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1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png"/><Relationship Id="rId3" Type="http://schemas.openxmlformats.org/officeDocument/2006/relationships/image" Target="../media/image122.png"/><Relationship Id="rId7" Type="http://schemas.openxmlformats.org/officeDocument/2006/relationships/image" Target="../media/image162.jpeg"/><Relationship Id="rId12" Type="http://schemas.openxmlformats.org/officeDocument/2006/relationships/image" Target="../media/image16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161.jpeg"/><Relationship Id="rId11" Type="http://schemas.openxmlformats.org/officeDocument/2006/relationships/image" Target="../media/image166.png"/><Relationship Id="rId5" Type="http://schemas.openxmlformats.org/officeDocument/2006/relationships/image" Target="../media/image160.jpeg"/><Relationship Id="rId10" Type="http://schemas.openxmlformats.org/officeDocument/2006/relationships/image" Target="../media/image165.png"/><Relationship Id="rId4" Type="http://schemas.openxmlformats.org/officeDocument/2006/relationships/image" Target="../media/image159.jpeg"/><Relationship Id="rId9" Type="http://schemas.openxmlformats.org/officeDocument/2006/relationships/image" Target="../media/image164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123.png"/><Relationship Id="rId4" Type="http://schemas.openxmlformats.org/officeDocument/2006/relationships/image" Target="../media/image1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5.png"/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17" Type="http://schemas.openxmlformats.org/officeDocument/2006/relationships/image" Target="../media/image139.png"/><Relationship Id="rId2" Type="http://schemas.openxmlformats.org/officeDocument/2006/relationships/image" Target="../media/image124.png"/><Relationship Id="rId16" Type="http://schemas.openxmlformats.org/officeDocument/2006/relationships/image" Target="../media/image138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png"/><Relationship Id="rId15" Type="http://schemas.openxmlformats.org/officeDocument/2006/relationships/image" Target="../media/image137.png"/><Relationship Id="rId10" Type="http://schemas.openxmlformats.org/officeDocument/2006/relationships/image" Target="../media/image132.png"/><Relationship Id="rId4" Type="http://schemas.openxmlformats.org/officeDocument/2006/relationships/image" Target="../media/image126.png"/><Relationship Id="rId9" Type="http://schemas.openxmlformats.org/officeDocument/2006/relationships/image" Target="../media/image131.png"/><Relationship Id="rId14" Type="http://schemas.openxmlformats.org/officeDocument/2006/relationships/image" Target="../media/image1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7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2.png"/><Relationship Id="rId7" Type="http://schemas.openxmlformats.org/officeDocument/2006/relationships/image" Target="../media/image14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png"/><Relationship Id="rId9" Type="http://schemas.openxmlformats.org/officeDocument/2006/relationships/image" Target="../media/image14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svg"/><Relationship Id="rId13" Type="http://schemas.openxmlformats.org/officeDocument/2006/relationships/image" Target="../media/image142.png"/><Relationship Id="rId3" Type="http://schemas.openxmlformats.org/officeDocument/2006/relationships/image" Target="../media/image122.png"/><Relationship Id="rId7" Type="http://schemas.openxmlformats.org/officeDocument/2006/relationships/image" Target="../media/image151.png"/><Relationship Id="rId12" Type="http://schemas.openxmlformats.org/officeDocument/2006/relationships/image" Target="../media/image15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50.png"/><Relationship Id="rId11" Type="http://schemas.openxmlformats.org/officeDocument/2006/relationships/image" Target="../media/image155.png"/><Relationship Id="rId5" Type="http://schemas.openxmlformats.org/officeDocument/2006/relationships/image" Target="../media/image149.jpeg"/><Relationship Id="rId10" Type="http://schemas.openxmlformats.org/officeDocument/2006/relationships/image" Target="../media/image154.png"/><Relationship Id="rId4" Type="http://schemas.openxmlformats.org/officeDocument/2006/relationships/image" Target="../media/image148.jpeg"/><Relationship Id="rId9" Type="http://schemas.openxmlformats.org/officeDocument/2006/relationships/image" Target="../media/image1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A7DEFC-65AE-0305-70C8-97103EA0D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9CC0C-C698-4E54-8A6B-C32C4010B3B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43433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43433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2CC323-9261-00E6-D7B4-DF172DCE00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50" y="5232400"/>
            <a:ext cx="4419600" cy="1260475"/>
          </a:xfrm>
        </p:spPr>
        <p:txBody>
          <a:bodyPr>
            <a:normAutofit fontScale="90000"/>
          </a:bodyPr>
          <a:lstStyle/>
          <a:p>
            <a:r>
              <a:rPr lang="en-US"/>
              <a:t>Accounting Summit</a:t>
            </a:r>
            <a:br>
              <a:rPr lang="en-US"/>
            </a:br>
            <a:r>
              <a:rPr lang="en-US"/>
              <a:t>-</a:t>
            </a:r>
            <a:br>
              <a:rPr lang="en-US"/>
            </a:br>
            <a:r>
              <a:rPr lang="en-US" sz="3100"/>
              <a:t>e-Invoicing and tax determination: </a:t>
            </a:r>
            <a:br>
              <a:rPr lang="en-US" sz="3100"/>
            </a:br>
            <a:r>
              <a:rPr lang="en-US" sz="3100"/>
              <a:t>How the changed tax regulations affect the AP proces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 sz="2200" i="1"/>
              <a:t>04 September 2025</a:t>
            </a:r>
            <a:endParaRPr lang="en-NL" i="1"/>
          </a:p>
        </p:txBody>
      </p:sp>
    </p:spTree>
    <p:extLst>
      <p:ext uri="{BB962C8B-B14F-4D97-AF65-F5344CB8AC3E}">
        <p14:creationId xmlns:p14="http://schemas.microsoft.com/office/powerpoint/2010/main" val="16739910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C09CF-3D06-9859-790C-4D974E17C4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185CA96-7444-BBCE-CE3B-180B1624EE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15000"/>
          </a:blip>
          <a:srcRect l="5774" r="4622" b="13650"/>
          <a:stretch/>
        </p:blipFill>
        <p:spPr>
          <a:xfrm>
            <a:off x="-44579" y="582870"/>
            <a:ext cx="12236579" cy="5896123"/>
          </a:xfrm>
          <a:prstGeom prst="rect">
            <a:avLst/>
          </a:prstGeom>
          <a:ln w="76200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FC6DC2-E7E9-D0F5-FE9A-808E5A271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>
                <a:cs typeface="Calibri"/>
              </a:rPr>
              <a:t>Automated tax code determination with Vertex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5B247D-A70A-2E8A-2676-9C3A0ECA541A}"/>
              </a:ext>
            </a:extLst>
          </p:cNvPr>
          <p:cNvSpPr txBox="1"/>
          <p:nvPr/>
        </p:nvSpPr>
        <p:spPr>
          <a:xfrm>
            <a:off x="5250614" y="2174316"/>
            <a:ext cx="1101935" cy="429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61896" rtl="0" eaLnBrk="1" fontAlgn="auto" latinLnBrk="0" hangingPunct="1">
              <a:lnSpc>
                <a:spcPts val="13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P</a:t>
            </a:r>
            <a:b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stem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8B8F050-1C6A-BA53-1515-762B40D08236}"/>
              </a:ext>
            </a:extLst>
          </p:cNvPr>
          <p:cNvSpPr/>
          <p:nvPr/>
        </p:nvSpPr>
        <p:spPr>
          <a:xfrm>
            <a:off x="2369437" y="4109259"/>
            <a:ext cx="2235200" cy="758400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F6E96E-7CE2-7D0E-FC3C-B7ED5E161B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979" y="4246481"/>
            <a:ext cx="1713635" cy="4584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5C234E-57FA-129A-984D-62F14A65D258}"/>
              </a:ext>
            </a:extLst>
          </p:cNvPr>
          <p:cNvSpPr/>
          <p:nvPr/>
        </p:nvSpPr>
        <p:spPr>
          <a:xfrm>
            <a:off x="2720547" y="2161921"/>
            <a:ext cx="1615064" cy="589203"/>
          </a:xfrm>
          <a:prstGeom prst="rect">
            <a:avLst/>
          </a:prstGeom>
          <a:solidFill>
            <a:srgbClr val="2C56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lling system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F9C37F3-345B-EAD8-FB72-8EB82F8CEFBC}"/>
              </a:ext>
            </a:extLst>
          </p:cNvPr>
          <p:cNvCxnSpPr>
            <a:cxnSpLocks/>
          </p:cNvCxnSpPr>
          <p:nvPr/>
        </p:nvCxnSpPr>
        <p:spPr>
          <a:xfrm>
            <a:off x="3265769" y="2782825"/>
            <a:ext cx="0" cy="132643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F39A053-4938-EFBB-6EB6-52A6231374AD}"/>
              </a:ext>
            </a:extLst>
          </p:cNvPr>
          <p:cNvCxnSpPr>
            <a:cxnSpLocks/>
          </p:cNvCxnSpPr>
          <p:nvPr/>
        </p:nvCxnSpPr>
        <p:spPr>
          <a:xfrm flipV="1">
            <a:off x="3795401" y="2782829"/>
            <a:ext cx="0" cy="132643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74D1107-F9D7-E704-410C-B566C26584E1}"/>
              </a:ext>
            </a:extLst>
          </p:cNvPr>
          <p:cNvSpPr txBox="1"/>
          <p:nvPr/>
        </p:nvSpPr>
        <p:spPr>
          <a:xfrm>
            <a:off x="5198344" y="2447583"/>
            <a:ext cx="1950648" cy="283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?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?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m?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re?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n?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332" marR="0" lvl="1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endParaRPr kumimoji="0" lang="en-US" sz="26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11E677-825F-A2C8-990F-1A4F4ABA0157}"/>
              </a:ext>
            </a:extLst>
          </p:cNvPr>
          <p:cNvSpPr txBox="1"/>
          <p:nvPr/>
        </p:nvSpPr>
        <p:spPr>
          <a:xfrm>
            <a:off x="5553611" y="2143057"/>
            <a:ext cx="803117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61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636569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QU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CA0CC7-7036-0BD8-818F-C6D5644D3420}"/>
              </a:ext>
            </a:extLst>
          </p:cNvPr>
          <p:cNvSpPr txBox="1"/>
          <p:nvPr/>
        </p:nvSpPr>
        <p:spPr>
          <a:xfrm>
            <a:off x="7809231" y="2456522"/>
            <a:ext cx="4243099" cy="2373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 Amount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 Rate</a:t>
            </a:r>
          </a:p>
          <a:p>
            <a:pPr marL="457167" indent="-457167" defTabSz="914332">
              <a:lnSpc>
                <a:spcPts val="3600"/>
              </a:lnSpc>
              <a:buClr>
                <a:srgbClr val="00933C"/>
              </a:buClr>
              <a:buFont typeface="System Font Regular"/>
              <a:buChar char="+"/>
              <a:defRPr/>
            </a:pPr>
            <a:r>
              <a:rPr lang="en-US" sz="2600">
                <a:solidFill>
                  <a:srgbClr val="343433"/>
                </a:solidFill>
              </a:rPr>
              <a:t>Tax Code </a:t>
            </a:r>
          </a:p>
          <a:p>
            <a:pPr marL="457167" marR="0" lvl="0" indent="-457167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actional </a:t>
            </a:r>
            <a:r>
              <a:rPr lang="en-US" sz="2600">
                <a:solidFill>
                  <a:srgbClr val="343433"/>
                </a:solidFill>
                <a:latin typeface="Calibri" panose="020F0502020204030204"/>
              </a:rPr>
              <a:t>classification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65" marR="0" lvl="1" algn="l" defTabSz="914332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tabLst/>
              <a:defRPr/>
            </a:pPr>
            <a:endParaRPr kumimoji="0" lang="en-US" sz="26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04D135-9246-AD9B-A884-596232957A55}"/>
              </a:ext>
            </a:extLst>
          </p:cNvPr>
          <p:cNvSpPr txBox="1"/>
          <p:nvPr/>
        </p:nvSpPr>
        <p:spPr>
          <a:xfrm>
            <a:off x="7809231" y="2211685"/>
            <a:ext cx="1267012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61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636569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SPONSE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E754069-5B37-ADB9-5AD3-202DCB5967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59" y="1981630"/>
            <a:ext cx="961567" cy="961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7C6AC3CB-2D77-8A89-48FC-D060E33F34C8}"/>
              </a:ext>
            </a:extLst>
          </p:cNvPr>
          <p:cNvGrpSpPr/>
          <p:nvPr/>
        </p:nvGrpSpPr>
        <p:grpSpPr>
          <a:xfrm>
            <a:off x="874524" y="3914803"/>
            <a:ext cx="885567" cy="790177"/>
            <a:chOff x="2080112" y="4417327"/>
            <a:chExt cx="1111125" cy="1111125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55BA67E-F397-C07C-7CF5-8EF235F766E9}"/>
                </a:ext>
              </a:extLst>
            </p:cNvPr>
            <p:cNvSpPr/>
            <p:nvPr/>
          </p:nvSpPr>
          <p:spPr>
            <a:xfrm>
              <a:off x="2080112" y="4417327"/>
              <a:ext cx="1111125" cy="111112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1" name="Picture 17">
              <a:extLst>
                <a:ext uri="{FF2B5EF4-FFF2-40B4-BE49-F238E27FC236}">
                  <a16:creationId xmlns:a16="http://schemas.microsoft.com/office/drawing/2014/main" id="{5DD4226F-A728-06F2-6B8A-CA8C8DBD4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29697" y="4566912"/>
              <a:ext cx="811953" cy="811953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910E6B9C-0FAE-33E2-3D4F-B6E4A152221D}"/>
              </a:ext>
            </a:extLst>
          </p:cNvPr>
          <p:cNvSpPr txBox="1"/>
          <p:nvPr/>
        </p:nvSpPr>
        <p:spPr>
          <a:xfrm>
            <a:off x="606581" y="4758172"/>
            <a:ext cx="1516044" cy="5276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1100"/>
              </a:lnSpc>
              <a:defRPr/>
            </a:pPr>
            <a:r>
              <a:rPr lang="en-US" sz="1200" b="1">
                <a:solidFill>
                  <a:srgbClr val="00B050"/>
                </a:solidFill>
                <a:latin typeface="Calibri" panose="020F0502020204030204"/>
              </a:rPr>
              <a:t>Vertex O Series </a:t>
            </a:r>
          </a:p>
          <a:p>
            <a:pPr algn="ctr">
              <a:lnSpc>
                <a:spcPts val="1100"/>
              </a:lnSpc>
              <a:defRPr/>
            </a:pPr>
            <a:r>
              <a:rPr lang="en-US" sz="1200" b="1">
                <a:solidFill>
                  <a:srgbClr val="00B050"/>
                </a:solidFill>
                <a:latin typeface="Calibri" panose="020F0502020204030204"/>
              </a:rPr>
              <a:t>Tax Calculation Engine</a:t>
            </a:r>
          </a:p>
        </p:txBody>
      </p:sp>
    </p:spTree>
    <p:extLst>
      <p:ext uri="{BB962C8B-B14F-4D97-AF65-F5344CB8AC3E}">
        <p14:creationId xmlns:p14="http://schemas.microsoft.com/office/powerpoint/2010/main" val="14902121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3D34D8-4DBC-9460-2C6A-6DAFF76EC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Кружок">
            <a:extLst>
              <a:ext uri="{FF2B5EF4-FFF2-40B4-BE49-F238E27FC236}">
                <a16:creationId xmlns:a16="http://schemas.microsoft.com/office/drawing/2014/main" id="{8EFC1453-A12B-3903-A5EE-58DDC0AA887B}"/>
              </a:ext>
            </a:extLst>
          </p:cNvPr>
          <p:cNvSpPr/>
          <p:nvPr/>
        </p:nvSpPr>
        <p:spPr>
          <a:xfrm>
            <a:off x="2803288" y="1661789"/>
            <a:ext cx="342671" cy="342676"/>
          </a:xfrm>
          <a:prstGeom prst="ellipse">
            <a:avLst/>
          </a:prstGeom>
          <a:solidFill>
            <a:schemeClr val="accent1">
              <a:alpha val="57106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105" name="Title 3">
            <a:extLst>
              <a:ext uri="{FF2B5EF4-FFF2-40B4-BE49-F238E27FC236}">
                <a16:creationId xmlns:a16="http://schemas.microsoft.com/office/drawing/2014/main" id="{ABE97FF7-DEAE-0C5A-4D21-B7877F51131A}"/>
              </a:ext>
            </a:extLst>
          </p:cNvPr>
          <p:cNvSpPr txBox="1">
            <a:spLocks/>
          </p:cNvSpPr>
          <p:nvPr/>
        </p:nvSpPr>
        <p:spPr>
          <a:xfrm>
            <a:off x="527050" y="256125"/>
            <a:ext cx="10972800" cy="951536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/>
              <a:t>End-to-end e-Invoice l</a:t>
            </a:r>
            <a:r>
              <a:rPr lang="en-US" sz="3600" noProof="0" err="1"/>
              <a:t>ife</a:t>
            </a:r>
            <a:r>
              <a:rPr lang="en-US" sz="3600"/>
              <a:t>-</a:t>
            </a:r>
            <a:r>
              <a:rPr lang="en-US" sz="3600" noProof="0"/>
              <a:t>cycle </a:t>
            </a:r>
            <a:r>
              <a:rPr lang="en-US" sz="3600"/>
              <a:t>from VAT perspective 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387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416A44-413E-5E64-59C3-6F83354243AF}"/>
              </a:ext>
            </a:extLst>
          </p:cNvPr>
          <p:cNvSpPr txBox="1"/>
          <p:nvPr/>
        </p:nvSpPr>
        <p:spPr>
          <a:xfrm>
            <a:off x="758277" y="6560021"/>
            <a:ext cx="18293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© Vertex, Inc. All rights reserved.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520069-B4DC-10EC-8C74-579B876A00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9CC0C-C698-4E54-8A6B-C32C4010B3B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43433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43433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6" name="Text Box 3">
            <a:extLst>
              <a:ext uri="{FF2B5EF4-FFF2-40B4-BE49-F238E27FC236}">
                <a16:creationId xmlns:a16="http://schemas.microsoft.com/office/drawing/2014/main" id="{364178B0-34A6-EA46-2962-0A90AC4FCD9E}"/>
              </a:ext>
            </a:extLst>
          </p:cNvPr>
          <p:cNvSpPr txBox="1"/>
          <p:nvPr/>
        </p:nvSpPr>
        <p:spPr>
          <a:xfrm>
            <a:off x="10572180" y="5056279"/>
            <a:ext cx="491712" cy="2323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>
            <a:lvl1pPr>
              <a:lnSpc>
                <a:spcPct val="90000"/>
              </a:lnSpc>
              <a:defRPr sz="2600" b="0">
                <a:solidFill>
                  <a:srgbClr val="252D30"/>
                </a:solidFill>
                <a:latin typeface="Impact"/>
                <a:ea typeface="Impact"/>
                <a:cs typeface="Impact"/>
                <a:sym typeface="Impac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1" i="0" u="none" strike="noStrike" kern="1200" cap="none" spc="0" normalizeH="0" baseline="0" noProof="0">
              <a:ln>
                <a:noFill/>
              </a:ln>
              <a:solidFill>
                <a:srgbClr val="252D30"/>
              </a:solidFill>
              <a:uLnTx/>
              <a:uFillTx/>
              <a:latin typeface="Impact"/>
              <a:sym typeface="Impac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4CDD29-AC7C-C630-2233-7C8E0E20A54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17891" y="1379921"/>
            <a:ext cx="10659694" cy="3916841"/>
            <a:chOff x="617891" y="1722821"/>
            <a:chExt cx="10659694" cy="3916841"/>
          </a:xfrm>
        </p:grpSpPr>
        <p:sp>
          <p:nvSpPr>
            <p:cNvPr id="14" name="Фигура">
              <a:extLst>
                <a:ext uri="{FF2B5EF4-FFF2-40B4-BE49-F238E27FC236}">
                  <a16:creationId xmlns:a16="http://schemas.microsoft.com/office/drawing/2014/main" id="{596C19EA-268B-CCEA-B2BC-0B215829E78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38900" y="5114746"/>
              <a:ext cx="146304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39" name="Фигура">
              <a:extLst>
                <a:ext uri="{FF2B5EF4-FFF2-40B4-BE49-F238E27FC236}">
                  <a16:creationId xmlns:a16="http://schemas.microsoft.com/office/drawing/2014/main" id="{CD612D19-BE73-18D8-95D4-8C213D52979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962663" y="2118325"/>
              <a:ext cx="283464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1" name="Фигура">
              <a:extLst>
                <a:ext uri="{FF2B5EF4-FFF2-40B4-BE49-F238E27FC236}">
                  <a16:creationId xmlns:a16="http://schemas.microsoft.com/office/drawing/2014/main" id="{5222D8E7-BE18-5C5C-EEFF-4A8818AAFD3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718252" y="2118325"/>
              <a:ext cx="329184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" name="Фигура">
              <a:extLst>
                <a:ext uri="{FF2B5EF4-FFF2-40B4-BE49-F238E27FC236}">
                  <a16:creationId xmlns:a16="http://schemas.microsoft.com/office/drawing/2014/main" id="{2BECF22F-DCF7-349A-3F8D-FB431C44400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1248" y="2105412"/>
              <a:ext cx="2103120" cy="1628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7" h="21536" extrusionOk="0">
                  <a:moveTo>
                    <a:pt x="5182" y="8"/>
                  </a:moveTo>
                  <a:lnTo>
                    <a:pt x="12376" y="18"/>
                  </a:lnTo>
                  <a:cubicBezTo>
                    <a:pt x="17518" y="272"/>
                    <a:pt x="21572" y="4994"/>
                    <a:pt x="21577" y="10736"/>
                  </a:cubicBezTo>
                  <a:cubicBezTo>
                    <a:pt x="21582" y="16650"/>
                    <a:pt x="17320" y="21466"/>
                    <a:pt x="12019" y="21536"/>
                  </a:cubicBezTo>
                  <a:lnTo>
                    <a:pt x="745" y="21523"/>
                  </a:lnTo>
                  <a:cubicBezTo>
                    <a:pt x="345" y="21516"/>
                    <a:pt x="19" y="21163"/>
                    <a:pt x="1" y="20717"/>
                  </a:cubicBezTo>
                  <a:cubicBezTo>
                    <a:pt x="-18" y="20240"/>
                    <a:pt x="317" y="19839"/>
                    <a:pt x="745" y="19826"/>
                  </a:cubicBezTo>
                  <a:lnTo>
                    <a:pt x="11860" y="19813"/>
                  </a:lnTo>
                  <a:cubicBezTo>
                    <a:pt x="16528" y="19876"/>
                    <a:pt x="20291" y="15562"/>
                    <a:pt x="20107" y="10358"/>
                  </a:cubicBezTo>
                  <a:cubicBezTo>
                    <a:pt x="19935" y="5492"/>
                    <a:pt x="16323" y="1661"/>
                    <a:pt x="11957" y="1716"/>
                  </a:cubicBezTo>
                  <a:lnTo>
                    <a:pt x="5132" y="1716"/>
                  </a:lnTo>
                  <a:cubicBezTo>
                    <a:pt x="4699" y="1759"/>
                    <a:pt x="4321" y="1390"/>
                    <a:pt x="4302" y="905"/>
                  </a:cubicBezTo>
                  <a:cubicBezTo>
                    <a:pt x="4282" y="365"/>
                    <a:pt x="4703" y="-64"/>
                    <a:pt x="5182" y="8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6653A0A-95F6-B34D-4EE2-1B004ED7A59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580557" y="1996670"/>
              <a:ext cx="342670" cy="342675"/>
              <a:chOff x="5580557" y="1996670"/>
              <a:chExt cx="342670" cy="342675"/>
            </a:xfrm>
          </p:grpSpPr>
          <p:sp>
            <p:nvSpPr>
              <p:cNvPr id="3" name="Кружок">
                <a:extLst>
                  <a:ext uri="{FF2B5EF4-FFF2-40B4-BE49-F238E27FC236}">
                    <a16:creationId xmlns:a16="http://schemas.microsoft.com/office/drawing/2014/main" id="{2B02F7DD-0A10-E888-8AD6-1771076EF4D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580557" y="1996670"/>
                <a:ext cx="342670" cy="342675"/>
              </a:xfrm>
              <a:prstGeom prst="ellipse">
                <a:avLst/>
              </a:prstGeom>
              <a:solidFill>
                <a:schemeClr val="accent3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" name="Кружок">
                <a:extLst>
                  <a:ext uri="{FF2B5EF4-FFF2-40B4-BE49-F238E27FC236}">
                    <a16:creationId xmlns:a16="http://schemas.microsoft.com/office/drawing/2014/main" id="{975ABF38-E0A7-602D-804E-28B2E8D11A9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675467" y="2091583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sp>
          <p:nvSpPr>
            <p:cNvPr id="13" name="Фигура">
              <a:extLst>
                <a:ext uri="{FF2B5EF4-FFF2-40B4-BE49-F238E27FC236}">
                  <a16:creationId xmlns:a16="http://schemas.microsoft.com/office/drawing/2014/main" id="{5F58C76D-18B9-60EC-891D-D814B64FC41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486623" y="3603713"/>
              <a:ext cx="118872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7" h="21293" extrusionOk="0">
                  <a:moveTo>
                    <a:pt x="457" y="2"/>
                  </a:moveTo>
                  <a:lnTo>
                    <a:pt x="21087" y="2"/>
                  </a:lnTo>
                  <a:cubicBezTo>
                    <a:pt x="21364" y="-127"/>
                    <a:pt x="21589" y="4997"/>
                    <a:pt x="21577" y="11175"/>
                  </a:cubicBezTo>
                  <a:cubicBezTo>
                    <a:pt x="21565" y="16965"/>
                    <a:pt x="21347" y="21473"/>
                    <a:pt x="21087" y="21288"/>
                  </a:cubicBezTo>
                  <a:lnTo>
                    <a:pt x="457" y="21288"/>
                  </a:lnTo>
                  <a:cubicBezTo>
                    <a:pt x="210" y="21071"/>
                    <a:pt x="12" y="16677"/>
                    <a:pt x="1" y="11177"/>
                  </a:cubicBezTo>
                  <a:cubicBezTo>
                    <a:pt x="-11" y="5288"/>
                    <a:pt x="193" y="293"/>
                    <a:pt x="457" y="2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4" name="Фигура">
              <a:extLst>
                <a:ext uri="{FF2B5EF4-FFF2-40B4-BE49-F238E27FC236}">
                  <a16:creationId xmlns:a16="http://schemas.microsoft.com/office/drawing/2014/main" id="{A676E262-918A-5083-34FC-7691B610DF8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962590" y="3618303"/>
              <a:ext cx="356616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38" name="Фигура">
              <a:extLst>
                <a:ext uri="{FF2B5EF4-FFF2-40B4-BE49-F238E27FC236}">
                  <a16:creationId xmlns:a16="http://schemas.microsoft.com/office/drawing/2014/main" id="{6DAD95B1-72E9-81B6-19B7-704CEEFCCD7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454228" y="2118255"/>
              <a:ext cx="155448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5" name="Фигура">
              <a:extLst>
                <a:ext uri="{FF2B5EF4-FFF2-40B4-BE49-F238E27FC236}">
                  <a16:creationId xmlns:a16="http://schemas.microsoft.com/office/drawing/2014/main" id="{C5E97D6F-C706-2FF6-83EC-F4F3876AE3E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678652" y="3616899"/>
              <a:ext cx="128016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6" name="Фигура">
              <a:extLst>
                <a:ext uri="{FF2B5EF4-FFF2-40B4-BE49-F238E27FC236}">
                  <a16:creationId xmlns:a16="http://schemas.microsoft.com/office/drawing/2014/main" id="{CF3C4FC3-E700-F95F-623B-1B4DA8C9617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324" y="3617460"/>
              <a:ext cx="2029515" cy="1627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32" h="21558" extrusionOk="0">
                  <a:moveTo>
                    <a:pt x="20767" y="30"/>
                  </a:moveTo>
                  <a:cubicBezTo>
                    <a:pt x="21149" y="43"/>
                    <a:pt x="21449" y="446"/>
                    <a:pt x="21432" y="926"/>
                  </a:cubicBezTo>
                  <a:cubicBezTo>
                    <a:pt x="21416" y="1374"/>
                    <a:pt x="21125" y="1730"/>
                    <a:pt x="20767" y="1738"/>
                  </a:cubicBezTo>
                  <a:lnTo>
                    <a:pt x="7779" y="1738"/>
                  </a:lnTo>
                  <a:cubicBezTo>
                    <a:pt x="4137" y="2185"/>
                    <a:pt x="1345" y="5995"/>
                    <a:pt x="1297" y="10583"/>
                  </a:cubicBezTo>
                  <a:cubicBezTo>
                    <a:pt x="1245" y="15503"/>
                    <a:pt x="4321" y="19584"/>
                    <a:pt x="8241" y="19797"/>
                  </a:cubicBezTo>
                  <a:lnTo>
                    <a:pt x="8728" y="19830"/>
                  </a:lnTo>
                  <a:cubicBezTo>
                    <a:pt x="9140" y="19792"/>
                    <a:pt x="9486" y="20211"/>
                    <a:pt x="9471" y="20728"/>
                  </a:cubicBezTo>
                  <a:cubicBezTo>
                    <a:pt x="9456" y="21223"/>
                    <a:pt x="9113" y="21600"/>
                    <a:pt x="8720" y="21554"/>
                  </a:cubicBezTo>
                  <a:lnTo>
                    <a:pt x="8344" y="21554"/>
                  </a:lnTo>
                  <a:cubicBezTo>
                    <a:pt x="3810" y="21392"/>
                    <a:pt x="158" y="16836"/>
                    <a:pt x="5" y="11151"/>
                  </a:cubicBezTo>
                  <a:cubicBezTo>
                    <a:pt x="-151" y="5319"/>
                    <a:pt x="3411" y="384"/>
                    <a:pt x="8055" y="0"/>
                  </a:cubicBezTo>
                  <a:lnTo>
                    <a:pt x="20767" y="3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7" name="Фигура">
              <a:extLst>
                <a:ext uri="{FF2B5EF4-FFF2-40B4-BE49-F238E27FC236}">
                  <a16:creationId xmlns:a16="http://schemas.microsoft.com/office/drawing/2014/main" id="{B911B806-B917-365F-D63C-2A8F7865720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013042" y="5115986"/>
              <a:ext cx="3108960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49" name="Фигура">
              <a:extLst>
                <a:ext uri="{FF2B5EF4-FFF2-40B4-BE49-F238E27FC236}">
                  <a16:creationId xmlns:a16="http://schemas.microsoft.com/office/drawing/2014/main" id="{E8499A9D-1D74-CA4A-471C-F7E794CFABE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315406" y="5115986"/>
              <a:ext cx="2895702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7" h="21293" extrusionOk="0">
                  <a:moveTo>
                    <a:pt x="457" y="2"/>
                  </a:moveTo>
                  <a:lnTo>
                    <a:pt x="21087" y="2"/>
                  </a:lnTo>
                  <a:cubicBezTo>
                    <a:pt x="21364" y="-127"/>
                    <a:pt x="21589" y="4997"/>
                    <a:pt x="21577" y="11175"/>
                  </a:cubicBezTo>
                  <a:cubicBezTo>
                    <a:pt x="21565" y="16965"/>
                    <a:pt x="21347" y="21473"/>
                    <a:pt x="21087" y="21288"/>
                  </a:cubicBezTo>
                  <a:lnTo>
                    <a:pt x="457" y="21288"/>
                  </a:lnTo>
                  <a:cubicBezTo>
                    <a:pt x="210" y="21071"/>
                    <a:pt x="12" y="16677"/>
                    <a:pt x="1" y="11177"/>
                  </a:cubicBezTo>
                  <a:cubicBezTo>
                    <a:pt x="-11" y="5288"/>
                    <a:pt x="193" y="293"/>
                    <a:pt x="457" y="2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0" name="Фигура">
              <a:extLst>
                <a:ext uri="{FF2B5EF4-FFF2-40B4-BE49-F238E27FC236}">
                  <a16:creationId xmlns:a16="http://schemas.microsoft.com/office/drawing/2014/main" id="{13B0F67E-7ED4-36CF-8EEA-6BD9C8A7F0E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054805" y="5115986"/>
              <a:ext cx="2387702" cy="1282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293" extrusionOk="0">
                  <a:moveTo>
                    <a:pt x="554" y="2"/>
                  </a:moveTo>
                  <a:lnTo>
                    <a:pt x="20977" y="2"/>
                  </a:lnTo>
                  <a:cubicBezTo>
                    <a:pt x="21314" y="-127"/>
                    <a:pt x="21586" y="4997"/>
                    <a:pt x="21571" y="11175"/>
                  </a:cubicBezTo>
                  <a:cubicBezTo>
                    <a:pt x="21557" y="16965"/>
                    <a:pt x="21292" y="21473"/>
                    <a:pt x="20977" y="21288"/>
                  </a:cubicBezTo>
                  <a:lnTo>
                    <a:pt x="554" y="21288"/>
                  </a:lnTo>
                  <a:cubicBezTo>
                    <a:pt x="254" y="21071"/>
                    <a:pt x="14" y="16677"/>
                    <a:pt x="0" y="11177"/>
                  </a:cubicBezTo>
                  <a:cubicBezTo>
                    <a:pt x="-14" y="5288"/>
                    <a:pt x="233" y="293"/>
                    <a:pt x="554" y="2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1" name="Кружок">
              <a:extLst>
                <a:ext uri="{FF2B5EF4-FFF2-40B4-BE49-F238E27FC236}">
                  <a16:creationId xmlns:a16="http://schemas.microsoft.com/office/drawing/2014/main" id="{336F8B0B-32B9-6346-9494-BC82EAB3B06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17891" y="1722821"/>
              <a:ext cx="919097" cy="919110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2" name="Кружок">
              <a:extLst>
                <a:ext uri="{FF2B5EF4-FFF2-40B4-BE49-F238E27FC236}">
                  <a16:creationId xmlns:a16="http://schemas.microsoft.com/office/drawing/2014/main" id="{095FC651-E5D8-AB30-54FC-6D42CE7CD10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58488" y="4720551"/>
              <a:ext cx="919097" cy="919111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3" name="Кружок">
              <a:extLst>
                <a:ext uri="{FF2B5EF4-FFF2-40B4-BE49-F238E27FC236}">
                  <a16:creationId xmlns:a16="http://schemas.microsoft.com/office/drawing/2014/main" id="{AB57A852-8FA3-C7FC-3D6F-04116FB3851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465405" y="4827471"/>
              <a:ext cx="705262" cy="705272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4" name="Кружок">
              <a:extLst>
                <a:ext uri="{FF2B5EF4-FFF2-40B4-BE49-F238E27FC236}">
                  <a16:creationId xmlns:a16="http://schemas.microsoft.com/office/drawing/2014/main" id="{4D7B604F-3B78-49A0-EFD7-F96C80D75C3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24809" y="1829740"/>
              <a:ext cx="705262" cy="705273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8" name="Кружок">
              <a:extLst>
                <a:ext uri="{FF2B5EF4-FFF2-40B4-BE49-F238E27FC236}">
                  <a16:creationId xmlns:a16="http://schemas.microsoft.com/office/drawing/2014/main" id="{456DE6E7-3B58-9F47-33DA-4DFB783334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898199" y="2099602"/>
              <a:ext cx="152849" cy="152850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F889E45-E5CE-59DE-50D4-9CB420EE3EF6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8773458" y="2004044"/>
              <a:ext cx="342670" cy="342675"/>
              <a:chOff x="8773458" y="2004044"/>
              <a:chExt cx="342670" cy="342675"/>
            </a:xfrm>
          </p:grpSpPr>
          <p:sp>
            <p:nvSpPr>
              <p:cNvPr id="576" name="Кружок">
                <a:extLst>
                  <a:ext uri="{FF2B5EF4-FFF2-40B4-BE49-F238E27FC236}">
                    <a16:creationId xmlns:a16="http://schemas.microsoft.com/office/drawing/2014/main" id="{DA8E7897-9DE1-C2D2-A5A8-109E94691C8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773458" y="2004044"/>
                <a:ext cx="342670" cy="342675"/>
              </a:xfrm>
              <a:prstGeom prst="ellipse">
                <a:avLst/>
              </a:prstGeom>
              <a:solidFill>
                <a:schemeClr val="accent3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77" name="Кружок">
                <a:extLst>
                  <a:ext uri="{FF2B5EF4-FFF2-40B4-BE49-F238E27FC236}">
                    <a16:creationId xmlns:a16="http://schemas.microsoft.com/office/drawing/2014/main" id="{5FD86718-80D2-CD96-144B-6C395C3BF7D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868368" y="2098957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C6B27C8-2E1D-4DE0-AE15-10835A39DDD9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934321" y="5006537"/>
              <a:ext cx="342670" cy="342675"/>
              <a:chOff x="5934321" y="5006537"/>
              <a:chExt cx="342670" cy="342675"/>
            </a:xfrm>
          </p:grpSpPr>
          <p:sp>
            <p:nvSpPr>
              <p:cNvPr id="591" name="Кружок">
                <a:extLst>
                  <a:ext uri="{FF2B5EF4-FFF2-40B4-BE49-F238E27FC236}">
                    <a16:creationId xmlns:a16="http://schemas.microsoft.com/office/drawing/2014/main" id="{B7C69D60-193D-A04F-FB76-8D06FF3C602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934321" y="5006537"/>
                <a:ext cx="342670" cy="342675"/>
              </a:xfrm>
              <a:prstGeom prst="ellipse">
                <a:avLst/>
              </a:prstGeom>
              <a:solidFill>
                <a:schemeClr val="accent3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92" name="Кружок">
                <a:extLst>
                  <a:ext uri="{FF2B5EF4-FFF2-40B4-BE49-F238E27FC236}">
                    <a16:creationId xmlns:a16="http://schemas.microsoft.com/office/drawing/2014/main" id="{213B0728-E8C7-011A-0878-33D852671D6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029231" y="5101450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FC1F3C1-EDD0-EF66-44F7-4F92A7B0A4B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837373" y="5014281"/>
              <a:ext cx="342670" cy="342675"/>
              <a:chOff x="2848352" y="4990081"/>
              <a:chExt cx="342670" cy="342675"/>
            </a:xfrm>
          </p:grpSpPr>
          <p:sp>
            <p:nvSpPr>
              <p:cNvPr id="601" name="Кружок">
                <a:extLst>
                  <a:ext uri="{FF2B5EF4-FFF2-40B4-BE49-F238E27FC236}">
                    <a16:creationId xmlns:a16="http://schemas.microsoft.com/office/drawing/2014/main" id="{0D422B93-BCE4-B7F8-F6A8-5E89D42770E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848352" y="4990081"/>
                <a:ext cx="342670" cy="342675"/>
              </a:xfrm>
              <a:prstGeom prst="ellipse">
                <a:avLst/>
              </a:prstGeom>
              <a:solidFill>
                <a:schemeClr val="accent2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602" name="Кружок">
                <a:extLst>
                  <a:ext uri="{FF2B5EF4-FFF2-40B4-BE49-F238E27FC236}">
                    <a16:creationId xmlns:a16="http://schemas.microsoft.com/office/drawing/2014/main" id="{43725B94-B0AC-FE36-EBA1-EE2EA0EEBDD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943262" y="5084994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AE7610A-3BCB-6915-BDCA-9BB93494F44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8240430" y="5002033"/>
              <a:ext cx="342670" cy="342675"/>
              <a:chOff x="8240430" y="4990081"/>
              <a:chExt cx="342670" cy="342675"/>
            </a:xfrm>
          </p:grpSpPr>
          <p:sp>
            <p:nvSpPr>
              <p:cNvPr id="606" name="Кружок">
                <a:extLst>
                  <a:ext uri="{FF2B5EF4-FFF2-40B4-BE49-F238E27FC236}">
                    <a16:creationId xmlns:a16="http://schemas.microsoft.com/office/drawing/2014/main" id="{C6590D5E-385B-4CAC-4719-B5C825D8BF8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240430" y="4990081"/>
                <a:ext cx="342670" cy="342675"/>
              </a:xfrm>
              <a:prstGeom prst="ellipse">
                <a:avLst/>
              </a:prstGeom>
              <a:solidFill>
                <a:schemeClr val="accent5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607" name="Кружок">
                <a:extLst>
                  <a:ext uri="{FF2B5EF4-FFF2-40B4-BE49-F238E27FC236}">
                    <a16:creationId xmlns:a16="http://schemas.microsoft.com/office/drawing/2014/main" id="{20EAA8C2-C356-7B6A-C66E-67368CA91DF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335341" y="5084994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C8D3C27-E34B-14FC-F50B-5905186B6D6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342818" y="3495144"/>
              <a:ext cx="342670" cy="342675"/>
              <a:chOff x="7342818" y="3495144"/>
              <a:chExt cx="342670" cy="342675"/>
            </a:xfrm>
          </p:grpSpPr>
          <p:sp>
            <p:nvSpPr>
              <p:cNvPr id="8" name="Кружок">
                <a:extLst>
                  <a:ext uri="{FF2B5EF4-FFF2-40B4-BE49-F238E27FC236}">
                    <a16:creationId xmlns:a16="http://schemas.microsoft.com/office/drawing/2014/main" id="{CDD7124E-6074-8FCD-FCDD-68684250873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342818" y="3495144"/>
                <a:ext cx="342670" cy="342675"/>
              </a:xfrm>
              <a:prstGeom prst="ellipse">
                <a:avLst/>
              </a:prstGeom>
              <a:solidFill>
                <a:schemeClr val="accent3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9" name="Кружок">
                <a:extLst>
                  <a:ext uri="{FF2B5EF4-FFF2-40B4-BE49-F238E27FC236}">
                    <a16:creationId xmlns:a16="http://schemas.microsoft.com/office/drawing/2014/main" id="{913DCD0E-4C94-0460-150D-E497EFE4B46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437728" y="3590057"/>
                <a:ext cx="152848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B835FF5-4DBB-79C0-0ECF-2D5EC6C354C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791062" y="3493037"/>
              <a:ext cx="342671" cy="342676"/>
              <a:chOff x="3791062" y="3493037"/>
              <a:chExt cx="342671" cy="342676"/>
            </a:xfrm>
          </p:grpSpPr>
          <p:sp>
            <p:nvSpPr>
              <p:cNvPr id="10" name="Кружок">
                <a:extLst>
                  <a:ext uri="{FF2B5EF4-FFF2-40B4-BE49-F238E27FC236}">
                    <a16:creationId xmlns:a16="http://schemas.microsoft.com/office/drawing/2014/main" id="{C3967CD3-F00A-B575-A128-4165E78B10F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791062" y="3493037"/>
                <a:ext cx="342671" cy="342676"/>
              </a:xfrm>
              <a:prstGeom prst="ellipse">
                <a:avLst/>
              </a:prstGeom>
              <a:solidFill>
                <a:schemeClr val="accent1">
                  <a:alpha val="57106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1" name="Кружок">
                <a:extLst>
                  <a:ext uri="{FF2B5EF4-FFF2-40B4-BE49-F238E27FC236}">
                    <a16:creationId xmlns:a16="http://schemas.microsoft.com/office/drawing/2014/main" id="{5F676FB4-8E21-29BF-A5F2-F1CFB59821C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885973" y="3587950"/>
                <a:ext cx="152849" cy="15285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kumimoji="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Calibri" panose="020F0502020204030204"/>
                  <a:ea typeface="+mn-ea"/>
                  <a:cs typeface="+mn-cs"/>
                  <a:sym typeface="Helvetica Neue Medium"/>
                </a:endParaRPr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983E1A8-4CA6-C476-55EA-6A7D3F33F9B6}"/>
              </a:ext>
            </a:extLst>
          </p:cNvPr>
          <p:cNvSpPr txBox="1"/>
          <p:nvPr/>
        </p:nvSpPr>
        <p:spPr>
          <a:xfrm>
            <a:off x="1864793" y="2111827"/>
            <a:ext cx="2021180" cy="338554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lnSpc>
                <a:spcPct val="100000"/>
              </a:lnSpc>
              <a:defRPr/>
            </a:pPr>
            <a:r>
              <a:rPr lang="de-DE" sz="1600" b="1">
                <a:solidFill>
                  <a:schemeClr val="accent4"/>
                </a:solidFill>
                <a:highlight>
                  <a:srgbClr val="FFFFFF"/>
                </a:highlight>
                <a:latin typeface="Calibri" panose="020F0502020204030204"/>
                <a:cs typeface="Arial"/>
                <a:sym typeface="Arial"/>
              </a:rPr>
              <a:t>e-Invoice reception</a:t>
            </a:r>
            <a:endParaRPr lang="en-US" sz="1600" b="1">
              <a:solidFill>
                <a:schemeClr val="accent4"/>
              </a:solidFill>
              <a:highlight>
                <a:srgbClr val="FFFFFF"/>
              </a:highlight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17C1C4-2C33-787C-4BE5-1B63FE407688}"/>
              </a:ext>
            </a:extLst>
          </p:cNvPr>
          <p:cNvSpPr txBox="1"/>
          <p:nvPr/>
        </p:nvSpPr>
        <p:spPr>
          <a:xfrm>
            <a:off x="4680005" y="2111827"/>
            <a:ext cx="2021180" cy="281103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lvl="0" algn="ctr">
              <a:lnSpc>
                <a:spcPts val="1400"/>
              </a:lnSpc>
              <a:defRPr/>
            </a:pPr>
            <a:r>
              <a:rPr lang="de-DE" sz="1600" b="1">
                <a:solidFill>
                  <a:schemeClr val="accent4"/>
                </a:solidFill>
                <a:highlight>
                  <a:srgbClr val="FFFFFF"/>
                </a:highlight>
                <a:cs typeface="Arial"/>
                <a:sym typeface="Arial"/>
              </a:rPr>
              <a:t>e-Invoice validation </a:t>
            </a:r>
            <a:endParaRPr lang="en-US" sz="1600" b="1">
              <a:solidFill>
                <a:schemeClr val="accent4"/>
              </a:solidFill>
              <a:highlight>
                <a:srgbClr val="FFFFFF"/>
              </a:highlight>
              <a:cs typeface="Arial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2C35CC5-0EE4-A415-9417-0EF828D0B1C1}"/>
              </a:ext>
            </a:extLst>
          </p:cNvPr>
          <p:cNvSpPr txBox="1"/>
          <p:nvPr/>
        </p:nvSpPr>
        <p:spPr>
          <a:xfrm>
            <a:off x="7816137" y="2111612"/>
            <a:ext cx="20211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600" b="1">
                <a:solidFill>
                  <a:srgbClr val="0070C0"/>
                </a:solidFill>
                <a:cs typeface="Arial"/>
                <a:sym typeface="Arial"/>
              </a:rPr>
              <a:t>AP-Automation process with posting </a:t>
            </a:r>
            <a:br>
              <a:rPr lang="en-US" sz="1600" b="1">
                <a:solidFill>
                  <a:srgbClr val="0070C0"/>
                </a:solidFill>
                <a:cs typeface="Arial"/>
                <a:sym typeface="Arial"/>
              </a:rPr>
            </a:br>
            <a:r>
              <a:rPr lang="en-US" sz="1600" b="1">
                <a:solidFill>
                  <a:srgbClr val="0070C0"/>
                </a:solidFill>
                <a:cs typeface="Arial"/>
                <a:sym typeface="Arial"/>
              </a:rPr>
              <a:t>(ERP/3</a:t>
            </a:r>
            <a:r>
              <a:rPr lang="en-US" sz="1600" b="1" baseline="30000">
                <a:solidFill>
                  <a:srgbClr val="0070C0"/>
                </a:solidFill>
                <a:cs typeface="Arial"/>
                <a:sym typeface="Arial"/>
              </a:rPr>
              <a:t>rd</a:t>
            </a:r>
            <a:r>
              <a:rPr lang="en-US" sz="1600" b="1">
                <a:solidFill>
                  <a:srgbClr val="0070C0"/>
                </a:solidFill>
                <a:cs typeface="Arial"/>
                <a:sym typeface="Arial"/>
              </a:rPr>
              <a:t> party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9A00E8C-C786-F831-71FA-0E3CCF47653C}"/>
              </a:ext>
            </a:extLst>
          </p:cNvPr>
          <p:cNvSpPr txBox="1"/>
          <p:nvPr/>
        </p:nvSpPr>
        <p:spPr>
          <a:xfrm>
            <a:off x="2957325" y="3625004"/>
            <a:ext cx="2021180" cy="640175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lvl="0" algn="ctr">
              <a:lnSpc>
                <a:spcPts val="1400"/>
              </a:lnSpc>
              <a:defRPr/>
            </a:pP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  <a:t>Validate VAT amounts charged by vendor </a:t>
            </a:r>
            <a:endParaRPr lang="en-US" sz="1600" b="1">
              <a:solidFill>
                <a:schemeClr val="accent4"/>
              </a:solidFill>
              <a:highlight>
                <a:srgbClr val="FFFFFF"/>
              </a:highlight>
              <a:cs typeface="Arial"/>
              <a:sym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1F8DB31-CE45-6836-1814-E64BEB34198C}"/>
              </a:ext>
            </a:extLst>
          </p:cNvPr>
          <p:cNvSpPr txBox="1"/>
          <p:nvPr/>
        </p:nvSpPr>
        <p:spPr>
          <a:xfrm>
            <a:off x="6609957" y="3625004"/>
            <a:ext cx="2021180" cy="640175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lvl="0" algn="ctr">
              <a:lnSpc>
                <a:spcPts val="1400"/>
              </a:lnSpc>
              <a:defRPr/>
            </a:pP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  <a:t>Determination of VAT/GST  </a:t>
            </a:r>
          </a:p>
          <a:p>
            <a:pPr lvl="0" algn="ctr">
              <a:lnSpc>
                <a:spcPts val="1400"/>
              </a:lnSpc>
              <a:defRPr/>
            </a:pP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  <a:t>and Sales &amp; Use ta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06E42F1-F08B-FAF7-B426-2A563BA3CC7C}"/>
              </a:ext>
            </a:extLst>
          </p:cNvPr>
          <p:cNvSpPr txBox="1"/>
          <p:nvPr/>
        </p:nvSpPr>
        <p:spPr>
          <a:xfrm>
            <a:off x="1774145" y="5168587"/>
            <a:ext cx="2451506" cy="584775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lnSpc>
                <a:spcPct val="100000"/>
              </a:lnSpc>
              <a:defRPr/>
            </a:pPr>
            <a:r>
              <a:rPr lang="de-DE" sz="1600" b="1" err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Tax</a:t>
            </a:r>
            <a:r>
              <a:rPr lang="de-DE" sz="1600" b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 code </a:t>
            </a:r>
            <a:r>
              <a:rPr lang="de-DE" sz="1600" b="1" err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determination</a:t>
            </a:r>
            <a:br>
              <a:rPr lang="de-DE" sz="1600" b="1">
                <a:highlight>
                  <a:srgbClr val="FFFFFF"/>
                </a:highlight>
              </a:rPr>
            </a:br>
            <a:r>
              <a:rPr lang="de-DE" sz="1600" b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 (ERP </a:t>
            </a:r>
            <a:r>
              <a:rPr lang="de-DE" sz="1600" b="1" err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agnostic</a:t>
            </a:r>
            <a:r>
              <a:rPr lang="de-DE" sz="1600" b="1">
                <a:solidFill>
                  <a:schemeClr val="accent4"/>
                </a:solidFill>
                <a:highlight>
                  <a:srgbClr val="FFFFFF"/>
                </a:highlight>
                <a:sym typeface="Arial"/>
              </a:rPr>
              <a:t>)</a:t>
            </a:r>
            <a:endParaRPr lang="en-US" sz="1600" b="1">
              <a:solidFill>
                <a:schemeClr val="accent4"/>
              </a:solidFill>
              <a:highlight>
                <a:srgbClr val="FFFFFF"/>
              </a:highlight>
              <a:cs typeface="Arial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84F91A-E8C6-4E87-57B1-A82AE7D51DD8}"/>
              </a:ext>
            </a:extLst>
          </p:cNvPr>
          <p:cNvSpPr txBox="1"/>
          <p:nvPr/>
        </p:nvSpPr>
        <p:spPr>
          <a:xfrm>
            <a:off x="4949499" y="5165541"/>
            <a:ext cx="2293512" cy="46063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lvl="0" algn="ctr">
              <a:lnSpc>
                <a:spcPts val="1400"/>
              </a:lnSpc>
              <a:defRPr/>
            </a:pP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  <a:cs typeface="Arial"/>
                <a:sym typeface="Arial"/>
              </a:rPr>
              <a:t>Periodic VAT data </a:t>
            </a:r>
            <a:b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  <a:cs typeface="Arial"/>
                <a:sym typeface="Arial"/>
              </a:rPr>
            </a:b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  <a:cs typeface="Arial"/>
                <a:sym typeface="Arial"/>
              </a:rPr>
              <a:t>extraction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649486DA-4B02-BE3E-93DC-A32F1465A8BE}"/>
              </a:ext>
            </a:extLst>
          </p:cNvPr>
          <p:cNvSpPr txBox="1"/>
          <p:nvPr/>
        </p:nvSpPr>
        <p:spPr>
          <a:xfrm>
            <a:off x="7684351" y="5165541"/>
            <a:ext cx="1888457" cy="640175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defRPr/>
            </a:pP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  <a:t>VAT return preparation </a:t>
            </a:r>
            <a:b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</a:br>
            <a:r>
              <a:rPr lang="en-US" sz="1600" b="1">
                <a:solidFill>
                  <a:schemeClr val="accent4"/>
                </a:solidFill>
                <a:highlight>
                  <a:srgbClr val="FFFFFF"/>
                </a:highlight>
              </a:rPr>
              <a:t>and submission </a:t>
            </a:r>
          </a:p>
        </p:txBody>
      </p:sp>
    </p:spTree>
    <p:extLst>
      <p:ext uri="{BB962C8B-B14F-4D97-AF65-F5344CB8AC3E}">
        <p14:creationId xmlns:p14="http://schemas.microsoft.com/office/powerpoint/2010/main" val="22018499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7" grpId="0"/>
      <p:bldP spid="28" grpId="0" animBg="1"/>
      <p:bldP spid="29" grpId="0" animBg="1"/>
      <p:bldP spid="30" grpId="0" animBg="1"/>
      <p:bldP spid="31" grpId="0" animBg="1"/>
      <p:bldP spid="5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>
            <a:extLst>
              <a:ext uri="{FF2B5EF4-FFF2-40B4-BE49-F238E27FC236}">
                <a16:creationId xmlns:a16="http://schemas.microsoft.com/office/drawing/2014/main" id="{56664025-6E8E-FDC3-ACAB-DA4D428EB253}"/>
              </a:ext>
            </a:extLst>
          </p:cNvPr>
          <p:cNvSpPr>
            <a:spLocks noChangeAspect="1"/>
          </p:cNvSpPr>
          <p:nvPr/>
        </p:nvSpPr>
        <p:spPr>
          <a:xfrm>
            <a:off x="1673821" y="4727714"/>
            <a:ext cx="859513" cy="859513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0" b="1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BAAD7D5-9E4A-25F1-7839-6A79351C3DFD}"/>
              </a:ext>
            </a:extLst>
          </p:cNvPr>
          <p:cNvSpPr txBox="1">
            <a:spLocks/>
          </p:cNvSpPr>
          <p:nvPr/>
        </p:nvSpPr>
        <p:spPr>
          <a:xfrm>
            <a:off x="1244161" y="4808846"/>
            <a:ext cx="1718930" cy="7783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400" b="1">
                <a:solidFill>
                  <a:schemeClr val="tx2"/>
                </a:solidFill>
              </a:rPr>
              <a:t>Global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400" b="1">
                <a:solidFill>
                  <a:schemeClr val="tx2"/>
                </a:solidFill>
              </a:rPr>
              <a:t>E-Invoic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EFCDB2-1BA0-DA5E-E1F1-D09607A4EB6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37" r="9760"/>
          <a:stretch/>
        </p:blipFill>
        <p:spPr>
          <a:xfrm>
            <a:off x="1942033" y="5014585"/>
            <a:ext cx="353847" cy="46313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8B5262-8E15-4B08-E8A7-6D73BB8E5F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15000"/>
          </a:blip>
          <a:srcRect l="5774" r="4622" b="13650"/>
          <a:stretch/>
        </p:blipFill>
        <p:spPr>
          <a:xfrm>
            <a:off x="-44579" y="582870"/>
            <a:ext cx="12236579" cy="5896123"/>
          </a:xfrm>
          <a:prstGeom prst="rect">
            <a:avLst/>
          </a:prstGeom>
          <a:ln w="76200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085233-0833-9DA7-2FAC-91F7F096D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What are the advantages for AP and Tax departments?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C0CB0C-7A21-043D-A7E0-76CED45845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2B757EF-542F-7759-F21E-3FF8E80CCB41}"/>
              </a:ext>
            </a:extLst>
          </p:cNvPr>
          <p:cNvSpPr/>
          <p:nvPr/>
        </p:nvSpPr>
        <p:spPr>
          <a:xfrm>
            <a:off x="1017847" y="2466421"/>
            <a:ext cx="2979035" cy="2685238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180" tIns="85180" rIns="85180" bIns="559045" numCol="1" spcCol="1270" anchor="t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/>
              <a:buChar char="•"/>
            </a:pPr>
            <a:r>
              <a:rPr lang="de-DE"/>
              <a:t>No supplier onboarding necessary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/>
              <a:t>Automated e-Invoice validation</a:t>
            </a:r>
            <a:endParaRPr lang="en-US" err="1"/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/>
              <a:t>Header and line level data</a:t>
            </a:r>
            <a:endParaRPr lang="en-US"/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/>
              <a:t>Consistent high invoice quality</a:t>
            </a:r>
            <a:endParaRPr lang="en-US"/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895B4A38-3700-2FE2-E9FC-8DFD3A1FAB00}"/>
              </a:ext>
            </a:extLst>
          </p:cNvPr>
          <p:cNvSpPr/>
          <p:nvPr/>
        </p:nvSpPr>
        <p:spPr>
          <a:xfrm>
            <a:off x="2474519" y="3287196"/>
            <a:ext cx="3222366" cy="3222366"/>
          </a:xfrm>
          <a:prstGeom prst="leftCircularArrow">
            <a:avLst>
              <a:gd name="adj1" fmla="val 3973"/>
              <a:gd name="adj2" fmla="val 498554"/>
              <a:gd name="adj3" fmla="val 2274065"/>
              <a:gd name="adj4" fmla="val 9024489"/>
              <a:gd name="adj5" fmla="val 4635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F7C27AE-0729-DAFE-8258-589F2D21C895}"/>
              </a:ext>
            </a:extLst>
          </p:cNvPr>
          <p:cNvSpPr/>
          <p:nvPr/>
        </p:nvSpPr>
        <p:spPr>
          <a:xfrm>
            <a:off x="1613654" y="4677794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e-Invoice reception</a:t>
            </a:r>
            <a:endParaRPr lang="en-US" sz="2900" kern="12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E1EB6AF-F14B-D193-011F-2E47278FCD78}"/>
              </a:ext>
            </a:extLst>
          </p:cNvPr>
          <p:cNvSpPr/>
          <p:nvPr/>
        </p:nvSpPr>
        <p:spPr>
          <a:xfrm>
            <a:off x="4606482" y="2940287"/>
            <a:ext cx="2979035" cy="2646940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180" tIns="559046" rIns="85180" bIns="85179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800" kern="1200"/>
              <a:t>No need to replace current AP-workflow</a:t>
            </a:r>
            <a:endParaRPr lang="en-US" sz="1800" kern="1200"/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800" kern="1200"/>
              <a:t>Better matching results</a:t>
            </a:r>
            <a:endParaRPr lang="en-US" sz="1800" kern="1200"/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800" kern="1200"/>
              <a:t>Shorter lead times </a:t>
            </a:r>
          </a:p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/>
              <a:t>Less invoice approvals required</a:t>
            </a:r>
            <a:endParaRPr lang="en-US" sz="1800" kern="1200"/>
          </a:p>
        </p:txBody>
      </p:sp>
      <p:sp>
        <p:nvSpPr>
          <p:cNvPr id="12" name="Arrow: Circular 11">
            <a:extLst>
              <a:ext uri="{FF2B5EF4-FFF2-40B4-BE49-F238E27FC236}">
                <a16:creationId xmlns:a16="http://schemas.microsoft.com/office/drawing/2014/main" id="{7F548F60-75BF-6C40-817C-CBCCAC65AD05}"/>
              </a:ext>
            </a:extLst>
          </p:cNvPr>
          <p:cNvSpPr/>
          <p:nvPr/>
        </p:nvSpPr>
        <p:spPr>
          <a:xfrm>
            <a:off x="6040811" y="1495680"/>
            <a:ext cx="3564955" cy="3564955"/>
          </a:xfrm>
          <a:prstGeom prst="circularArrow">
            <a:avLst>
              <a:gd name="adj1" fmla="val 3591"/>
              <a:gd name="adj2" fmla="val 446524"/>
              <a:gd name="adj3" fmla="val 19377965"/>
              <a:gd name="adj4" fmla="val 12575511"/>
              <a:gd name="adj5" fmla="val 4189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6498FE2-3FFA-EFE8-0863-2DC87DCDE533}"/>
              </a:ext>
            </a:extLst>
          </p:cNvPr>
          <p:cNvSpPr/>
          <p:nvPr/>
        </p:nvSpPr>
        <p:spPr>
          <a:xfrm>
            <a:off x="5202289" y="2466421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AP-Automation</a:t>
            </a:r>
            <a:endParaRPr lang="en-US" sz="2900" kern="120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2CB507F-5449-D0C2-0725-3882FACC2386}"/>
              </a:ext>
            </a:extLst>
          </p:cNvPr>
          <p:cNvSpPr/>
          <p:nvPr/>
        </p:nvSpPr>
        <p:spPr>
          <a:xfrm>
            <a:off x="8195117" y="2466421"/>
            <a:ext cx="2979035" cy="2685238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180" tIns="85180" rIns="85180" bIns="559045" numCol="1" spcCol="1270" anchor="t" anchorCtr="0">
            <a:no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/>
              <a:t>Calculate and validate the VAT amount and automatically determine the correct tax code</a:t>
            </a:r>
          </a:p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/>
              <a:t>Faster and more accurate data for VAT-reporting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/>
              <a:t>Reconciliation from </a:t>
            </a:r>
            <a:br>
              <a:rPr lang="de-DE"/>
            </a:br>
            <a:r>
              <a:rPr lang="de-DE"/>
              <a:t>e-Invoices to VAT-reporting</a:t>
            </a:r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6EEA16C-4D77-8005-6608-818B7661ECBC}"/>
              </a:ext>
            </a:extLst>
          </p:cNvPr>
          <p:cNvSpPr/>
          <p:nvPr/>
        </p:nvSpPr>
        <p:spPr>
          <a:xfrm>
            <a:off x="8790924" y="4677794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VAT-reporting</a:t>
            </a:r>
            <a:endParaRPr lang="en-US" sz="2900" kern="12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D2114A1-83BA-9819-F79D-230A706ECA64}"/>
              </a:ext>
            </a:extLst>
          </p:cNvPr>
          <p:cNvSpPr txBox="1">
            <a:spLocks/>
          </p:cNvSpPr>
          <p:nvPr/>
        </p:nvSpPr>
        <p:spPr>
          <a:xfrm>
            <a:off x="6090349" y="3722684"/>
            <a:ext cx="467997" cy="2190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0">
                <a:solidFill>
                  <a:schemeClr val="tx2"/>
                </a:solidFill>
              </a:rPr>
              <a:t>Global</a:t>
            </a:r>
          </a:p>
        </p:txBody>
      </p:sp>
    </p:spTree>
    <p:extLst>
      <p:ext uri="{BB962C8B-B14F-4D97-AF65-F5344CB8AC3E}">
        <p14:creationId xmlns:p14="http://schemas.microsoft.com/office/powerpoint/2010/main" val="6111531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EB7496-B556-34E0-71B5-F2FF5C4A96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15000"/>
          </a:blip>
          <a:srcRect l="5774" r="4622" b="13650"/>
          <a:stretch/>
        </p:blipFill>
        <p:spPr>
          <a:xfrm>
            <a:off x="-44579" y="582870"/>
            <a:ext cx="12236579" cy="5896123"/>
          </a:xfrm>
          <a:prstGeom prst="rect">
            <a:avLst/>
          </a:prstGeom>
          <a:ln w="76200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3C4E10-659D-23BC-DA9D-D26AA213A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Enterprise-wide impact of e-Invoicing requir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816C3-8434-CB1A-B5BA-E4AE0E7216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D6B06CF-DD12-C474-EF5D-F55B30F4C8F0}"/>
              </a:ext>
            </a:extLst>
          </p:cNvPr>
          <p:cNvSpPr>
            <a:spLocks noChangeAspect="1"/>
          </p:cNvSpPr>
          <p:nvPr/>
        </p:nvSpPr>
        <p:spPr>
          <a:xfrm>
            <a:off x="3149348" y="1724290"/>
            <a:ext cx="3200400" cy="3200400"/>
          </a:xfrm>
          <a:prstGeom prst="ellipse">
            <a:avLst/>
          </a:prstGeom>
          <a:noFill/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18072B0-9EE1-58BE-C768-B2012AC407DF}"/>
              </a:ext>
            </a:extLst>
          </p:cNvPr>
          <p:cNvSpPr>
            <a:spLocks noChangeAspect="1"/>
          </p:cNvSpPr>
          <p:nvPr/>
        </p:nvSpPr>
        <p:spPr>
          <a:xfrm>
            <a:off x="5152031" y="1755192"/>
            <a:ext cx="3200400" cy="3200400"/>
          </a:xfrm>
          <a:prstGeom prst="ellipse">
            <a:avLst/>
          </a:prstGeom>
          <a:noFill/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77F78E-647D-156D-246F-195DB0BF04EE}"/>
              </a:ext>
            </a:extLst>
          </p:cNvPr>
          <p:cNvSpPr>
            <a:spLocks noChangeAspect="1"/>
          </p:cNvSpPr>
          <p:nvPr/>
        </p:nvSpPr>
        <p:spPr>
          <a:xfrm>
            <a:off x="4120282" y="3080017"/>
            <a:ext cx="3200400" cy="3200400"/>
          </a:xfrm>
          <a:prstGeom prst="ellipse">
            <a:avLst/>
          </a:prstGeom>
          <a:noFill/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425C386-630A-0CBF-2F66-2796D20C0C74}"/>
              </a:ext>
            </a:extLst>
          </p:cNvPr>
          <p:cNvSpPr>
            <a:spLocks noChangeAspect="1"/>
          </p:cNvSpPr>
          <p:nvPr/>
        </p:nvSpPr>
        <p:spPr>
          <a:xfrm>
            <a:off x="4765110" y="2862900"/>
            <a:ext cx="1828800" cy="18288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8D479BF-C9CB-15AF-689A-C7BD5EC623C0}"/>
              </a:ext>
            </a:extLst>
          </p:cNvPr>
          <p:cNvSpPr txBox="1">
            <a:spLocks/>
          </p:cNvSpPr>
          <p:nvPr/>
        </p:nvSpPr>
        <p:spPr>
          <a:xfrm>
            <a:off x="4839417" y="3163310"/>
            <a:ext cx="1718930" cy="7783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2"/>
                </a:solidFill>
              </a:rPr>
              <a:t>Global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2"/>
                </a:solidFill>
              </a:rPr>
              <a:t>e-Invoicing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47736B86-5E10-20A4-E56B-9243A74C05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37" r="9760"/>
          <a:stretch/>
        </p:blipFill>
        <p:spPr>
          <a:xfrm>
            <a:off x="5521958" y="3946185"/>
            <a:ext cx="353847" cy="463138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26D3D1FB-5D4C-4EFF-9967-EACB776B6DFE}"/>
              </a:ext>
            </a:extLst>
          </p:cNvPr>
          <p:cNvGrpSpPr/>
          <p:nvPr/>
        </p:nvGrpSpPr>
        <p:grpSpPr>
          <a:xfrm>
            <a:off x="3195580" y="2052969"/>
            <a:ext cx="1957327" cy="462501"/>
            <a:chOff x="660903" y="1805237"/>
            <a:chExt cx="1957327" cy="462501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DC80681B-6558-2924-5B1E-9C1B69374236}"/>
                </a:ext>
              </a:extLst>
            </p:cNvPr>
            <p:cNvSpPr/>
            <p:nvPr/>
          </p:nvSpPr>
          <p:spPr>
            <a:xfrm>
              <a:off x="660903" y="1805237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Text Placeholder 2">
              <a:extLst>
                <a:ext uri="{FF2B5EF4-FFF2-40B4-BE49-F238E27FC236}">
                  <a16:creationId xmlns:a16="http://schemas.microsoft.com/office/drawing/2014/main" id="{9D385C03-4599-DD31-C5E3-7470E932EE15}"/>
                </a:ext>
              </a:extLst>
            </p:cNvPr>
            <p:cNvSpPr txBox="1">
              <a:spLocks/>
            </p:cNvSpPr>
            <p:nvPr/>
          </p:nvSpPr>
          <p:spPr>
            <a:xfrm>
              <a:off x="780101" y="1858745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IT/Technology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0221E78-7610-2FED-1C3F-93B9043BD326}"/>
              </a:ext>
            </a:extLst>
          </p:cNvPr>
          <p:cNvGrpSpPr/>
          <p:nvPr/>
        </p:nvGrpSpPr>
        <p:grpSpPr>
          <a:xfrm>
            <a:off x="7494420" y="4277151"/>
            <a:ext cx="1957327" cy="462501"/>
            <a:chOff x="6592113" y="3975454"/>
            <a:chExt cx="1957327" cy="46250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0A73F0C-D550-9451-6ED8-142C177DF0DD}"/>
                </a:ext>
              </a:extLst>
            </p:cNvPr>
            <p:cNvSpPr/>
            <p:nvPr/>
          </p:nvSpPr>
          <p:spPr>
            <a:xfrm>
              <a:off x="6592113" y="3975454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EA3F443D-7717-023B-B67C-0DBCBB30AF26}"/>
                </a:ext>
              </a:extLst>
            </p:cNvPr>
            <p:cNvSpPr txBox="1">
              <a:spLocks/>
            </p:cNvSpPr>
            <p:nvPr/>
          </p:nvSpPr>
          <p:spPr>
            <a:xfrm>
              <a:off x="6711311" y="4051136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Sale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0411367-ABA0-1028-93F2-ECAED5CB3F68}"/>
              </a:ext>
            </a:extLst>
          </p:cNvPr>
          <p:cNvGrpSpPr/>
          <p:nvPr/>
        </p:nvGrpSpPr>
        <p:grpSpPr>
          <a:xfrm>
            <a:off x="6061686" y="2015282"/>
            <a:ext cx="1957327" cy="462501"/>
            <a:chOff x="6072697" y="2281583"/>
            <a:chExt cx="1957327" cy="4625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445D90F-E309-26E2-3027-87E8E020C470}"/>
                </a:ext>
              </a:extLst>
            </p:cNvPr>
            <p:cNvSpPr/>
            <p:nvPr/>
          </p:nvSpPr>
          <p:spPr>
            <a:xfrm>
              <a:off x="6072697" y="2281583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 Placeholder 2">
              <a:extLst>
                <a:ext uri="{FF2B5EF4-FFF2-40B4-BE49-F238E27FC236}">
                  <a16:creationId xmlns:a16="http://schemas.microsoft.com/office/drawing/2014/main" id="{2DDA8D8D-92AC-723E-2CE5-55D2C069D2F6}"/>
                </a:ext>
              </a:extLst>
            </p:cNvPr>
            <p:cNvSpPr txBox="1">
              <a:spLocks/>
            </p:cNvSpPr>
            <p:nvPr/>
          </p:nvSpPr>
          <p:spPr>
            <a:xfrm>
              <a:off x="6145696" y="2333346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Procurement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40EFF2F-B043-AC4C-387D-BBAEFDE9A193}"/>
              </a:ext>
            </a:extLst>
          </p:cNvPr>
          <p:cNvGrpSpPr/>
          <p:nvPr/>
        </p:nvGrpSpPr>
        <p:grpSpPr>
          <a:xfrm>
            <a:off x="7494420" y="3101189"/>
            <a:ext cx="1957327" cy="462501"/>
            <a:chOff x="6885963" y="2887451"/>
            <a:chExt cx="1957327" cy="462501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0104ABA-4218-C52E-1354-5C7AB7A339C9}"/>
                </a:ext>
              </a:extLst>
            </p:cNvPr>
            <p:cNvSpPr/>
            <p:nvPr/>
          </p:nvSpPr>
          <p:spPr>
            <a:xfrm>
              <a:off x="6885963" y="2887451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9B7243CF-4310-9D53-9508-44C49201B1E3}"/>
                </a:ext>
              </a:extLst>
            </p:cNvPr>
            <p:cNvSpPr txBox="1">
              <a:spLocks/>
            </p:cNvSpPr>
            <p:nvPr/>
          </p:nvSpPr>
          <p:spPr>
            <a:xfrm>
              <a:off x="7005161" y="2951143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Supply Chai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46CDDCD-AFFA-BE68-8325-873DCCCD1F73}"/>
              </a:ext>
            </a:extLst>
          </p:cNvPr>
          <p:cNvGrpSpPr/>
          <p:nvPr/>
        </p:nvGrpSpPr>
        <p:grpSpPr>
          <a:xfrm>
            <a:off x="6061686" y="5247796"/>
            <a:ext cx="1957327" cy="462501"/>
            <a:chOff x="5538814" y="4863037"/>
            <a:chExt cx="1957327" cy="462501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1D02FF-8E43-E083-7320-B95F1A7B19DE}"/>
                </a:ext>
              </a:extLst>
            </p:cNvPr>
            <p:cNvSpPr/>
            <p:nvPr/>
          </p:nvSpPr>
          <p:spPr>
            <a:xfrm>
              <a:off x="5538814" y="4863037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7FFE34C2-E276-5166-265E-23449B736C1E}"/>
                </a:ext>
              </a:extLst>
            </p:cNvPr>
            <p:cNvSpPr txBox="1">
              <a:spLocks/>
            </p:cNvSpPr>
            <p:nvPr/>
          </p:nvSpPr>
          <p:spPr>
            <a:xfrm>
              <a:off x="5658012" y="4918529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Legal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0CAB3D9-B2D3-FF6E-85FE-743321915804}"/>
              </a:ext>
            </a:extLst>
          </p:cNvPr>
          <p:cNvGrpSpPr/>
          <p:nvPr/>
        </p:nvGrpSpPr>
        <p:grpSpPr>
          <a:xfrm>
            <a:off x="1989217" y="4275762"/>
            <a:ext cx="1957327" cy="462501"/>
            <a:chOff x="1791966" y="3781350"/>
            <a:chExt cx="1957327" cy="462501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29E255E-438D-4913-648F-683F708252B0}"/>
                </a:ext>
              </a:extLst>
            </p:cNvPr>
            <p:cNvSpPr/>
            <p:nvPr/>
          </p:nvSpPr>
          <p:spPr>
            <a:xfrm>
              <a:off x="1791966" y="3781350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1BB2434C-D103-2717-2C79-015D830DFE27}"/>
                </a:ext>
              </a:extLst>
            </p:cNvPr>
            <p:cNvSpPr txBox="1">
              <a:spLocks/>
            </p:cNvSpPr>
            <p:nvPr/>
          </p:nvSpPr>
          <p:spPr>
            <a:xfrm>
              <a:off x="1868668" y="3837922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Tax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C469202-AA27-A1F6-A4CC-D825035FBA5E}"/>
              </a:ext>
            </a:extLst>
          </p:cNvPr>
          <p:cNvGrpSpPr/>
          <p:nvPr/>
        </p:nvGrpSpPr>
        <p:grpSpPr>
          <a:xfrm>
            <a:off x="3195580" y="5247795"/>
            <a:ext cx="1957327" cy="462501"/>
            <a:chOff x="2929168" y="4815201"/>
            <a:chExt cx="1957327" cy="462501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230996C-D34B-37F5-8562-A3873D8F5F5B}"/>
                </a:ext>
              </a:extLst>
            </p:cNvPr>
            <p:cNvSpPr/>
            <p:nvPr/>
          </p:nvSpPr>
          <p:spPr>
            <a:xfrm>
              <a:off x="2929168" y="4815201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Text Placeholder 2">
              <a:extLst>
                <a:ext uri="{FF2B5EF4-FFF2-40B4-BE49-F238E27FC236}">
                  <a16:creationId xmlns:a16="http://schemas.microsoft.com/office/drawing/2014/main" id="{1B0937AB-4FD7-F096-ABFD-28E12EF9D5B1}"/>
                </a:ext>
              </a:extLst>
            </p:cNvPr>
            <p:cNvSpPr txBox="1">
              <a:spLocks/>
            </p:cNvSpPr>
            <p:nvPr/>
          </p:nvSpPr>
          <p:spPr>
            <a:xfrm>
              <a:off x="3020018" y="4853736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Complianc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3E33132-E9DF-6A24-44EA-7E3EBAE79FB5}"/>
              </a:ext>
            </a:extLst>
          </p:cNvPr>
          <p:cNvGrpSpPr/>
          <p:nvPr/>
        </p:nvGrpSpPr>
        <p:grpSpPr>
          <a:xfrm>
            <a:off x="1989216" y="3121195"/>
            <a:ext cx="1957327" cy="462501"/>
            <a:chOff x="1171685" y="2830868"/>
            <a:chExt cx="1957327" cy="46250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BBA1CD79-948F-CA01-550F-028CF9F7DB07}"/>
                </a:ext>
              </a:extLst>
            </p:cNvPr>
            <p:cNvSpPr/>
            <p:nvPr/>
          </p:nvSpPr>
          <p:spPr>
            <a:xfrm>
              <a:off x="1171685" y="2830868"/>
              <a:ext cx="1957327" cy="462501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1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Text Placeholder 2">
              <a:extLst>
                <a:ext uri="{FF2B5EF4-FFF2-40B4-BE49-F238E27FC236}">
                  <a16:creationId xmlns:a16="http://schemas.microsoft.com/office/drawing/2014/main" id="{7F14E40B-D55C-E661-6D29-93FFC882476A}"/>
                </a:ext>
              </a:extLst>
            </p:cNvPr>
            <p:cNvSpPr txBox="1">
              <a:spLocks/>
            </p:cNvSpPr>
            <p:nvPr/>
          </p:nvSpPr>
          <p:spPr>
            <a:xfrm>
              <a:off x="1287092" y="2899844"/>
              <a:ext cx="1718930" cy="3854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933C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F3CF40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609C"/>
                </a:buClr>
                <a:buFont typeface="Calibri" panose="020F0502020204030204" pitchFamily="34" charset="0"/>
                <a:buChar char="–"/>
                <a:defRPr sz="18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6FD34E"/>
                </a:buClr>
                <a:buFont typeface="Calibri" panose="020F0502020204030204" pitchFamily="34" charset="0"/>
                <a:buChar char="◌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A2BF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34343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Finance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39E10F-987A-949B-D09E-5B0342CE6768}"/>
              </a:ext>
            </a:extLst>
          </p:cNvPr>
          <p:cNvSpPr txBox="1"/>
          <p:nvPr/>
        </p:nvSpPr>
        <p:spPr>
          <a:xfrm>
            <a:off x="82550" y="2764447"/>
            <a:ext cx="1664731" cy="14696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defRPr/>
            </a:pPr>
            <a:r>
              <a:rPr lang="en-US" sz="1600" b="1">
                <a:solidFill>
                  <a:srgbClr val="0070C0"/>
                </a:solidFill>
                <a:latin typeface="Calibri" panose="020F0502020204030204" pitchFamily="34" charset="0"/>
              </a:rPr>
              <a:t>Cost savings</a:t>
            </a:r>
          </a:p>
          <a:p>
            <a:pPr lvl="0" algn="ctr" fontAlgn="base">
              <a:defRPr/>
            </a:pPr>
            <a:r>
              <a:rPr lang="en-US" sz="1050">
                <a:solidFill>
                  <a:srgbClr val="343433"/>
                </a:solidFill>
                <a:latin typeface="Calibri" panose="020F0502020204030204" pitchFamily="34" charset="0"/>
              </a:rPr>
              <a:t>Reduce costs through automated processing, eliminated manual tasks, and consolidated system management for tangible savings.</a:t>
            </a:r>
          </a:p>
          <a:p>
            <a:pPr lvl="0" algn="r" fontAlgn="base">
              <a:defRPr/>
            </a:pPr>
            <a:endParaRPr lang="en-US" sz="1050" b="1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C33FDE-6EC3-E410-F3DA-FB359892245E}"/>
              </a:ext>
            </a:extLst>
          </p:cNvPr>
          <p:cNvSpPr txBox="1"/>
          <p:nvPr/>
        </p:nvSpPr>
        <p:spPr>
          <a:xfrm>
            <a:off x="907978" y="5247795"/>
            <a:ext cx="2180555" cy="11464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defRPr/>
            </a:pPr>
            <a:r>
              <a:rPr lang="en-US" sz="1600" b="1">
                <a:solidFill>
                  <a:schemeClr val="accent5"/>
                </a:solidFill>
                <a:latin typeface="Calibri" panose="020F0502020204030204" pitchFamily="34" charset="0"/>
              </a:rPr>
              <a:t>Reduce risk</a:t>
            </a:r>
          </a:p>
          <a:p>
            <a:pPr lvl="0" algn="ctr" fontAlgn="base">
              <a:defRPr/>
            </a:pPr>
            <a:r>
              <a:rPr lang="en-US" sz="1050">
                <a:solidFill>
                  <a:srgbClr val="343433"/>
                </a:solidFill>
                <a:latin typeface="Calibri" panose="020F0502020204030204" pitchFamily="34" charset="0"/>
              </a:rPr>
              <a:t>Expert monitoring, automated compliance updates, and proactive maintenance ensure uninterrupted operations.</a:t>
            </a:r>
          </a:p>
          <a:p>
            <a:pPr lvl="0" algn="ctr" fontAlgn="base">
              <a:defRPr/>
            </a:pPr>
            <a:endParaRPr lang="en-US" sz="1050" b="1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36AA19-FCF7-D1D7-97D8-07B1D38409BD}"/>
              </a:ext>
            </a:extLst>
          </p:cNvPr>
          <p:cNvSpPr txBox="1"/>
          <p:nvPr/>
        </p:nvSpPr>
        <p:spPr>
          <a:xfrm>
            <a:off x="3640968" y="1294637"/>
            <a:ext cx="4077084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defRPr/>
            </a:pPr>
            <a:r>
              <a:rPr lang="en-US" sz="1600" b="1">
                <a:solidFill>
                  <a:schemeClr val="accent3"/>
                </a:solidFill>
                <a:latin typeface="Calibri" panose="020F0502020204030204" pitchFamily="34" charset="0"/>
              </a:rPr>
              <a:t>Environmentally friendly </a:t>
            </a:r>
          </a:p>
          <a:p>
            <a:pPr lvl="0" algn="ctr" fontAlgn="base">
              <a:defRPr/>
            </a:pPr>
            <a:r>
              <a:rPr lang="en-US" sz="1050">
                <a:solidFill>
                  <a:srgbClr val="343433"/>
                </a:solidFill>
                <a:latin typeface="Calibri" panose="020F0502020204030204" pitchFamily="34" charset="0"/>
              </a:rPr>
              <a:t>Reduce paper waste and carbon footprint significantly.</a:t>
            </a:r>
            <a:endParaRPr lang="en-US" sz="1050" b="1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3E517-24AB-0C52-564F-0E102CF9CE1D}"/>
              </a:ext>
            </a:extLst>
          </p:cNvPr>
          <p:cNvSpPr txBox="1"/>
          <p:nvPr/>
        </p:nvSpPr>
        <p:spPr>
          <a:xfrm>
            <a:off x="9830814" y="3290261"/>
            <a:ext cx="2278636" cy="15542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defRPr/>
            </a:pPr>
            <a:r>
              <a:rPr lang="en-US" sz="1600" b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Boost your competitive advantage </a:t>
            </a:r>
            <a:r>
              <a:rPr lang="en-US" sz="160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</a:p>
          <a:p>
            <a:pPr lvl="0" algn="ctr" fontAlgn="base">
              <a:defRPr/>
            </a:pPr>
            <a:r>
              <a:rPr lang="en-US" sz="1050">
                <a:solidFill>
                  <a:srgbClr val="343433"/>
                </a:solidFill>
                <a:latin typeface="Calibri" panose="020F0502020204030204" pitchFamily="34" charset="0"/>
              </a:rPr>
              <a:t>Strengthen business operations through efficient e-Invoicing, enabling seamless system connections and streamlined supplier-customer interactions.</a:t>
            </a:r>
          </a:p>
          <a:p>
            <a:pPr lvl="0" algn="ctr" fontAlgn="base">
              <a:defRPr/>
            </a:pPr>
            <a:endParaRPr lang="en-US" sz="1050" b="1">
              <a:solidFill>
                <a:schemeClr val="tx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F687386-2925-CD08-EB64-221AAF62E06B}"/>
              </a:ext>
            </a:extLst>
          </p:cNvPr>
          <p:cNvSpPr txBox="1"/>
          <p:nvPr/>
        </p:nvSpPr>
        <p:spPr>
          <a:xfrm>
            <a:off x="7853615" y="5429267"/>
            <a:ext cx="1829347" cy="11464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defRPr/>
            </a:pPr>
            <a:r>
              <a:rPr lang="en-US" sz="1600" b="1">
                <a:solidFill>
                  <a:schemeClr val="tx2"/>
                </a:solidFill>
                <a:latin typeface="Calibri" panose="020F0502020204030204" pitchFamily="34" charset="0"/>
              </a:rPr>
              <a:t>Save time</a:t>
            </a:r>
          </a:p>
          <a:p>
            <a:pPr lvl="0" algn="ctr" fontAlgn="base">
              <a:defRPr/>
            </a:pPr>
            <a:r>
              <a:rPr lang="en-US" sz="1050">
                <a:solidFill>
                  <a:srgbClr val="343433"/>
                </a:solidFill>
                <a:latin typeface="Calibri" panose="020F0502020204030204" pitchFamily="34" charset="0"/>
              </a:rPr>
              <a:t>Automate repetitive tasks and remove manual intervention to accelerate invoice processing.</a:t>
            </a:r>
          </a:p>
          <a:p>
            <a:pPr lvl="0" algn="ctr" fontAlgn="base">
              <a:defRPr/>
            </a:pPr>
            <a:endParaRPr lang="en-US" sz="1050">
              <a:solidFill>
                <a:srgbClr val="34343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4190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6" grpId="0"/>
      <p:bldP spid="17" grpId="0"/>
      <p:bldP spid="3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49B219-C1C1-6AD6-BE9B-6E6D9F4D5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F797B49-6C62-A31F-4B82-1F6677115D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15000"/>
          </a:blip>
          <a:srcRect l="5774" r="4622" b="13650"/>
          <a:stretch/>
        </p:blipFill>
        <p:spPr>
          <a:xfrm>
            <a:off x="-44579" y="596752"/>
            <a:ext cx="12236579" cy="5896123"/>
          </a:xfrm>
          <a:prstGeom prst="rect">
            <a:avLst/>
          </a:prstGeom>
          <a:ln w="76200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4AF415-D4F0-CDA8-5C5D-1B3C669A0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Your </a:t>
            </a:r>
            <a:r>
              <a:rPr lang="en-US">
                <a:solidFill>
                  <a:srgbClr val="002060"/>
                </a:solidFill>
              </a:rPr>
              <a:t>Vertex Team - </a:t>
            </a:r>
            <a:r>
              <a:rPr lang="en-US"/>
              <a:t>Meet us at our booth </a:t>
            </a:r>
            <a:r>
              <a:rPr lang="de-DE"/>
              <a:t>H5</a:t>
            </a:r>
            <a:endParaRPr lang="en-US">
              <a:solidFill>
                <a:srgbClr val="002060"/>
              </a:solidFill>
            </a:endParaRPr>
          </a:p>
        </p:txBody>
      </p:sp>
      <p:pic>
        <p:nvPicPr>
          <p:cNvPr id="9" name="Picture Placeholder 8" descr="A person in a white shirt&#10;&#10;AI-generated content may be incorrect.">
            <a:extLst>
              <a:ext uri="{FF2B5EF4-FFF2-40B4-BE49-F238E27FC236}">
                <a16:creationId xmlns:a16="http://schemas.microsoft.com/office/drawing/2014/main" id="{9266DF2B-87C7-0DBC-DA68-47D88C0ADD75}"/>
              </a:ext>
            </a:extLst>
          </p:cNvPr>
          <p:cNvPicPr>
            <a:picLocks noGrp="1" noChangeAspect="1"/>
          </p:cNvPicPr>
          <p:nvPr>
            <p:ph type="pic" sz="quarter" idx="64"/>
          </p:nvPr>
        </p:nvPicPr>
        <p:blipFill>
          <a:blip r:embed="rId4"/>
          <a:srcRect l="12316" r="12316"/>
          <a:stretch/>
        </p:blipFill>
        <p:spPr>
          <a:xfrm>
            <a:off x="7413634" y="1570488"/>
            <a:ext cx="2093976" cy="1851472"/>
          </a:xfrm>
          <a:prstGeom prst="roundRect">
            <a:avLst/>
          </a:prstGeom>
        </p:spPr>
      </p:pic>
      <p:pic>
        <p:nvPicPr>
          <p:cNvPr id="15" name="Picture Placeholder 14" descr="A person with a beard and glasses&#10;&#10;AI-generated content may be incorrect.">
            <a:extLst>
              <a:ext uri="{FF2B5EF4-FFF2-40B4-BE49-F238E27FC236}">
                <a16:creationId xmlns:a16="http://schemas.microsoft.com/office/drawing/2014/main" id="{1C29B062-C063-5A04-CB45-2CF49EE8E717}"/>
              </a:ext>
            </a:extLst>
          </p:cNvPr>
          <p:cNvPicPr>
            <a:picLocks noGrp="1" noChangeAspect="1"/>
          </p:cNvPicPr>
          <p:nvPr>
            <p:ph type="pic" sz="quarter" idx="59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1" r="12321"/>
          <a:stretch>
            <a:fillRect/>
          </a:stretch>
        </p:blipFill>
        <p:spPr>
          <a:xfrm>
            <a:off x="832090" y="1570488"/>
            <a:ext cx="2091719" cy="1851472"/>
          </a:xfrm>
        </p:spPr>
      </p:pic>
      <p:pic>
        <p:nvPicPr>
          <p:cNvPr id="16" name="Picture Placeholder 15" descr="A person in a suit and tie&#10;&#10;AI-generated content may be incorrect.">
            <a:extLst>
              <a:ext uri="{FF2B5EF4-FFF2-40B4-BE49-F238E27FC236}">
                <a16:creationId xmlns:a16="http://schemas.microsoft.com/office/drawing/2014/main" id="{C20BEF15-A575-E4C5-CB16-051B67331D17}"/>
              </a:ext>
            </a:extLst>
          </p:cNvPr>
          <p:cNvPicPr>
            <a:picLocks noGrp="1" noChangeAspect="1"/>
          </p:cNvPicPr>
          <p:nvPr>
            <p:ph type="pic" sz="quarter" idx="56"/>
          </p:nvPr>
        </p:nvPicPr>
        <p:blipFill>
          <a:blip r:embed="rId6"/>
          <a:srcRect t="5733" b="5733"/>
          <a:stretch/>
        </p:blipFill>
        <p:spPr>
          <a:xfrm>
            <a:off x="3053493" y="1546994"/>
            <a:ext cx="2091719" cy="1851472"/>
          </a:xfrm>
          <a:prstGeom prst="round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548B0A7C-B1FF-B04B-EE1B-B59EEB8CFE44}"/>
              </a:ext>
            </a:extLst>
          </p:cNvPr>
          <p:cNvSpPr txBox="1">
            <a:spLocks/>
          </p:cNvSpPr>
          <p:nvPr/>
        </p:nvSpPr>
        <p:spPr>
          <a:xfrm>
            <a:off x="82550" y="6492875"/>
            <a:ext cx="4445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CA9CC0C-C698-4E54-8A6B-C32C4010B3B4}" type="slidenum">
              <a:rPr lang="en-US" sz="1000" smtClean="0">
                <a:solidFill>
                  <a:srgbClr val="8F8F8F"/>
                </a:solidFill>
              </a:rPr>
              <a:pPr algn="ctr"/>
              <a:t>14</a:t>
            </a:fld>
            <a:endParaRPr lang="en-US" sz="1000">
              <a:solidFill>
                <a:srgbClr val="8F8F8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A74FB6-1888-15B8-AD20-90656654977B}"/>
              </a:ext>
            </a:extLst>
          </p:cNvPr>
          <p:cNvSpPr txBox="1"/>
          <p:nvPr/>
        </p:nvSpPr>
        <p:spPr>
          <a:xfrm>
            <a:off x="758277" y="6560021"/>
            <a:ext cx="18293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© </a:t>
            </a:r>
            <a:r>
              <a:rPr lang="en-US" sz="900">
                <a:solidFill>
                  <a:schemeClr val="bg1">
                    <a:lumMod val="8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tex, Inc. All rights </a:t>
            </a:r>
            <a:r>
              <a:rPr lang="en-US" sz="9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erved. </a:t>
            </a:r>
            <a:endParaRPr lang="en-US" sz="90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66A1CE-2AEB-83BF-6388-A4D7706B0D01}"/>
              </a:ext>
            </a:extLst>
          </p:cNvPr>
          <p:cNvSpPr txBox="1">
            <a:spLocks/>
          </p:cNvSpPr>
          <p:nvPr/>
        </p:nvSpPr>
        <p:spPr>
          <a:xfrm>
            <a:off x="915726" y="3588972"/>
            <a:ext cx="1970314" cy="638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</a:rPr>
              <a:t>Julian Pauli</a:t>
            </a:r>
          </a:p>
          <a:p>
            <a:pPr algn="ctr"/>
            <a:r>
              <a:rPr lang="en-US" sz="1600">
                <a:solidFill>
                  <a:schemeClr val="tx2"/>
                </a:solidFill>
              </a:rPr>
              <a:t>Solution Engineer</a:t>
            </a:r>
            <a:br>
              <a:rPr lang="en-US" sz="1600">
                <a:solidFill>
                  <a:schemeClr val="tx2"/>
                </a:solidFill>
              </a:rPr>
            </a:br>
            <a:r>
              <a:rPr lang="en-US" sz="1600">
                <a:solidFill>
                  <a:schemeClr val="tx2"/>
                </a:solidFill>
              </a:rPr>
              <a:t>Principal</a:t>
            </a:r>
            <a:endParaRPr lang="en-US" sz="160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0AC61D-A82F-FF0C-94D3-D5249B166535}"/>
              </a:ext>
            </a:extLst>
          </p:cNvPr>
          <p:cNvSpPr txBox="1">
            <a:spLocks/>
          </p:cNvSpPr>
          <p:nvPr/>
        </p:nvSpPr>
        <p:spPr>
          <a:xfrm>
            <a:off x="7413634" y="3564845"/>
            <a:ext cx="1970314" cy="638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</a:rPr>
              <a:t>Bernd Fugger</a:t>
            </a:r>
            <a:endParaRPr lang="en-US">
              <a:solidFill>
                <a:schemeClr val="tx2"/>
              </a:solidFill>
            </a:endParaRPr>
          </a:p>
          <a:p>
            <a:pPr algn="ctr"/>
            <a:r>
              <a:rPr lang="en-US" sz="1600">
                <a:solidFill>
                  <a:schemeClr val="tx2"/>
                </a:solidFill>
              </a:rPr>
              <a:t>Sales Director</a:t>
            </a:r>
            <a:endParaRPr lang="en-US" sz="1600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FD8D3B-A85A-470E-2EE4-2DA7B802C956}"/>
              </a:ext>
            </a:extLst>
          </p:cNvPr>
          <p:cNvSpPr txBox="1">
            <a:spLocks/>
          </p:cNvSpPr>
          <p:nvPr/>
        </p:nvSpPr>
        <p:spPr>
          <a:xfrm>
            <a:off x="5232435" y="3570649"/>
            <a:ext cx="2043382" cy="7738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</a:rPr>
              <a:t>Quinten Blok</a:t>
            </a:r>
          </a:p>
          <a:p>
            <a:pPr algn="ctr"/>
            <a:r>
              <a:rPr lang="en-US" sz="1600">
                <a:solidFill>
                  <a:schemeClr val="tx2"/>
                </a:solidFill>
                <a:ea typeface="Calibri"/>
                <a:cs typeface="Calibri"/>
              </a:rPr>
              <a:t>SAP Solution Engineer Lea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97BC57C-D717-48E0-D1C6-1C5D4DC6CBFF}"/>
              </a:ext>
            </a:extLst>
          </p:cNvPr>
          <p:cNvSpPr txBox="1">
            <a:spLocks/>
          </p:cNvSpPr>
          <p:nvPr/>
        </p:nvSpPr>
        <p:spPr>
          <a:xfrm>
            <a:off x="3053493" y="3569675"/>
            <a:ext cx="1970314" cy="638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</a:rPr>
              <a:t>Norman Jokiel</a:t>
            </a:r>
            <a:endParaRPr lang="en-US" sz="2000">
              <a:solidFill>
                <a:schemeClr val="tx2"/>
              </a:solidFill>
              <a:ea typeface="Calibri"/>
              <a:cs typeface="Calibri"/>
            </a:endParaRPr>
          </a:p>
          <a:p>
            <a:pPr algn="ctr"/>
            <a:r>
              <a:rPr lang="en-US" sz="1600">
                <a:solidFill>
                  <a:schemeClr val="tx2"/>
                </a:solidFill>
              </a:rPr>
              <a:t>Account Executive Principal</a:t>
            </a:r>
            <a:endParaRPr lang="en-US" sz="1600">
              <a:solidFill>
                <a:schemeClr val="tx2"/>
              </a:solidFill>
              <a:ea typeface="Calibri"/>
              <a:cs typeface="Calibri"/>
            </a:endParaRP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A413B73F-9020-04DF-5DC2-A46E1A807B8E}"/>
              </a:ext>
            </a:extLst>
          </p:cNvPr>
          <p:cNvPicPr>
            <a:picLocks noGrp="1" noChangeAspect="1"/>
          </p:cNvPicPr>
          <p:nvPr>
            <p:ph type="pic" sz="quarter" idx="5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" b="5791"/>
          <a:stretch/>
        </p:blipFill>
        <p:spPr>
          <a:xfrm>
            <a:off x="5232435" y="1546994"/>
            <a:ext cx="2093976" cy="1851472"/>
          </a:xfrm>
          <a:prstGeom prst="round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855F15A-5095-B013-C67D-EED7D365D8D4}"/>
              </a:ext>
            </a:extLst>
          </p:cNvPr>
          <p:cNvSpPr txBox="1">
            <a:spLocks/>
          </p:cNvSpPr>
          <p:nvPr/>
        </p:nvSpPr>
        <p:spPr>
          <a:xfrm>
            <a:off x="9777243" y="3564845"/>
            <a:ext cx="1970314" cy="638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Calibri"/>
              </a:rPr>
              <a:t>Christine Kübler</a:t>
            </a:r>
          </a:p>
          <a:p>
            <a:pPr algn="ctr"/>
            <a:r>
              <a:rPr lang="en-US" sz="1600">
                <a:solidFill>
                  <a:schemeClr val="tx2"/>
                </a:solidFill>
              </a:rPr>
              <a:t>Customer Relationship Manager</a:t>
            </a:r>
            <a:endParaRPr lang="en-US" sz="1600">
              <a:solidFill>
                <a:schemeClr val="tx2"/>
              </a:solidFill>
              <a:ea typeface="Calibri"/>
              <a:cs typeface="Calibri"/>
            </a:endParaRPr>
          </a:p>
        </p:txBody>
      </p:sp>
      <p:pic>
        <p:nvPicPr>
          <p:cNvPr id="17" name="Picture Placeholder 15">
            <a:extLst>
              <a:ext uri="{FF2B5EF4-FFF2-40B4-BE49-F238E27FC236}">
                <a16:creationId xmlns:a16="http://schemas.microsoft.com/office/drawing/2014/main" id="{F96F2AB0-515C-8342-116B-F9545CF832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44" b="8644"/>
          <a:stretch/>
        </p:blipFill>
        <p:spPr>
          <a:xfrm>
            <a:off x="9594833" y="1570488"/>
            <a:ext cx="2091719" cy="1851472"/>
          </a:xfrm>
          <a:prstGeom prst="roundRect">
            <a:avLst/>
          </a:prstGeom>
        </p:spPr>
      </p:pic>
      <p:pic>
        <p:nvPicPr>
          <p:cNvPr id="20" name="Picture 19" descr="A qr code with a few black squares&#10;&#10;AI-generated content may be incorrect.">
            <a:extLst>
              <a:ext uri="{FF2B5EF4-FFF2-40B4-BE49-F238E27FC236}">
                <a16:creationId xmlns:a16="http://schemas.microsoft.com/office/drawing/2014/main" id="{114C3727-C15D-80E2-18D5-4992A57491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58212" y="4472063"/>
            <a:ext cx="1342976" cy="1342976"/>
          </a:xfrm>
          <a:prstGeom prst="rect">
            <a:avLst/>
          </a:prstGeom>
        </p:spPr>
      </p:pic>
      <p:pic>
        <p:nvPicPr>
          <p:cNvPr id="23" name="Picture 22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1EDB291F-F830-5FDD-54C4-08839461D1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7162" y="4498472"/>
            <a:ext cx="1342976" cy="1342976"/>
          </a:xfrm>
          <a:prstGeom prst="rect">
            <a:avLst/>
          </a:prstGeom>
        </p:spPr>
      </p:pic>
      <p:pic>
        <p:nvPicPr>
          <p:cNvPr id="25" name="Picture 24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6CD295D0-E3D9-E80F-982F-F307DACDC4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852" y="4446814"/>
            <a:ext cx="1417539" cy="1411669"/>
          </a:xfrm>
          <a:prstGeom prst="rect">
            <a:avLst/>
          </a:prstGeom>
        </p:spPr>
      </p:pic>
      <p:pic>
        <p:nvPicPr>
          <p:cNvPr id="27" name="Picture 26" descr="A qr code with a few squares&#10;&#10;AI-generated content may be incorrect.">
            <a:extLst>
              <a:ext uri="{FF2B5EF4-FFF2-40B4-BE49-F238E27FC236}">
                <a16:creationId xmlns:a16="http://schemas.microsoft.com/office/drawing/2014/main" id="{AEA99E36-22A9-6910-35AB-AA909036277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4065" y="4467157"/>
            <a:ext cx="1395794" cy="1395794"/>
          </a:xfrm>
          <a:prstGeom prst="rect">
            <a:avLst/>
          </a:prstGeom>
        </p:spPr>
      </p:pic>
      <p:pic>
        <p:nvPicPr>
          <p:cNvPr id="10" name="Picture 9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19F2FA97-2EB0-999C-F8CB-D84D2248190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53206" y="4448884"/>
            <a:ext cx="1398739" cy="1440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1750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810681-FA2D-C619-4AFD-34CC15FFB9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F8E6F3-F196-63C6-6697-7C81D16609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Julian Pauli </a:t>
            </a:r>
          </a:p>
          <a:p>
            <a:r>
              <a:rPr lang="de-DE"/>
              <a:t>julian.pauli@vertexinc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421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2758ED-F87E-CA8A-B93C-957833C73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A6591-9BBA-F85C-0539-B9A88ECDF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731FA1-EC3C-B5C8-ACDB-2D9CABE225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15F303-FB32-A6D6-325E-9C70E2F16D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6" name="TextBox 3">
            <a:extLst>
              <a:ext uri="{FF2B5EF4-FFF2-40B4-BE49-F238E27FC236}">
                <a16:creationId xmlns:a16="http://schemas.microsoft.com/office/drawing/2014/main" id="{4587100C-5076-E9C0-57FE-570ACA452B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467497"/>
              </p:ext>
            </p:extLst>
          </p:nvPr>
        </p:nvGraphicFramePr>
        <p:xfrm>
          <a:off x="304800" y="1440647"/>
          <a:ext cx="11149781" cy="4305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09774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A6338-EDAA-C7D8-FDF5-F28DE97E85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433BA2-A23F-41F6-9873-943E862D32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FFB57D-CA44-DE7D-5355-59C87464B2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50" y="1816158"/>
            <a:ext cx="2939850" cy="29398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102037-09EF-AF93-CDBE-55CBDFEA3C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1404" y="1816158"/>
            <a:ext cx="2939852" cy="29398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668E69-1A1C-F359-CD2F-E01AD95763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15760" y="1816158"/>
            <a:ext cx="2939851" cy="29398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268A0C15-C165-5588-9524-9528C1EBE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3867"/>
            <a:ext cx="10972800" cy="638164"/>
          </a:xfrm>
        </p:spPr>
        <p:txBody>
          <a:bodyPr>
            <a:normAutofit/>
          </a:bodyPr>
          <a:lstStyle/>
          <a:p>
            <a:r>
              <a:rPr lang="en-US"/>
              <a:t>How different invoice formats impact VAT-reporting</a:t>
            </a:r>
          </a:p>
        </p:txBody>
      </p:sp>
    </p:spTree>
    <p:extLst>
      <p:ext uri="{BB962C8B-B14F-4D97-AF65-F5344CB8AC3E}">
        <p14:creationId xmlns:p14="http://schemas.microsoft.com/office/powerpoint/2010/main" val="33228652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FDBC91-BC3D-8169-3000-1D5AF71A7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20578E-A2A3-FF74-D2EE-70322AD80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15000"/>
          </a:blip>
          <a:srcRect l="5774" r="4622" b="13650"/>
          <a:stretch/>
        </p:blipFill>
        <p:spPr>
          <a:xfrm>
            <a:off x="-44579" y="582870"/>
            <a:ext cx="12236579" cy="5896123"/>
          </a:xfrm>
          <a:prstGeom prst="rect">
            <a:avLst/>
          </a:prstGeom>
          <a:ln w="76200"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051DC21-1884-2782-C37E-896A9A384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536" y="3621957"/>
            <a:ext cx="848033" cy="8480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D5FAD5-F9D1-8362-AA57-2691269869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0426" y="3621957"/>
            <a:ext cx="848034" cy="848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C42B79-A3DA-ABCC-8E96-50BB825493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5317" y="3621957"/>
            <a:ext cx="848033" cy="8480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C9D159-1B75-CE5A-FBA9-E8BB8DAA2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ow poor data impact AP-Automation and VAT-repor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B9CE61-1032-124C-CCF2-258AF18E5E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43AC6DC-70C8-1D09-2BA9-08F5329A212E}"/>
              </a:ext>
            </a:extLst>
          </p:cNvPr>
          <p:cNvSpPr/>
          <p:nvPr/>
        </p:nvSpPr>
        <p:spPr>
          <a:xfrm>
            <a:off x="1017847" y="2466421"/>
            <a:ext cx="2979035" cy="2685238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4705" tIns="94705" rIns="94705" bIns="568570" numCol="1" spcCol="1270" anchor="t" anchorCtr="0">
            <a:noAutofit/>
          </a:bodyPr>
          <a:lstStyle/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2000"/>
              <a:t>Limited information available</a:t>
            </a: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 kern="1200"/>
              <a:t>Poor invoice quality</a:t>
            </a: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Manual invoice validation</a:t>
            </a:r>
            <a:endParaRPr lang="en-US" sz="1900" kern="1200"/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488326EC-4795-9911-697F-3DD003A9F229}"/>
              </a:ext>
            </a:extLst>
          </p:cNvPr>
          <p:cNvSpPr/>
          <p:nvPr/>
        </p:nvSpPr>
        <p:spPr>
          <a:xfrm>
            <a:off x="2474519" y="3287196"/>
            <a:ext cx="3222366" cy="3222366"/>
          </a:xfrm>
          <a:prstGeom prst="leftCircularArrow">
            <a:avLst>
              <a:gd name="adj1" fmla="val 3973"/>
              <a:gd name="adj2" fmla="val 498554"/>
              <a:gd name="adj3" fmla="val 2274065"/>
              <a:gd name="adj4" fmla="val 9024489"/>
              <a:gd name="adj5" fmla="val 4635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5C3F0E0-2A97-395B-2AE7-0478A6DA2818}"/>
              </a:ext>
            </a:extLst>
          </p:cNvPr>
          <p:cNvSpPr/>
          <p:nvPr/>
        </p:nvSpPr>
        <p:spPr>
          <a:xfrm>
            <a:off x="1613654" y="4677794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Invoice reception</a:t>
            </a:r>
            <a:endParaRPr lang="en-US" sz="29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B3F291A0-41F6-B032-E181-B0D899D8B197}"/>
              </a:ext>
            </a:extLst>
          </p:cNvPr>
          <p:cNvSpPr/>
          <p:nvPr/>
        </p:nvSpPr>
        <p:spPr>
          <a:xfrm>
            <a:off x="4606482" y="2940287"/>
            <a:ext cx="2979035" cy="2669030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4705" tIns="568571" rIns="94705" bIns="94704" numCol="1" spcCol="1270" anchor="t" anchorCtr="0">
            <a:noAutofit/>
          </a:bodyPr>
          <a:lstStyle/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Poor matching results</a:t>
            </a:r>
            <a:endParaRPr lang="en-US" sz="1900"/>
          </a:p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Long lead times</a:t>
            </a:r>
          </a:p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Extensive approval processes  </a:t>
            </a:r>
            <a:endParaRPr lang="en-US" sz="1900"/>
          </a:p>
        </p:txBody>
      </p:sp>
      <p:sp>
        <p:nvSpPr>
          <p:cNvPr id="16" name="Arrow: Circular 15">
            <a:extLst>
              <a:ext uri="{FF2B5EF4-FFF2-40B4-BE49-F238E27FC236}">
                <a16:creationId xmlns:a16="http://schemas.microsoft.com/office/drawing/2014/main" id="{31FAC2D3-7822-0ACE-2AB4-E5E635D32684}"/>
              </a:ext>
            </a:extLst>
          </p:cNvPr>
          <p:cNvSpPr/>
          <p:nvPr/>
        </p:nvSpPr>
        <p:spPr>
          <a:xfrm>
            <a:off x="6040811" y="1495680"/>
            <a:ext cx="3564955" cy="3564955"/>
          </a:xfrm>
          <a:prstGeom prst="circularArrow">
            <a:avLst>
              <a:gd name="adj1" fmla="val 3591"/>
              <a:gd name="adj2" fmla="val 446524"/>
              <a:gd name="adj3" fmla="val 19377965"/>
              <a:gd name="adj4" fmla="val 12575511"/>
              <a:gd name="adj5" fmla="val 4189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C7EB96E-367C-9A76-40BE-08112D4195E4}"/>
              </a:ext>
            </a:extLst>
          </p:cNvPr>
          <p:cNvSpPr/>
          <p:nvPr/>
        </p:nvSpPr>
        <p:spPr>
          <a:xfrm>
            <a:off x="5202289" y="2466421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AP-Automation</a:t>
            </a:r>
            <a:endParaRPr lang="en-US" sz="2900" kern="120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BC727C9-543C-6DCC-1204-17AB3DFB2CD5}"/>
              </a:ext>
            </a:extLst>
          </p:cNvPr>
          <p:cNvSpPr/>
          <p:nvPr/>
        </p:nvSpPr>
        <p:spPr>
          <a:xfrm>
            <a:off x="8195117" y="2466421"/>
            <a:ext cx="2979035" cy="2685238"/>
          </a:xfrm>
          <a:custGeom>
            <a:avLst/>
            <a:gdLst>
              <a:gd name="connsiteX0" fmla="*/ 0 w 2681131"/>
              <a:gd name="connsiteY0" fmla="*/ 221137 h 2211372"/>
              <a:gd name="connsiteX1" fmla="*/ 221137 w 2681131"/>
              <a:gd name="connsiteY1" fmla="*/ 0 h 2211372"/>
              <a:gd name="connsiteX2" fmla="*/ 2459994 w 2681131"/>
              <a:gd name="connsiteY2" fmla="*/ 0 h 2211372"/>
              <a:gd name="connsiteX3" fmla="*/ 2681131 w 2681131"/>
              <a:gd name="connsiteY3" fmla="*/ 221137 h 2211372"/>
              <a:gd name="connsiteX4" fmla="*/ 2681131 w 2681131"/>
              <a:gd name="connsiteY4" fmla="*/ 1990235 h 2211372"/>
              <a:gd name="connsiteX5" fmla="*/ 2459994 w 2681131"/>
              <a:gd name="connsiteY5" fmla="*/ 2211372 h 2211372"/>
              <a:gd name="connsiteX6" fmla="*/ 221137 w 2681131"/>
              <a:gd name="connsiteY6" fmla="*/ 2211372 h 2211372"/>
              <a:gd name="connsiteX7" fmla="*/ 0 w 2681131"/>
              <a:gd name="connsiteY7" fmla="*/ 1990235 h 2211372"/>
              <a:gd name="connsiteX8" fmla="*/ 0 w 2681131"/>
              <a:gd name="connsiteY8" fmla="*/ 221137 h 221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1131" h="2211372">
                <a:moveTo>
                  <a:pt x="0" y="221137"/>
                </a:moveTo>
                <a:cubicBezTo>
                  <a:pt x="0" y="99006"/>
                  <a:pt x="99006" y="0"/>
                  <a:pt x="221137" y="0"/>
                </a:cubicBezTo>
                <a:lnTo>
                  <a:pt x="2459994" y="0"/>
                </a:lnTo>
                <a:cubicBezTo>
                  <a:pt x="2582125" y="0"/>
                  <a:pt x="2681131" y="99006"/>
                  <a:pt x="2681131" y="221137"/>
                </a:cubicBezTo>
                <a:lnTo>
                  <a:pt x="2681131" y="1990235"/>
                </a:lnTo>
                <a:cubicBezTo>
                  <a:pt x="2681131" y="2112366"/>
                  <a:pt x="2582125" y="2211372"/>
                  <a:pt x="2459994" y="2211372"/>
                </a:cubicBezTo>
                <a:lnTo>
                  <a:pt x="221137" y="2211372"/>
                </a:lnTo>
                <a:cubicBezTo>
                  <a:pt x="99006" y="2211372"/>
                  <a:pt x="0" y="2112366"/>
                  <a:pt x="0" y="1990235"/>
                </a:cubicBezTo>
                <a:lnTo>
                  <a:pt x="0" y="22113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4705" tIns="94705" rIns="94705" bIns="568570" numCol="1" spcCol="1270" anchor="t" anchorCtr="0">
            <a:noAutofit/>
          </a:bodyPr>
          <a:lstStyle/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2000"/>
              <a:t>Incorrect tax code determination for invoice posting</a:t>
            </a:r>
          </a:p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Inaccurate data for </a:t>
            </a:r>
            <a:br>
              <a:rPr lang="de-DE" sz="1900"/>
            </a:br>
            <a:r>
              <a:rPr lang="de-DE" sz="1900"/>
              <a:t>VAT-reporting</a:t>
            </a:r>
          </a:p>
          <a:p>
            <a:pPr marL="228600" lvl="1" indent="-228600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900"/>
              <a:t>Time-consuming review and VAT correction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114CD5A-F0B4-DD09-4A3E-9B9E7F40855A}"/>
              </a:ext>
            </a:extLst>
          </p:cNvPr>
          <p:cNvSpPr/>
          <p:nvPr/>
        </p:nvSpPr>
        <p:spPr>
          <a:xfrm>
            <a:off x="8790924" y="4677794"/>
            <a:ext cx="2383228" cy="947731"/>
          </a:xfrm>
          <a:custGeom>
            <a:avLst/>
            <a:gdLst>
              <a:gd name="connsiteX0" fmla="*/ 0 w 2383228"/>
              <a:gd name="connsiteY0" fmla="*/ 94773 h 947731"/>
              <a:gd name="connsiteX1" fmla="*/ 94773 w 2383228"/>
              <a:gd name="connsiteY1" fmla="*/ 0 h 947731"/>
              <a:gd name="connsiteX2" fmla="*/ 2288455 w 2383228"/>
              <a:gd name="connsiteY2" fmla="*/ 0 h 947731"/>
              <a:gd name="connsiteX3" fmla="*/ 2383228 w 2383228"/>
              <a:gd name="connsiteY3" fmla="*/ 94773 h 947731"/>
              <a:gd name="connsiteX4" fmla="*/ 2383228 w 2383228"/>
              <a:gd name="connsiteY4" fmla="*/ 852958 h 947731"/>
              <a:gd name="connsiteX5" fmla="*/ 2288455 w 2383228"/>
              <a:gd name="connsiteY5" fmla="*/ 947731 h 947731"/>
              <a:gd name="connsiteX6" fmla="*/ 94773 w 2383228"/>
              <a:gd name="connsiteY6" fmla="*/ 947731 h 947731"/>
              <a:gd name="connsiteX7" fmla="*/ 0 w 2383228"/>
              <a:gd name="connsiteY7" fmla="*/ 852958 h 947731"/>
              <a:gd name="connsiteX8" fmla="*/ 0 w 2383228"/>
              <a:gd name="connsiteY8" fmla="*/ 94773 h 947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3228" h="947731">
                <a:moveTo>
                  <a:pt x="0" y="94773"/>
                </a:moveTo>
                <a:cubicBezTo>
                  <a:pt x="0" y="42431"/>
                  <a:pt x="42431" y="0"/>
                  <a:pt x="94773" y="0"/>
                </a:cubicBezTo>
                <a:lnTo>
                  <a:pt x="2288455" y="0"/>
                </a:lnTo>
                <a:cubicBezTo>
                  <a:pt x="2340797" y="0"/>
                  <a:pt x="2383228" y="42431"/>
                  <a:pt x="2383228" y="94773"/>
                </a:cubicBezTo>
                <a:lnTo>
                  <a:pt x="2383228" y="852958"/>
                </a:lnTo>
                <a:cubicBezTo>
                  <a:pt x="2383228" y="905300"/>
                  <a:pt x="2340797" y="947731"/>
                  <a:pt x="2288455" y="947731"/>
                </a:cubicBezTo>
                <a:lnTo>
                  <a:pt x="94773" y="947731"/>
                </a:lnTo>
                <a:cubicBezTo>
                  <a:pt x="42431" y="947731"/>
                  <a:pt x="0" y="905300"/>
                  <a:pt x="0" y="852958"/>
                </a:cubicBezTo>
                <a:lnTo>
                  <a:pt x="0" y="94773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003" tIns="64588" rIns="83003" bIns="64588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900" kern="1200"/>
              <a:t>VAT-reporting</a:t>
            </a:r>
            <a:endParaRPr lang="en-US" sz="2900" kern="1200"/>
          </a:p>
        </p:txBody>
      </p:sp>
    </p:spTree>
    <p:extLst>
      <p:ext uri="{BB962C8B-B14F-4D97-AF65-F5344CB8AC3E}">
        <p14:creationId xmlns:p14="http://schemas.microsoft.com/office/powerpoint/2010/main" val="16017400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1D576-02A5-5CD5-10FC-FB0F295D0D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EC93F-6F0F-4909-93CA-58B92A8CB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err="1"/>
              <a:t>Ongoing</a:t>
            </a:r>
            <a:r>
              <a:rPr lang="de-DE"/>
              <a:t> &amp; </a:t>
            </a:r>
            <a:r>
              <a:rPr lang="de-DE" err="1"/>
              <a:t>upcoming</a:t>
            </a:r>
            <a:r>
              <a:rPr lang="de-DE"/>
              <a:t> </a:t>
            </a:r>
            <a:r>
              <a:rPr lang="de-DE" err="1"/>
              <a:t>changes</a:t>
            </a:r>
            <a:r>
              <a:rPr lang="de-DE"/>
              <a:t> – Wachstumschancengesetz &amp; </a:t>
            </a:r>
            <a:r>
              <a:rPr lang="de-DE" err="1"/>
              <a:t>ViDA</a:t>
            </a:r>
            <a:endParaRPr lang="en-US" err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426276-63AB-CBD2-4A04-FE1E128F96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Google Shape;3043;p256">
            <a:extLst>
              <a:ext uri="{FF2B5EF4-FFF2-40B4-BE49-F238E27FC236}">
                <a16:creationId xmlns:a16="http://schemas.microsoft.com/office/drawing/2014/main" id="{AB3CF680-0BE1-EE63-1E0B-61BA9AEC94F0}"/>
              </a:ext>
            </a:extLst>
          </p:cNvPr>
          <p:cNvSpPr/>
          <p:nvPr/>
        </p:nvSpPr>
        <p:spPr>
          <a:xfrm>
            <a:off x="1520946" y="1268965"/>
            <a:ext cx="1637402" cy="21600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5769" y="94430"/>
                </a:moveTo>
                <a:cubicBezTo>
                  <a:pt x="105769" y="94430"/>
                  <a:pt x="105769" y="94430"/>
                  <a:pt x="105769" y="94430"/>
                </a:cubicBezTo>
                <a:cubicBezTo>
                  <a:pt x="105769" y="95302"/>
                  <a:pt x="105769" y="95302"/>
                  <a:pt x="105769" y="95302"/>
                </a:cubicBezTo>
                <a:cubicBezTo>
                  <a:pt x="106153" y="96755"/>
                  <a:pt x="106153" y="96755"/>
                  <a:pt x="106153" y="96755"/>
                </a:cubicBezTo>
                <a:cubicBezTo>
                  <a:pt x="106153" y="97627"/>
                  <a:pt x="106153" y="97627"/>
                  <a:pt x="106153" y="97627"/>
                </a:cubicBezTo>
                <a:cubicBezTo>
                  <a:pt x="106153" y="97627"/>
                  <a:pt x="105769" y="98208"/>
                  <a:pt x="105384" y="98208"/>
                </a:cubicBezTo>
                <a:cubicBezTo>
                  <a:pt x="105384" y="98208"/>
                  <a:pt x="105000" y="98498"/>
                  <a:pt x="104615" y="98498"/>
                </a:cubicBezTo>
                <a:cubicBezTo>
                  <a:pt x="104230" y="98208"/>
                  <a:pt x="103846" y="97917"/>
                  <a:pt x="103846" y="97917"/>
                </a:cubicBezTo>
                <a:cubicBezTo>
                  <a:pt x="101538" y="97917"/>
                  <a:pt x="101538" y="97917"/>
                  <a:pt x="101538" y="97917"/>
                </a:cubicBezTo>
                <a:cubicBezTo>
                  <a:pt x="101538" y="97917"/>
                  <a:pt x="101538" y="98498"/>
                  <a:pt x="101538" y="98789"/>
                </a:cubicBezTo>
                <a:cubicBezTo>
                  <a:pt x="101153" y="99370"/>
                  <a:pt x="101153" y="99370"/>
                  <a:pt x="101153" y="99370"/>
                </a:cubicBezTo>
                <a:cubicBezTo>
                  <a:pt x="101153" y="100823"/>
                  <a:pt x="101153" y="100823"/>
                  <a:pt x="101153" y="100823"/>
                </a:cubicBezTo>
                <a:cubicBezTo>
                  <a:pt x="99230" y="102276"/>
                  <a:pt x="99230" y="102276"/>
                  <a:pt x="99230" y="102276"/>
                </a:cubicBezTo>
                <a:cubicBezTo>
                  <a:pt x="98846" y="102276"/>
                  <a:pt x="98846" y="102276"/>
                  <a:pt x="98846" y="102276"/>
                </a:cubicBezTo>
                <a:cubicBezTo>
                  <a:pt x="98846" y="102276"/>
                  <a:pt x="98461" y="102566"/>
                  <a:pt x="98461" y="102566"/>
                </a:cubicBezTo>
                <a:cubicBezTo>
                  <a:pt x="98461" y="102566"/>
                  <a:pt x="96538" y="103147"/>
                  <a:pt x="96538" y="103147"/>
                </a:cubicBezTo>
                <a:cubicBezTo>
                  <a:pt x="95769" y="103728"/>
                  <a:pt x="95769" y="103728"/>
                  <a:pt x="95769" y="103728"/>
                </a:cubicBezTo>
                <a:cubicBezTo>
                  <a:pt x="95384" y="103728"/>
                  <a:pt x="95384" y="103728"/>
                  <a:pt x="95384" y="103728"/>
                </a:cubicBezTo>
                <a:cubicBezTo>
                  <a:pt x="95384" y="103728"/>
                  <a:pt x="94230" y="104309"/>
                  <a:pt x="93461" y="104891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3076" y="106924"/>
                  <a:pt x="93076" y="106924"/>
                  <a:pt x="93076" y="106924"/>
                </a:cubicBezTo>
                <a:cubicBezTo>
                  <a:pt x="94230" y="107796"/>
                  <a:pt x="94230" y="107796"/>
                  <a:pt x="94230" y="107796"/>
                </a:cubicBezTo>
                <a:cubicBezTo>
                  <a:pt x="95384" y="109249"/>
                  <a:pt x="95384" y="109249"/>
                  <a:pt x="95384" y="109249"/>
                </a:cubicBezTo>
                <a:cubicBezTo>
                  <a:pt x="95384" y="110121"/>
                  <a:pt x="95384" y="110121"/>
                  <a:pt x="95384" y="110121"/>
                </a:cubicBezTo>
                <a:cubicBezTo>
                  <a:pt x="95384" y="110121"/>
                  <a:pt x="94615" y="110702"/>
                  <a:pt x="94615" y="110702"/>
                </a:cubicBezTo>
                <a:cubicBezTo>
                  <a:pt x="94615" y="110992"/>
                  <a:pt x="94230" y="111573"/>
                  <a:pt x="94615" y="111573"/>
                </a:cubicBezTo>
                <a:cubicBezTo>
                  <a:pt x="95000" y="111573"/>
                  <a:pt x="96538" y="111864"/>
                  <a:pt x="96538" y="111864"/>
                </a:cubicBezTo>
                <a:cubicBezTo>
                  <a:pt x="96538" y="111864"/>
                  <a:pt x="96923" y="111864"/>
                  <a:pt x="96923" y="111864"/>
                </a:cubicBezTo>
                <a:cubicBezTo>
                  <a:pt x="97307" y="111864"/>
                  <a:pt x="97307" y="112154"/>
                  <a:pt x="97307" y="112154"/>
                </a:cubicBezTo>
                <a:cubicBezTo>
                  <a:pt x="97307" y="113317"/>
                  <a:pt x="97307" y="113317"/>
                  <a:pt x="97307" y="113317"/>
                </a:cubicBezTo>
                <a:cubicBezTo>
                  <a:pt x="97307" y="113317"/>
                  <a:pt x="97307" y="113607"/>
                  <a:pt x="97307" y="114769"/>
                </a:cubicBezTo>
                <a:cubicBezTo>
                  <a:pt x="97307" y="115932"/>
                  <a:pt x="96923" y="115641"/>
                  <a:pt x="96923" y="115641"/>
                </a:cubicBezTo>
                <a:cubicBezTo>
                  <a:pt x="96923" y="115641"/>
                  <a:pt x="95000" y="115060"/>
                  <a:pt x="95000" y="115060"/>
                </a:cubicBezTo>
                <a:cubicBezTo>
                  <a:pt x="95000" y="115060"/>
                  <a:pt x="94230" y="114479"/>
                  <a:pt x="94230" y="114479"/>
                </a:cubicBezTo>
                <a:cubicBezTo>
                  <a:pt x="93846" y="114188"/>
                  <a:pt x="93846" y="113898"/>
                  <a:pt x="93846" y="113607"/>
                </a:cubicBezTo>
                <a:cubicBezTo>
                  <a:pt x="93846" y="113317"/>
                  <a:pt x="94230" y="112736"/>
                  <a:pt x="94230" y="112736"/>
                </a:cubicBezTo>
                <a:cubicBezTo>
                  <a:pt x="94230" y="112736"/>
                  <a:pt x="92692" y="112445"/>
                  <a:pt x="92692" y="112445"/>
                </a:cubicBezTo>
                <a:cubicBezTo>
                  <a:pt x="92692" y="112445"/>
                  <a:pt x="91538" y="112445"/>
                  <a:pt x="91153" y="112445"/>
                </a:cubicBezTo>
                <a:cubicBezTo>
                  <a:pt x="90769" y="112445"/>
                  <a:pt x="90384" y="113026"/>
                  <a:pt x="90384" y="113026"/>
                </a:cubicBezTo>
                <a:cubicBezTo>
                  <a:pt x="90000" y="113317"/>
                  <a:pt x="89615" y="113026"/>
                  <a:pt x="89230" y="113026"/>
                </a:cubicBezTo>
                <a:cubicBezTo>
                  <a:pt x="89230" y="113026"/>
                  <a:pt x="88846" y="112445"/>
                  <a:pt x="88846" y="112445"/>
                </a:cubicBezTo>
                <a:cubicBezTo>
                  <a:pt x="88461" y="112445"/>
                  <a:pt x="86923" y="112154"/>
                  <a:pt x="86538" y="112154"/>
                </a:cubicBezTo>
                <a:cubicBezTo>
                  <a:pt x="86538" y="112154"/>
                  <a:pt x="85769" y="112154"/>
                  <a:pt x="85000" y="112154"/>
                </a:cubicBezTo>
                <a:cubicBezTo>
                  <a:pt x="84615" y="112445"/>
                  <a:pt x="85000" y="112445"/>
                  <a:pt x="85384" y="113317"/>
                </a:cubicBezTo>
                <a:cubicBezTo>
                  <a:pt x="85384" y="114188"/>
                  <a:pt x="85000" y="113607"/>
                  <a:pt x="84615" y="113607"/>
                </a:cubicBezTo>
                <a:cubicBezTo>
                  <a:pt x="84230" y="113607"/>
                  <a:pt x="84230" y="113607"/>
                  <a:pt x="83461" y="113607"/>
                </a:cubicBezTo>
                <a:cubicBezTo>
                  <a:pt x="82692" y="113607"/>
                  <a:pt x="82307" y="113607"/>
                  <a:pt x="81538" y="113607"/>
                </a:cubicBezTo>
                <a:cubicBezTo>
                  <a:pt x="81153" y="113898"/>
                  <a:pt x="81153" y="113898"/>
                  <a:pt x="81153" y="114188"/>
                </a:cubicBezTo>
                <a:cubicBezTo>
                  <a:pt x="80769" y="114479"/>
                  <a:pt x="80000" y="114479"/>
                  <a:pt x="79615" y="114479"/>
                </a:cubicBezTo>
                <a:cubicBezTo>
                  <a:pt x="79230" y="114479"/>
                  <a:pt x="77692" y="114479"/>
                  <a:pt x="77692" y="114479"/>
                </a:cubicBezTo>
                <a:cubicBezTo>
                  <a:pt x="77307" y="114479"/>
                  <a:pt x="76923" y="115060"/>
                  <a:pt x="76538" y="115351"/>
                </a:cubicBezTo>
                <a:cubicBezTo>
                  <a:pt x="76538" y="115351"/>
                  <a:pt x="75000" y="115351"/>
                  <a:pt x="75000" y="115351"/>
                </a:cubicBezTo>
                <a:cubicBezTo>
                  <a:pt x="74615" y="115641"/>
                  <a:pt x="74615" y="115641"/>
                  <a:pt x="74230" y="115932"/>
                </a:cubicBezTo>
                <a:cubicBezTo>
                  <a:pt x="73461" y="116222"/>
                  <a:pt x="73461" y="116222"/>
                  <a:pt x="73076" y="116803"/>
                </a:cubicBezTo>
                <a:cubicBezTo>
                  <a:pt x="72307" y="117384"/>
                  <a:pt x="72692" y="117094"/>
                  <a:pt x="71153" y="116803"/>
                </a:cubicBezTo>
                <a:cubicBezTo>
                  <a:pt x="70000" y="116803"/>
                  <a:pt x="70769" y="117094"/>
                  <a:pt x="70384" y="117094"/>
                </a:cubicBezTo>
                <a:cubicBezTo>
                  <a:pt x="70000" y="117094"/>
                  <a:pt x="69615" y="117384"/>
                  <a:pt x="69230" y="117675"/>
                </a:cubicBezTo>
                <a:cubicBezTo>
                  <a:pt x="69230" y="117966"/>
                  <a:pt x="68461" y="117384"/>
                  <a:pt x="68076" y="117384"/>
                </a:cubicBezTo>
                <a:cubicBezTo>
                  <a:pt x="67692" y="117675"/>
                  <a:pt x="67692" y="117094"/>
                  <a:pt x="67692" y="116222"/>
                </a:cubicBezTo>
                <a:cubicBezTo>
                  <a:pt x="67307" y="115641"/>
                  <a:pt x="66538" y="115641"/>
                  <a:pt x="66538" y="115641"/>
                </a:cubicBezTo>
                <a:cubicBezTo>
                  <a:pt x="66538" y="115641"/>
                  <a:pt x="65769" y="115641"/>
                  <a:pt x="65769" y="115351"/>
                </a:cubicBezTo>
                <a:cubicBezTo>
                  <a:pt x="65769" y="115060"/>
                  <a:pt x="64230" y="115060"/>
                  <a:pt x="63846" y="115060"/>
                </a:cubicBezTo>
                <a:cubicBezTo>
                  <a:pt x="63846" y="115060"/>
                  <a:pt x="62692" y="115060"/>
                  <a:pt x="62692" y="115060"/>
                </a:cubicBezTo>
                <a:cubicBezTo>
                  <a:pt x="62692" y="115060"/>
                  <a:pt x="61538" y="115060"/>
                  <a:pt x="61538" y="115351"/>
                </a:cubicBezTo>
                <a:cubicBezTo>
                  <a:pt x="61538" y="115351"/>
                  <a:pt x="61153" y="115351"/>
                  <a:pt x="60384" y="115641"/>
                </a:cubicBezTo>
                <a:cubicBezTo>
                  <a:pt x="59230" y="115932"/>
                  <a:pt x="60000" y="115641"/>
                  <a:pt x="60000" y="116222"/>
                </a:cubicBezTo>
                <a:cubicBezTo>
                  <a:pt x="60384" y="116513"/>
                  <a:pt x="60384" y="116803"/>
                  <a:pt x="60384" y="116803"/>
                </a:cubicBezTo>
                <a:cubicBezTo>
                  <a:pt x="60769" y="117094"/>
                  <a:pt x="60384" y="116803"/>
                  <a:pt x="60384" y="117384"/>
                </a:cubicBezTo>
                <a:cubicBezTo>
                  <a:pt x="60000" y="117966"/>
                  <a:pt x="60000" y="117675"/>
                  <a:pt x="60000" y="118256"/>
                </a:cubicBezTo>
                <a:cubicBezTo>
                  <a:pt x="59615" y="118547"/>
                  <a:pt x="59615" y="118256"/>
                  <a:pt x="59230" y="119128"/>
                </a:cubicBezTo>
                <a:cubicBezTo>
                  <a:pt x="58846" y="119709"/>
                  <a:pt x="59230" y="119128"/>
                  <a:pt x="58846" y="119709"/>
                </a:cubicBezTo>
                <a:cubicBezTo>
                  <a:pt x="58461" y="120000"/>
                  <a:pt x="57692" y="119709"/>
                  <a:pt x="56923" y="119418"/>
                </a:cubicBezTo>
                <a:cubicBezTo>
                  <a:pt x="56538" y="119418"/>
                  <a:pt x="56923" y="119128"/>
                  <a:pt x="56923" y="118547"/>
                </a:cubicBezTo>
                <a:cubicBezTo>
                  <a:pt x="57307" y="117966"/>
                  <a:pt x="56923" y="118256"/>
                  <a:pt x="56923" y="117966"/>
                </a:cubicBezTo>
                <a:cubicBezTo>
                  <a:pt x="56923" y="117675"/>
                  <a:pt x="56538" y="117966"/>
                  <a:pt x="55769" y="118256"/>
                </a:cubicBezTo>
                <a:cubicBezTo>
                  <a:pt x="55384" y="118256"/>
                  <a:pt x="55384" y="117675"/>
                  <a:pt x="55769" y="117094"/>
                </a:cubicBezTo>
                <a:cubicBezTo>
                  <a:pt x="55769" y="116513"/>
                  <a:pt x="55384" y="116803"/>
                  <a:pt x="55384" y="116513"/>
                </a:cubicBezTo>
                <a:cubicBezTo>
                  <a:pt x="55384" y="116513"/>
                  <a:pt x="55000" y="116222"/>
                  <a:pt x="54615" y="116222"/>
                </a:cubicBezTo>
                <a:cubicBezTo>
                  <a:pt x="54230" y="116222"/>
                  <a:pt x="53846" y="115932"/>
                  <a:pt x="53846" y="115932"/>
                </a:cubicBezTo>
                <a:cubicBezTo>
                  <a:pt x="53461" y="115641"/>
                  <a:pt x="52692" y="115060"/>
                  <a:pt x="52307" y="114769"/>
                </a:cubicBezTo>
                <a:cubicBezTo>
                  <a:pt x="51538" y="114479"/>
                  <a:pt x="50769" y="114769"/>
                  <a:pt x="50769" y="114769"/>
                </a:cubicBezTo>
                <a:cubicBezTo>
                  <a:pt x="50769" y="114769"/>
                  <a:pt x="50000" y="115351"/>
                  <a:pt x="49230" y="115932"/>
                </a:cubicBezTo>
                <a:cubicBezTo>
                  <a:pt x="49230" y="115932"/>
                  <a:pt x="49230" y="116222"/>
                  <a:pt x="49230" y="116222"/>
                </a:cubicBezTo>
                <a:cubicBezTo>
                  <a:pt x="48846" y="116222"/>
                  <a:pt x="48846" y="116222"/>
                  <a:pt x="48846" y="115932"/>
                </a:cubicBezTo>
                <a:cubicBezTo>
                  <a:pt x="48846" y="115932"/>
                  <a:pt x="48461" y="115641"/>
                  <a:pt x="48461" y="115641"/>
                </a:cubicBezTo>
                <a:cubicBezTo>
                  <a:pt x="48461" y="115641"/>
                  <a:pt x="48461" y="115060"/>
                  <a:pt x="48076" y="115060"/>
                </a:cubicBezTo>
                <a:cubicBezTo>
                  <a:pt x="48076" y="115060"/>
                  <a:pt x="47692" y="115060"/>
                  <a:pt x="47307" y="114769"/>
                </a:cubicBezTo>
                <a:cubicBezTo>
                  <a:pt x="46923" y="114769"/>
                  <a:pt x="46538" y="114479"/>
                  <a:pt x="46538" y="114479"/>
                </a:cubicBezTo>
                <a:cubicBezTo>
                  <a:pt x="46153" y="114479"/>
                  <a:pt x="45384" y="113898"/>
                  <a:pt x="45384" y="113898"/>
                </a:cubicBezTo>
                <a:cubicBezTo>
                  <a:pt x="45384" y="113898"/>
                  <a:pt x="45384" y="113898"/>
                  <a:pt x="45000" y="113898"/>
                </a:cubicBezTo>
                <a:cubicBezTo>
                  <a:pt x="45000" y="113898"/>
                  <a:pt x="44615" y="113607"/>
                  <a:pt x="44615" y="113607"/>
                </a:cubicBezTo>
                <a:cubicBezTo>
                  <a:pt x="44230" y="113607"/>
                  <a:pt x="44230" y="113607"/>
                  <a:pt x="44230" y="113607"/>
                </a:cubicBezTo>
                <a:cubicBezTo>
                  <a:pt x="44230" y="113607"/>
                  <a:pt x="44230" y="113607"/>
                  <a:pt x="44230" y="113607"/>
                </a:cubicBezTo>
                <a:cubicBezTo>
                  <a:pt x="43846" y="113607"/>
                  <a:pt x="43846" y="113607"/>
                  <a:pt x="43461" y="113317"/>
                </a:cubicBezTo>
                <a:cubicBezTo>
                  <a:pt x="42692" y="113317"/>
                  <a:pt x="43076" y="113317"/>
                  <a:pt x="42307" y="113317"/>
                </a:cubicBezTo>
                <a:cubicBezTo>
                  <a:pt x="41923" y="113317"/>
                  <a:pt x="41538" y="113317"/>
                  <a:pt x="41538" y="113317"/>
                </a:cubicBezTo>
                <a:cubicBezTo>
                  <a:pt x="41538" y="113317"/>
                  <a:pt x="41153" y="113026"/>
                  <a:pt x="40384" y="113026"/>
                </a:cubicBezTo>
                <a:cubicBezTo>
                  <a:pt x="40000" y="113317"/>
                  <a:pt x="39230" y="113607"/>
                  <a:pt x="38846" y="113607"/>
                </a:cubicBezTo>
                <a:cubicBezTo>
                  <a:pt x="38846" y="113607"/>
                  <a:pt x="38461" y="113317"/>
                  <a:pt x="38461" y="113317"/>
                </a:cubicBezTo>
                <a:cubicBezTo>
                  <a:pt x="38461" y="113317"/>
                  <a:pt x="38461" y="113026"/>
                  <a:pt x="38461" y="113026"/>
                </a:cubicBezTo>
                <a:cubicBezTo>
                  <a:pt x="38461" y="113026"/>
                  <a:pt x="38076" y="112736"/>
                  <a:pt x="37692" y="112445"/>
                </a:cubicBezTo>
                <a:cubicBezTo>
                  <a:pt x="37692" y="112445"/>
                  <a:pt x="37307" y="112445"/>
                  <a:pt x="37307" y="112445"/>
                </a:cubicBezTo>
                <a:cubicBezTo>
                  <a:pt x="37307" y="112445"/>
                  <a:pt x="37307" y="112445"/>
                  <a:pt x="37307" y="112736"/>
                </a:cubicBezTo>
                <a:cubicBezTo>
                  <a:pt x="37307" y="113026"/>
                  <a:pt x="38076" y="113026"/>
                  <a:pt x="37307" y="113026"/>
                </a:cubicBezTo>
                <a:cubicBezTo>
                  <a:pt x="36923" y="112736"/>
                  <a:pt x="36538" y="112736"/>
                  <a:pt x="36538" y="112736"/>
                </a:cubicBezTo>
                <a:cubicBezTo>
                  <a:pt x="35384" y="113026"/>
                  <a:pt x="35384" y="113026"/>
                  <a:pt x="35384" y="113026"/>
                </a:cubicBezTo>
                <a:cubicBezTo>
                  <a:pt x="35769" y="112736"/>
                  <a:pt x="35769" y="112736"/>
                  <a:pt x="35769" y="112736"/>
                </a:cubicBezTo>
                <a:cubicBezTo>
                  <a:pt x="35769" y="112736"/>
                  <a:pt x="36153" y="112736"/>
                  <a:pt x="36153" y="112736"/>
                </a:cubicBezTo>
                <a:cubicBezTo>
                  <a:pt x="36153" y="112445"/>
                  <a:pt x="36153" y="112445"/>
                  <a:pt x="36153" y="112445"/>
                </a:cubicBezTo>
                <a:cubicBezTo>
                  <a:pt x="36153" y="112445"/>
                  <a:pt x="36153" y="112154"/>
                  <a:pt x="36153" y="112154"/>
                </a:cubicBezTo>
                <a:cubicBezTo>
                  <a:pt x="36538" y="112154"/>
                  <a:pt x="36923" y="111864"/>
                  <a:pt x="36538" y="111864"/>
                </a:cubicBezTo>
                <a:cubicBezTo>
                  <a:pt x="36153" y="111864"/>
                  <a:pt x="35769" y="111864"/>
                  <a:pt x="35769" y="111864"/>
                </a:cubicBezTo>
                <a:cubicBezTo>
                  <a:pt x="35769" y="111573"/>
                  <a:pt x="35769" y="111573"/>
                  <a:pt x="35769" y="111573"/>
                </a:cubicBezTo>
                <a:cubicBezTo>
                  <a:pt x="35769" y="111573"/>
                  <a:pt x="35384" y="111283"/>
                  <a:pt x="35384" y="111283"/>
                </a:cubicBezTo>
                <a:cubicBezTo>
                  <a:pt x="35384" y="111573"/>
                  <a:pt x="35384" y="111864"/>
                  <a:pt x="35384" y="111864"/>
                </a:cubicBezTo>
                <a:cubicBezTo>
                  <a:pt x="35000" y="111864"/>
                  <a:pt x="35000" y="111864"/>
                  <a:pt x="35000" y="111573"/>
                </a:cubicBezTo>
                <a:cubicBezTo>
                  <a:pt x="35000" y="111283"/>
                  <a:pt x="35000" y="111283"/>
                  <a:pt x="35000" y="111283"/>
                </a:cubicBezTo>
                <a:cubicBezTo>
                  <a:pt x="34615" y="111283"/>
                  <a:pt x="34230" y="111283"/>
                  <a:pt x="34230" y="111283"/>
                </a:cubicBezTo>
                <a:cubicBezTo>
                  <a:pt x="34230" y="111283"/>
                  <a:pt x="34615" y="111573"/>
                  <a:pt x="33846" y="111573"/>
                </a:cubicBezTo>
                <a:cubicBezTo>
                  <a:pt x="33461" y="111573"/>
                  <a:pt x="33076" y="111864"/>
                  <a:pt x="32692" y="111864"/>
                </a:cubicBezTo>
                <a:cubicBezTo>
                  <a:pt x="32307" y="112154"/>
                  <a:pt x="32307" y="112445"/>
                  <a:pt x="32307" y="112445"/>
                </a:cubicBezTo>
                <a:cubicBezTo>
                  <a:pt x="32307" y="112736"/>
                  <a:pt x="31538" y="112736"/>
                  <a:pt x="31538" y="113026"/>
                </a:cubicBezTo>
                <a:cubicBezTo>
                  <a:pt x="31923" y="113026"/>
                  <a:pt x="31538" y="113026"/>
                  <a:pt x="32307" y="113317"/>
                </a:cubicBezTo>
                <a:cubicBezTo>
                  <a:pt x="32692" y="113317"/>
                  <a:pt x="32692" y="113317"/>
                  <a:pt x="33076" y="113317"/>
                </a:cubicBezTo>
                <a:cubicBezTo>
                  <a:pt x="33461" y="113607"/>
                  <a:pt x="33846" y="113317"/>
                  <a:pt x="33846" y="113317"/>
                </a:cubicBezTo>
                <a:cubicBezTo>
                  <a:pt x="33846" y="113317"/>
                  <a:pt x="33846" y="113317"/>
                  <a:pt x="34230" y="113607"/>
                </a:cubicBezTo>
                <a:cubicBezTo>
                  <a:pt x="34230" y="113607"/>
                  <a:pt x="34615" y="113317"/>
                  <a:pt x="34615" y="113607"/>
                </a:cubicBezTo>
                <a:cubicBezTo>
                  <a:pt x="34615" y="113898"/>
                  <a:pt x="35000" y="114188"/>
                  <a:pt x="34615" y="114188"/>
                </a:cubicBezTo>
                <a:cubicBezTo>
                  <a:pt x="34230" y="114188"/>
                  <a:pt x="33846" y="114479"/>
                  <a:pt x="33846" y="114188"/>
                </a:cubicBezTo>
                <a:cubicBezTo>
                  <a:pt x="33846" y="114188"/>
                  <a:pt x="33846" y="113898"/>
                  <a:pt x="33461" y="113898"/>
                </a:cubicBezTo>
                <a:cubicBezTo>
                  <a:pt x="33461" y="113898"/>
                  <a:pt x="33076" y="113898"/>
                  <a:pt x="33076" y="113898"/>
                </a:cubicBezTo>
                <a:cubicBezTo>
                  <a:pt x="32692" y="114479"/>
                  <a:pt x="32692" y="114479"/>
                  <a:pt x="32692" y="114479"/>
                </a:cubicBezTo>
                <a:cubicBezTo>
                  <a:pt x="32692" y="114479"/>
                  <a:pt x="32692" y="114769"/>
                  <a:pt x="32307" y="114769"/>
                </a:cubicBezTo>
                <a:cubicBezTo>
                  <a:pt x="31923" y="114769"/>
                  <a:pt x="32307" y="114769"/>
                  <a:pt x="31538" y="114769"/>
                </a:cubicBezTo>
                <a:cubicBezTo>
                  <a:pt x="30769" y="114769"/>
                  <a:pt x="30769" y="114479"/>
                  <a:pt x="30384" y="114479"/>
                </a:cubicBezTo>
                <a:cubicBezTo>
                  <a:pt x="30384" y="114479"/>
                  <a:pt x="30384" y="114479"/>
                  <a:pt x="30000" y="114479"/>
                </a:cubicBezTo>
                <a:cubicBezTo>
                  <a:pt x="30000" y="114479"/>
                  <a:pt x="29230" y="113898"/>
                  <a:pt x="28846" y="114479"/>
                </a:cubicBezTo>
                <a:cubicBezTo>
                  <a:pt x="28461" y="114769"/>
                  <a:pt x="28076" y="115060"/>
                  <a:pt x="28076" y="115060"/>
                </a:cubicBezTo>
                <a:cubicBezTo>
                  <a:pt x="26923" y="115060"/>
                  <a:pt x="26923" y="115060"/>
                  <a:pt x="26923" y="115060"/>
                </a:cubicBezTo>
                <a:cubicBezTo>
                  <a:pt x="26923" y="115060"/>
                  <a:pt x="26538" y="115060"/>
                  <a:pt x="26153" y="115060"/>
                </a:cubicBezTo>
                <a:cubicBezTo>
                  <a:pt x="25769" y="115060"/>
                  <a:pt x="25384" y="115060"/>
                  <a:pt x="25384" y="115060"/>
                </a:cubicBezTo>
                <a:cubicBezTo>
                  <a:pt x="25000" y="115351"/>
                  <a:pt x="24615" y="114479"/>
                  <a:pt x="24615" y="114479"/>
                </a:cubicBezTo>
                <a:cubicBezTo>
                  <a:pt x="24615" y="114479"/>
                  <a:pt x="25000" y="113898"/>
                  <a:pt x="23846" y="114479"/>
                </a:cubicBezTo>
                <a:cubicBezTo>
                  <a:pt x="22692" y="115060"/>
                  <a:pt x="22307" y="115060"/>
                  <a:pt x="22307" y="115060"/>
                </a:cubicBezTo>
                <a:cubicBezTo>
                  <a:pt x="22307" y="115060"/>
                  <a:pt x="21923" y="115060"/>
                  <a:pt x="21923" y="115351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538" y="115060"/>
                  <a:pt x="21538" y="115060"/>
                  <a:pt x="21538" y="114769"/>
                </a:cubicBezTo>
                <a:cubicBezTo>
                  <a:pt x="21538" y="114769"/>
                  <a:pt x="21538" y="114769"/>
                  <a:pt x="21538" y="114769"/>
                </a:cubicBezTo>
                <a:cubicBezTo>
                  <a:pt x="21538" y="114769"/>
                  <a:pt x="21153" y="114769"/>
                  <a:pt x="21153" y="114479"/>
                </a:cubicBezTo>
                <a:cubicBezTo>
                  <a:pt x="20384" y="113898"/>
                  <a:pt x="19230" y="112736"/>
                  <a:pt x="19230" y="112736"/>
                </a:cubicBezTo>
                <a:cubicBezTo>
                  <a:pt x="20000" y="111573"/>
                  <a:pt x="20000" y="111573"/>
                  <a:pt x="20000" y="111573"/>
                </a:cubicBezTo>
                <a:cubicBezTo>
                  <a:pt x="20000" y="111573"/>
                  <a:pt x="20384" y="109539"/>
                  <a:pt x="20384" y="108958"/>
                </a:cubicBezTo>
                <a:cubicBezTo>
                  <a:pt x="20384" y="108668"/>
                  <a:pt x="20384" y="106924"/>
                  <a:pt x="20384" y="106924"/>
                </a:cubicBezTo>
                <a:cubicBezTo>
                  <a:pt x="20384" y="106924"/>
                  <a:pt x="18846" y="106634"/>
                  <a:pt x="20000" y="105762"/>
                </a:cubicBezTo>
                <a:cubicBezTo>
                  <a:pt x="21153" y="104600"/>
                  <a:pt x="22307" y="103147"/>
                  <a:pt x="22307" y="103147"/>
                </a:cubicBezTo>
                <a:cubicBezTo>
                  <a:pt x="22307" y="100242"/>
                  <a:pt x="22307" y="100242"/>
                  <a:pt x="22307" y="100242"/>
                </a:cubicBezTo>
                <a:cubicBezTo>
                  <a:pt x="22307" y="100242"/>
                  <a:pt x="21153" y="99370"/>
                  <a:pt x="22692" y="98789"/>
                </a:cubicBezTo>
                <a:cubicBezTo>
                  <a:pt x="24230" y="97917"/>
                  <a:pt x="26923" y="95302"/>
                  <a:pt x="26923" y="95302"/>
                </a:cubicBezTo>
                <a:cubicBezTo>
                  <a:pt x="29615" y="92978"/>
                  <a:pt x="29615" y="92978"/>
                  <a:pt x="29615" y="92978"/>
                </a:cubicBezTo>
                <a:cubicBezTo>
                  <a:pt x="25000" y="92106"/>
                  <a:pt x="25000" y="92106"/>
                  <a:pt x="25000" y="92106"/>
                </a:cubicBezTo>
                <a:cubicBezTo>
                  <a:pt x="22307" y="91815"/>
                  <a:pt x="22307" y="91815"/>
                  <a:pt x="22307" y="91815"/>
                </a:cubicBezTo>
                <a:cubicBezTo>
                  <a:pt x="20384" y="90944"/>
                  <a:pt x="20384" y="90944"/>
                  <a:pt x="20384" y="90944"/>
                </a:cubicBezTo>
                <a:cubicBezTo>
                  <a:pt x="19230" y="89491"/>
                  <a:pt x="19230" y="89491"/>
                  <a:pt x="19230" y="89491"/>
                </a:cubicBezTo>
                <a:cubicBezTo>
                  <a:pt x="18076" y="90072"/>
                  <a:pt x="18076" y="90072"/>
                  <a:pt x="18076" y="90072"/>
                </a:cubicBezTo>
                <a:cubicBezTo>
                  <a:pt x="16923" y="90653"/>
                  <a:pt x="16923" y="90653"/>
                  <a:pt x="16923" y="90653"/>
                </a:cubicBezTo>
                <a:cubicBezTo>
                  <a:pt x="14230" y="90363"/>
                  <a:pt x="14230" y="90363"/>
                  <a:pt x="14230" y="90363"/>
                </a:cubicBezTo>
                <a:cubicBezTo>
                  <a:pt x="12307" y="88910"/>
                  <a:pt x="12307" y="88910"/>
                  <a:pt x="12307" y="88910"/>
                </a:cubicBezTo>
                <a:cubicBezTo>
                  <a:pt x="10769" y="89782"/>
                  <a:pt x="10769" y="89782"/>
                  <a:pt x="10769" y="89782"/>
                </a:cubicBezTo>
                <a:cubicBezTo>
                  <a:pt x="9230" y="88910"/>
                  <a:pt x="9230" y="88910"/>
                  <a:pt x="9230" y="88910"/>
                </a:cubicBezTo>
                <a:cubicBezTo>
                  <a:pt x="8076" y="87457"/>
                  <a:pt x="8076" y="87457"/>
                  <a:pt x="8076" y="87457"/>
                </a:cubicBezTo>
                <a:cubicBezTo>
                  <a:pt x="7692" y="86295"/>
                  <a:pt x="7692" y="86295"/>
                  <a:pt x="7692" y="86295"/>
                </a:cubicBezTo>
                <a:cubicBezTo>
                  <a:pt x="5769" y="84842"/>
                  <a:pt x="5769" y="84842"/>
                  <a:pt x="5769" y="84842"/>
                </a:cubicBezTo>
                <a:cubicBezTo>
                  <a:pt x="5000" y="84842"/>
                  <a:pt x="5000" y="84842"/>
                  <a:pt x="5000" y="84842"/>
                </a:cubicBezTo>
                <a:cubicBezTo>
                  <a:pt x="5000" y="84552"/>
                  <a:pt x="5000" y="84552"/>
                  <a:pt x="5000" y="84552"/>
                </a:cubicBezTo>
                <a:cubicBezTo>
                  <a:pt x="4615" y="82808"/>
                  <a:pt x="4615" y="82808"/>
                  <a:pt x="4615" y="82808"/>
                </a:cubicBezTo>
                <a:cubicBezTo>
                  <a:pt x="5769" y="82227"/>
                  <a:pt x="5769" y="82227"/>
                  <a:pt x="5769" y="82227"/>
                </a:cubicBezTo>
                <a:cubicBezTo>
                  <a:pt x="6538" y="81355"/>
                  <a:pt x="6538" y="81355"/>
                  <a:pt x="6538" y="81355"/>
                </a:cubicBezTo>
                <a:cubicBezTo>
                  <a:pt x="7307" y="80484"/>
                  <a:pt x="7307" y="80484"/>
                  <a:pt x="7307" y="80484"/>
                </a:cubicBezTo>
                <a:cubicBezTo>
                  <a:pt x="6923" y="79322"/>
                  <a:pt x="6923" y="79322"/>
                  <a:pt x="6923" y="79322"/>
                </a:cubicBezTo>
                <a:cubicBezTo>
                  <a:pt x="6923" y="79322"/>
                  <a:pt x="5384" y="79322"/>
                  <a:pt x="5000" y="79031"/>
                </a:cubicBezTo>
                <a:cubicBezTo>
                  <a:pt x="4615" y="79031"/>
                  <a:pt x="3461" y="78450"/>
                  <a:pt x="3461" y="78450"/>
                </a:cubicBezTo>
                <a:cubicBezTo>
                  <a:pt x="3076" y="76997"/>
                  <a:pt x="3076" y="76997"/>
                  <a:pt x="3076" y="76997"/>
                </a:cubicBezTo>
                <a:cubicBezTo>
                  <a:pt x="2307" y="76125"/>
                  <a:pt x="2307" y="76125"/>
                  <a:pt x="2307" y="76125"/>
                </a:cubicBezTo>
                <a:cubicBezTo>
                  <a:pt x="1923" y="74673"/>
                  <a:pt x="1923" y="74673"/>
                  <a:pt x="1923" y="74673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692" y="73220"/>
                  <a:pt x="2692" y="73220"/>
                  <a:pt x="2692" y="73220"/>
                </a:cubicBezTo>
                <a:cubicBezTo>
                  <a:pt x="3076" y="72639"/>
                  <a:pt x="3076" y="72639"/>
                  <a:pt x="3076" y="72639"/>
                </a:cubicBezTo>
                <a:cubicBezTo>
                  <a:pt x="3076" y="72348"/>
                  <a:pt x="3076" y="72348"/>
                  <a:pt x="3076" y="72348"/>
                </a:cubicBezTo>
                <a:cubicBezTo>
                  <a:pt x="3076" y="72348"/>
                  <a:pt x="3461" y="72058"/>
                  <a:pt x="3846" y="72058"/>
                </a:cubicBezTo>
                <a:cubicBezTo>
                  <a:pt x="3846" y="72058"/>
                  <a:pt x="4230" y="72058"/>
                  <a:pt x="4230" y="72058"/>
                </a:cubicBezTo>
                <a:cubicBezTo>
                  <a:pt x="4615" y="72058"/>
                  <a:pt x="4615" y="71186"/>
                  <a:pt x="4615" y="71186"/>
                </a:cubicBezTo>
                <a:cubicBezTo>
                  <a:pt x="5384" y="71186"/>
                  <a:pt x="5384" y="71186"/>
                  <a:pt x="5384" y="71186"/>
                </a:cubicBezTo>
                <a:cubicBezTo>
                  <a:pt x="5384" y="71186"/>
                  <a:pt x="5769" y="70895"/>
                  <a:pt x="5769" y="70895"/>
                </a:cubicBezTo>
                <a:cubicBezTo>
                  <a:pt x="5769" y="70605"/>
                  <a:pt x="5769" y="70314"/>
                  <a:pt x="5769" y="70314"/>
                </a:cubicBezTo>
                <a:cubicBezTo>
                  <a:pt x="5769" y="70314"/>
                  <a:pt x="6153" y="69733"/>
                  <a:pt x="6153" y="69443"/>
                </a:cubicBezTo>
                <a:cubicBezTo>
                  <a:pt x="6153" y="69152"/>
                  <a:pt x="5769" y="68861"/>
                  <a:pt x="5769" y="68861"/>
                </a:cubicBezTo>
                <a:cubicBezTo>
                  <a:pt x="5769" y="68861"/>
                  <a:pt x="5384" y="68280"/>
                  <a:pt x="5000" y="68280"/>
                </a:cubicBezTo>
                <a:cubicBezTo>
                  <a:pt x="5000" y="68280"/>
                  <a:pt x="4230" y="68280"/>
                  <a:pt x="4230" y="68280"/>
                </a:cubicBezTo>
                <a:cubicBezTo>
                  <a:pt x="3846" y="68280"/>
                  <a:pt x="3461" y="67699"/>
                  <a:pt x="3461" y="67699"/>
                </a:cubicBezTo>
                <a:cubicBezTo>
                  <a:pt x="3461" y="67699"/>
                  <a:pt x="3846" y="67409"/>
                  <a:pt x="3846" y="67118"/>
                </a:cubicBezTo>
                <a:cubicBezTo>
                  <a:pt x="4230" y="67118"/>
                  <a:pt x="4230" y="66246"/>
                  <a:pt x="4230" y="66246"/>
                </a:cubicBezTo>
                <a:cubicBezTo>
                  <a:pt x="4230" y="66246"/>
                  <a:pt x="3846" y="65956"/>
                  <a:pt x="3461" y="65956"/>
                </a:cubicBezTo>
                <a:cubicBezTo>
                  <a:pt x="3461" y="65956"/>
                  <a:pt x="2692" y="65956"/>
                  <a:pt x="2692" y="65956"/>
                </a:cubicBezTo>
                <a:cubicBezTo>
                  <a:pt x="2692" y="65084"/>
                  <a:pt x="2692" y="65084"/>
                  <a:pt x="2692" y="65084"/>
                </a:cubicBezTo>
                <a:cubicBezTo>
                  <a:pt x="2692" y="65084"/>
                  <a:pt x="1923" y="64794"/>
                  <a:pt x="1538" y="64794"/>
                </a:cubicBezTo>
                <a:cubicBezTo>
                  <a:pt x="1538" y="64794"/>
                  <a:pt x="1538" y="64503"/>
                  <a:pt x="1153" y="64503"/>
                </a:cubicBezTo>
                <a:cubicBezTo>
                  <a:pt x="1538" y="64503"/>
                  <a:pt x="1538" y="64503"/>
                  <a:pt x="1538" y="64503"/>
                </a:cubicBezTo>
                <a:cubicBezTo>
                  <a:pt x="1538" y="64503"/>
                  <a:pt x="1538" y="64503"/>
                  <a:pt x="1538" y="64503"/>
                </a:cubicBezTo>
                <a:cubicBezTo>
                  <a:pt x="1538" y="64213"/>
                  <a:pt x="1153" y="63922"/>
                  <a:pt x="1153" y="63631"/>
                </a:cubicBezTo>
                <a:cubicBezTo>
                  <a:pt x="1153" y="63631"/>
                  <a:pt x="1538" y="63631"/>
                  <a:pt x="1538" y="63631"/>
                </a:cubicBezTo>
                <a:cubicBezTo>
                  <a:pt x="1538" y="63631"/>
                  <a:pt x="1538" y="63341"/>
                  <a:pt x="1923" y="63050"/>
                </a:cubicBezTo>
                <a:cubicBezTo>
                  <a:pt x="1923" y="63050"/>
                  <a:pt x="1923" y="63050"/>
                  <a:pt x="2307" y="63050"/>
                </a:cubicBezTo>
                <a:cubicBezTo>
                  <a:pt x="2307" y="63050"/>
                  <a:pt x="2307" y="62760"/>
                  <a:pt x="2692" y="62760"/>
                </a:cubicBezTo>
                <a:cubicBezTo>
                  <a:pt x="2692" y="62469"/>
                  <a:pt x="2692" y="61888"/>
                  <a:pt x="2692" y="61888"/>
                </a:cubicBezTo>
                <a:cubicBezTo>
                  <a:pt x="2692" y="61888"/>
                  <a:pt x="2692" y="61888"/>
                  <a:pt x="2307" y="61598"/>
                </a:cubicBezTo>
                <a:cubicBezTo>
                  <a:pt x="1923" y="61598"/>
                  <a:pt x="1923" y="61598"/>
                  <a:pt x="1923" y="61307"/>
                </a:cubicBezTo>
                <a:cubicBezTo>
                  <a:pt x="1538" y="61307"/>
                  <a:pt x="1923" y="61016"/>
                  <a:pt x="1923" y="61016"/>
                </a:cubicBezTo>
                <a:cubicBezTo>
                  <a:pt x="1923" y="61016"/>
                  <a:pt x="1153" y="60726"/>
                  <a:pt x="1153" y="60726"/>
                </a:cubicBezTo>
                <a:cubicBezTo>
                  <a:pt x="1153" y="60726"/>
                  <a:pt x="384" y="60726"/>
                  <a:pt x="384" y="60726"/>
                </a:cubicBezTo>
                <a:cubicBezTo>
                  <a:pt x="384" y="60726"/>
                  <a:pt x="384" y="60726"/>
                  <a:pt x="384" y="60726"/>
                </a:cubicBezTo>
                <a:cubicBezTo>
                  <a:pt x="384" y="60145"/>
                  <a:pt x="384" y="60145"/>
                  <a:pt x="384" y="60145"/>
                </a:cubicBezTo>
                <a:cubicBezTo>
                  <a:pt x="0" y="59564"/>
                  <a:pt x="0" y="59564"/>
                  <a:pt x="0" y="59564"/>
                </a:cubicBezTo>
                <a:cubicBezTo>
                  <a:pt x="384" y="59273"/>
                  <a:pt x="384" y="59273"/>
                  <a:pt x="384" y="59273"/>
                </a:cubicBezTo>
                <a:cubicBezTo>
                  <a:pt x="1153" y="59854"/>
                  <a:pt x="1153" y="59854"/>
                  <a:pt x="1153" y="59854"/>
                </a:cubicBezTo>
                <a:cubicBezTo>
                  <a:pt x="1153" y="59854"/>
                  <a:pt x="1153" y="59564"/>
                  <a:pt x="1153" y="59273"/>
                </a:cubicBezTo>
                <a:cubicBezTo>
                  <a:pt x="1538" y="59273"/>
                  <a:pt x="1923" y="58692"/>
                  <a:pt x="1923" y="58692"/>
                </a:cubicBezTo>
                <a:cubicBezTo>
                  <a:pt x="2692" y="58692"/>
                  <a:pt x="2692" y="58692"/>
                  <a:pt x="2692" y="58692"/>
                </a:cubicBezTo>
                <a:cubicBezTo>
                  <a:pt x="2692" y="58692"/>
                  <a:pt x="4230" y="58692"/>
                  <a:pt x="4230" y="58692"/>
                </a:cubicBezTo>
                <a:cubicBezTo>
                  <a:pt x="4615" y="58401"/>
                  <a:pt x="3846" y="57820"/>
                  <a:pt x="3846" y="57820"/>
                </a:cubicBezTo>
                <a:cubicBezTo>
                  <a:pt x="3846" y="57820"/>
                  <a:pt x="3076" y="58401"/>
                  <a:pt x="3076" y="58401"/>
                </a:cubicBezTo>
                <a:cubicBezTo>
                  <a:pt x="2692" y="58401"/>
                  <a:pt x="2692" y="57530"/>
                  <a:pt x="2692" y="57530"/>
                </a:cubicBezTo>
                <a:cubicBezTo>
                  <a:pt x="2692" y="56949"/>
                  <a:pt x="2692" y="56949"/>
                  <a:pt x="2692" y="56949"/>
                </a:cubicBezTo>
                <a:cubicBezTo>
                  <a:pt x="3461" y="56658"/>
                  <a:pt x="3461" y="56658"/>
                  <a:pt x="3461" y="56658"/>
                </a:cubicBezTo>
                <a:cubicBezTo>
                  <a:pt x="3846" y="56077"/>
                  <a:pt x="3846" y="56077"/>
                  <a:pt x="3846" y="56077"/>
                </a:cubicBezTo>
                <a:cubicBezTo>
                  <a:pt x="3846" y="56077"/>
                  <a:pt x="4615" y="55496"/>
                  <a:pt x="4615" y="55496"/>
                </a:cubicBezTo>
                <a:cubicBezTo>
                  <a:pt x="5000" y="55205"/>
                  <a:pt x="4615" y="54624"/>
                  <a:pt x="4615" y="54624"/>
                </a:cubicBezTo>
                <a:cubicBezTo>
                  <a:pt x="5000" y="53753"/>
                  <a:pt x="5000" y="53753"/>
                  <a:pt x="5000" y="53753"/>
                </a:cubicBezTo>
                <a:cubicBezTo>
                  <a:pt x="4230" y="52881"/>
                  <a:pt x="4230" y="52881"/>
                  <a:pt x="4230" y="52881"/>
                </a:cubicBezTo>
                <a:cubicBezTo>
                  <a:pt x="4230" y="52009"/>
                  <a:pt x="4230" y="52009"/>
                  <a:pt x="4230" y="52009"/>
                </a:cubicBezTo>
                <a:cubicBezTo>
                  <a:pt x="3461" y="51138"/>
                  <a:pt x="3461" y="51138"/>
                  <a:pt x="3461" y="51138"/>
                </a:cubicBezTo>
                <a:cubicBezTo>
                  <a:pt x="3461" y="50847"/>
                  <a:pt x="3461" y="50847"/>
                  <a:pt x="3461" y="50847"/>
                </a:cubicBezTo>
                <a:cubicBezTo>
                  <a:pt x="3076" y="50266"/>
                  <a:pt x="3076" y="50266"/>
                  <a:pt x="3076" y="50266"/>
                </a:cubicBezTo>
                <a:cubicBezTo>
                  <a:pt x="3076" y="49685"/>
                  <a:pt x="3076" y="49685"/>
                  <a:pt x="3076" y="49685"/>
                </a:cubicBezTo>
                <a:cubicBezTo>
                  <a:pt x="3076" y="49685"/>
                  <a:pt x="2307" y="49104"/>
                  <a:pt x="1923" y="49104"/>
                </a:cubicBezTo>
                <a:cubicBezTo>
                  <a:pt x="1538" y="49104"/>
                  <a:pt x="1923" y="48813"/>
                  <a:pt x="1923" y="48813"/>
                </a:cubicBezTo>
                <a:cubicBezTo>
                  <a:pt x="1923" y="48232"/>
                  <a:pt x="1923" y="48232"/>
                  <a:pt x="1923" y="48232"/>
                </a:cubicBezTo>
                <a:cubicBezTo>
                  <a:pt x="1923" y="47360"/>
                  <a:pt x="1923" y="47360"/>
                  <a:pt x="1923" y="47360"/>
                </a:cubicBezTo>
                <a:cubicBezTo>
                  <a:pt x="3846" y="47651"/>
                  <a:pt x="3846" y="47651"/>
                  <a:pt x="3846" y="47651"/>
                </a:cubicBezTo>
                <a:cubicBezTo>
                  <a:pt x="4615" y="47651"/>
                  <a:pt x="4615" y="47651"/>
                  <a:pt x="4615" y="47651"/>
                </a:cubicBezTo>
                <a:cubicBezTo>
                  <a:pt x="3461" y="47070"/>
                  <a:pt x="3461" y="47070"/>
                  <a:pt x="3461" y="47070"/>
                </a:cubicBezTo>
                <a:cubicBezTo>
                  <a:pt x="4615" y="46779"/>
                  <a:pt x="4615" y="46779"/>
                  <a:pt x="4615" y="46779"/>
                </a:cubicBezTo>
                <a:cubicBezTo>
                  <a:pt x="5384" y="47360"/>
                  <a:pt x="5384" y="47360"/>
                  <a:pt x="5384" y="47360"/>
                </a:cubicBezTo>
                <a:cubicBezTo>
                  <a:pt x="6538" y="47651"/>
                  <a:pt x="6538" y="47651"/>
                  <a:pt x="6538" y="47651"/>
                </a:cubicBezTo>
                <a:cubicBezTo>
                  <a:pt x="6923" y="48232"/>
                  <a:pt x="6923" y="48232"/>
                  <a:pt x="6923" y="48232"/>
                </a:cubicBezTo>
                <a:cubicBezTo>
                  <a:pt x="7307" y="47651"/>
                  <a:pt x="7307" y="47651"/>
                  <a:pt x="7307" y="47651"/>
                </a:cubicBezTo>
                <a:cubicBezTo>
                  <a:pt x="8461" y="47651"/>
                  <a:pt x="8461" y="47651"/>
                  <a:pt x="8461" y="47651"/>
                </a:cubicBezTo>
                <a:cubicBezTo>
                  <a:pt x="8846" y="47651"/>
                  <a:pt x="8846" y="47651"/>
                  <a:pt x="8846" y="47651"/>
                </a:cubicBezTo>
                <a:cubicBezTo>
                  <a:pt x="10000" y="47360"/>
                  <a:pt x="10000" y="47360"/>
                  <a:pt x="10000" y="47360"/>
                </a:cubicBezTo>
                <a:cubicBezTo>
                  <a:pt x="11153" y="47360"/>
                  <a:pt x="11153" y="47360"/>
                  <a:pt x="11153" y="47360"/>
                </a:cubicBezTo>
                <a:cubicBezTo>
                  <a:pt x="11538" y="46779"/>
                  <a:pt x="11538" y="46779"/>
                  <a:pt x="11538" y="46779"/>
                </a:cubicBezTo>
                <a:cubicBezTo>
                  <a:pt x="12307" y="46489"/>
                  <a:pt x="12307" y="46489"/>
                  <a:pt x="12307" y="46489"/>
                </a:cubicBezTo>
                <a:cubicBezTo>
                  <a:pt x="12692" y="46198"/>
                  <a:pt x="12692" y="46198"/>
                  <a:pt x="12692" y="46198"/>
                </a:cubicBezTo>
                <a:cubicBezTo>
                  <a:pt x="11538" y="45617"/>
                  <a:pt x="11538" y="45617"/>
                  <a:pt x="11538" y="45617"/>
                </a:cubicBezTo>
                <a:cubicBezTo>
                  <a:pt x="10769" y="44745"/>
                  <a:pt x="10769" y="44745"/>
                  <a:pt x="10769" y="44745"/>
                </a:cubicBezTo>
                <a:cubicBezTo>
                  <a:pt x="11538" y="44745"/>
                  <a:pt x="11538" y="44745"/>
                  <a:pt x="11538" y="44745"/>
                </a:cubicBezTo>
                <a:cubicBezTo>
                  <a:pt x="11538" y="43874"/>
                  <a:pt x="11538" y="43874"/>
                  <a:pt x="11538" y="43874"/>
                </a:cubicBezTo>
                <a:cubicBezTo>
                  <a:pt x="11538" y="43874"/>
                  <a:pt x="13076" y="44164"/>
                  <a:pt x="13076" y="44164"/>
                </a:cubicBezTo>
                <a:cubicBezTo>
                  <a:pt x="13076" y="43874"/>
                  <a:pt x="13076" y="43874"/>
                  <a:pt x="13461" y="43583"/>
                </a:cubicBezTo>
                <a:cubicBezTo>
                  <a:pt x="13846" y="43583"/>
                  <a:pt x="14615" y="43292"/>
                  <a:pt x="14615" y="43292"/>
                </a:cubicBezTo>
                <a:cubicBezTo>
                  <a:pt x="15000" y="42711"/>
                  <a:pt x="15000" y="42711"/>
                  <a:pt x="15000" y="42711"/>
                </a:cubicBezTo>
                <a:cubicBezTo>
                  <a:pt x="15000" y="42711"/>
                  <a:pt x="15769" y="42421"/>
                  <a:pt x="15769" y="42421"/>
                </a:cubicBezTo>
                <a:cubicBezTo>
                  <a:pt x="16153" y="42421"/>
                  <a:pt x="15769" y="42130"/>
                  <a:pt x="15769" y="41840"/>
                </a:cubicBezTo>
                <a:cubicBezTo>
                  <a:pt x="15769" y="41549"/>
                  <a:pt x="15769" y="40968"/>
                  <a:pt x="15769" y="40968"/>
                </a:cubicBezTo>
                <a:cubicBezTo>
                  <a:pt x="16153" y="40387"/>
                  <a:pt x="16153" y="40387"/>
                  <a:pt x="16153" y="40387"/>
                </a:cubicBezTo>
                <a:cubicBezTo>
                  <a:pt x="15384" y="39225"/>
                  <a:pt x="15384" y="39225"/>
                  <a:pt x="15384" y="39225"/>
                </a:cubicBezTo>
                <a:cubicBezTo>
                  <a:pt x="14230" y="39515"/>
                  <a:pt x="14230" y="39515"/>
                  <a:pt x="14230" y="39515"/>
                </a:cubicBezTo>
                <a:cubicBezTo>
                  <a:pt x="13461" y="38934"/>
                  <a:pt x="13461" y="38934"/>
                  <a:pt x="13461" y="38934"/>
                </a:cubicBezTo>
                <a:cubicBezTo>
                  <a:pt x="13461" y="38934"/>
                  <a:pt x="12307" y="38934"/>
                  <a:pt x="12307" y="38644"/>
                </a:cubicBezTo>
                <a:cubicBezTo>
                  <a:pt x="11923" y="38353"/>
                  <a:pt x="11538" y="37772"/>
                  <a:pt x="11538" y="37772"/>
                </a:cubicBezTo>
                <a:cubicBezTo>
                  <a:pt x="11538" y="37191"/>
                  <a:pt x="11538" y="37191"/>
                  <a:pt x="11538" y="37191"/>
                </a:cubicBezTo>
                <a:cubicBezTo>
                  <a:pt x="12692" y="37191"/>
                  <a:pt x="12692" y="37191"/>
                  <a:pt x="12692" y="37191"/>
                </a:cubicBezTo>
                <a:cubicBezTo>
                  <a:pt x="11923" y="36900"/>
                  <a:pt x="11923" y="36900"/>
                  <a:pt x="11923" y="36900"/>
                </a:cubicBezTo>
                <a:cubicBezTo>
                  <a:pt x="11923" y="36029"/>
                  <a:pt x="11923" y="36029"/>
                  <a:pt x="11923" y="36029"/>
                </a:cubicBezTo>
                <a:cubicBezTo>
                  <a:pt x="13461" y="35738"/>
                  <a:pt x="13461" y="35738"/>
                  <a:pt x="13461" y="35738"/>
                </a:cubicBezTo>
                <a:cubicBezTo>
                  <a:pt x="13461" y="35738"/>
                  <a:pt x="15384" y="36319"/>
                  <a:pt x="15769" y="36319"/>
                </a:cubicBezTo>
                <a:cubicBezTo>
                  <a:pt x="16153" y="36610"/>
                  <a:pt x="16153" y="35447"/>
                  <a:pt x="16153" y="35447"/>
                </a:cubicBezTo>
                <a:cubicBezTo>
                  <a:pt x="16538" y="33995"/>
                  <a:pt x="16538" y="33995"/>
                  <a:pt x="16538" y="33995"/>
                </a:cubicBezTo>
                <a:cubicBezTo>
                  <a:pt x="16538" y="33995"/>
                  <a:pt x="16153" y="32832"/>
                  <a:pt x="16538" y="32542"/>
                </a:cubicBezTo>
                <a:cubicBezTo>
                  <a:pt x="16923" y="32542"/>
                  <a:pt x="18076" y="30799"/>
                  <a:pt x="18076" y="30799"/>
                </a:cubicBezTo>
                <a:cubicBezTo>
                  <a:pt x="18076" y="30799"/>
                  <a:pt x="18076" y="29055"/>
                  <a:pt x="18076" y="28765"/>
                </a:cubicBezTo>
                <a:cubicBezTo>
                  <a:pt x="18076" y="28474"/>
                  <a:pt x="18076" y="27312"/>
                  <a:pt x="18076" y="27312"/>
                </a:cubicBezTo>
                <a:cubicBezTo>
                  <a:pt x="18076" y="27021"/>
                  <a:pt x="18076" y="27021"/>
                  <a:pt x="18076" y="27021"/>
                </a:cubicBezTo>
                <a:cubicBezTo>
                  <a:pt x="18076" y="27021"/>
                  <a:pt x="16923" y="26731"/>
                  <a:pt x="16538" y="26731"/>
                </a:cubicBezTo>
                <a:cubicBezTo>
                  <a:pt x="16538" y="26440"/>
                  <a:pt x="16923" y="25859"/>
                  <a:pt x="16923" y="25859"/>
                </a:cubicBezTo>
                <a:cubicBezTo>
                  <a:pt x="15000" y="25569"/>
                  <a:pt x="15000" y="25569"/>
                  <a:pt x="15000" y="25569"/>
                </a:cubicBezTo>
                <a:cubicBezTo>
                  <a:pt x="15384" y="24697"/>
                  <a:pt x="15769" y="23244"/>
                  <a:pt x="16153" y="23244"/>
                </a:cubicBezTo>
                <a:cubicBezTo>
                  <a:pt x="16538" y="22953"/>
                  <a:pt x="17307" y="22372"/>
                  <a:pt x="17307" y="22372"/>
                </a:cubicBezTo>
                <a:cubicBezTo>
                  <a:pt x="17307" y="21210"/>
                  <a:pt x="17307" y="21210"/>
                  <a:pt x="17307" y="21210"/>
                </a:cubicBezTo>
                <a:cubicBezTo>
                  <a:pt x="16538" y="20338"/>
                  <a:pt x="16538" y="20338"/>
                  <a:pt x="16538" y="20338"/>
                </a:cubicBezTo>
                <a:cubicBezTo>
                  <a:pt x="17307" y="19467"/>
                  <a:pt x="17307" y="19467"/>
                  <a:pt x="17307" y="19467"/>
                </a:cubicBezTo>
                <a:cubicBezTo>
                  <a:pt x="17307" y="19467"/>
                  <a:pt x="18846" y="18886"/>
                  <a:pt x="18846" y="18886"/>
                </a:cubicBezTo>
                <a:cubicBezTo>
                  <a:pt x="19230" y="18886"/>
                  <a:pt x="21538" y="18886"/>
                  <a:pt x="21538" y="18886"/>
                </a:cubicBezTo>
                <a:cubicBezTo>
                  <a:pt x="23076" y="18305"/>
                  <a:pt x="23076" y="18305"/>
                  <a:pt x="23076" y="18305"/>
                </a:cubicBezTo>
                <a:cubicBezTo>
                  <a:pt x="25384" y="18305"/>
                  <a:pt x="25384" y="18305"/>
                  <a:pt x="25384" y="18305"/>
                </a:cubicBezTo>
                <a:cubicBezTo>
                  <a:pt x="26923" y="18014"/>
                  <a:pt x="26923" y="18014"/>
                  <a:pt x="26923" y="18014"/>
                </a:cubicBezTo>
                <a:cubicBezTo>
                  <a:pt x="28076" y="18595"/>
                  <a:pt x="28076" y="18595"/>
                  <a:pt x="28076" y="18595"/>
                </a:cubicBezTo>
                <a:cubicBezTo>
                  <a:pt x="28076" y="18595"/>
                  <a:pt x="28846" y="19176"/>
                  <a:pt x="28846" y="19467"/>
                </a:cubicBezTo>
                <a:cubicBezTo>
                  <a:pt x="28846" y="19467"/>
                  <a:pt x="29615" y="20048"/>
                  <a:pt x="29615" y="20338"/>
                </a:cubicBezTo>
                <a:cubicBezTo>
                  <a:pt x="29230" y="20338"/>
                  <a:pt x="30000" y="21210"/>
                  <a:pt x="30000" y="21210"/>
                </a:cubicBezTo>
                <a:cubicBezTo>
                  <a:pt x="30000" y="21210"/>
                  <a:pt x="29615" y="21791"/>
                  <a:pt x="29615" y="22082"/>
                </a:cubicBezTo>
                <a:cubicBezTo>
                  <a:pt x="29615" y="22082"/>
                  <a:pt x="30000" y="23244"/>
                  <a:pt x="30000" y="23244"/>
                </a:cubicBezTo>
                <a:cubicBezTo>
                  <a:pt x="30000" y="23535"/>
                  <a:pt x="30769" y="23825"/>
                  <a:pt x="30769" y="23825"/>
                </a:cubicBezTo>
                <a:cubicBezTo>
                  <a:pt x="31538" y="23535"/>
                  <a:pt x="31538" y="23535"/>
                  <a:pt x="31538" y="23535"/>
                </a:cubicBezTo>
                <a:cubicBezTo>
                  <a:pt x="31923" y="22953"/>
                  <a:pt x="31923" y="22953"/>
                  <a:pt x="31923" y="22953"/>
                </a:cubicBezTo>
                <a:cubicBezTo>
                  <a:pt x="31153" y="22082"/>
                  <a:pt x="31153" y="22082"/>
                  <a:pt x="31153" y="22082"/>
                </a:cubicBezTo>
                <a:cubicBezTo>
                  <a:pt x="30769" y="22082"/>
                  <a:pt x="30769" y="22082"/>
                  <a:pt x="30769" y="22082"/>
                </a:cubicBezTo>
                <a:cubicBezTo>
                  <a:pt x="31153" y="20920"/>
                  <a:pt x="31153" y="20920"/>
                  <a:pt x="31153" y="20920"/>
                </a:cubicBezTo>
                <a:cubicBezTo>
                  <a:pt x="31153" y="20920"/>
                  <a:pt x="31923" y="20629"/>
                  <a:pt x="32307" y="20920"/>
                </a:cubicBezTo>
                <a:cubicBezTo>
                  <a:pt x="32692" y="20920"/>
                  <a:pt x="33846" y="21791"/>
                  <a:pt x="33846" y="21791"/>
                </a:cubicBezTo>
                <a:cubicBezTo>
                  <a:pt x="34615" y="22082"/>
                  <a:pt x="34615" y="22082"/>
                  <a:pt x="34615" y="22082"/>
                </a:cubicBezTo>
                <a:cubicBezTo>
                  <a:pt x="34615" y="22082"/>
                  <a:pt x="35769" y="21501"/>
                  <a:pt x="35769" y="21501"/>
                </a:cubicBezTo>
                <a:cubicBezTo>
                  <a:pt x="35769" y="21501"/>
                  <a:pt x="34615" y="20338"/>
                  <a:pt x="34615" y="20338"/>
                </a:cubicBezTo>
                <a:cubicBezTo>
                  <a:pt x="35000" y="18886"/>
                  <a:pt x="35000" y="18886"/>
                  <a:pt x="35000" y="18886"/>
                </a:cubicBezTo>
                <a:cubicBezTo>
                  <a:pt x="35384" y="17723"/>
                  <a:pt x="35384" y="17723"/>
                  <a:pt x="35384" y="17723"/>
                </a:cubicBezTo>
                <a:cubicBezTo>
                  <a:pt x="36923" y="16852"/>
                  <a:pt x="36923" y="16852"/>
                  <a:pt x="36923" y="16852"/>
                </a:cubicBezTo>
                <a:cubicBezTo>
                  <a:pt x="38076" y="17433"/>
                  <a:pt x="38076" y="17433"/>
                  <a:pt x="38076" y="17433"/>
                </a:cubicBezTo>
                <a:cubicBezTo>
                  <a:pt x="40000" y="17433"/>
                  <a:pt x="40000" y="17433"/>
                  <a:pt x="40000" y="17433"/>
                </a:cubicBezTo>
                <a:cubicBezTo>
                  <a:pt x="41923" y="17433"/>
                  <a:pt x="41923" y="17433"/>
                  <a:pt x="41923" y="17433"/>
                </a:cubicBezTo>
                <a:cubicBezTo>
                  <a:pt x="43076" y="17142"/>
                  <a:pt x="43076" y="17142"/>
                  <a:pt x="43076" y="17142"/>
                </a:cubicBezTo>
                <a:cubicBezTo>
                  <a:pt x="44615" y="17142"/>
                  <a:pt x="44615" y="17142"/>
                  <a:pt x="44615" y="17142"/>
                </a:cubicBezTo>
                <a:cubicBezTo>
                  <a:pt x="44615" y="17142"/>
                  <a:pt x="43846" y="16561"/>
                  <a:pt x="43846" y="16561"/>
                </a:cubicBezTo>
                <a:cubicBezTo>
                  <a:pt x="43461" y="16561"/>
                  <a:pt x="42692" y="15980"/>
                  <a:pt x="42692" y="15980"/>
                </a:cubicBezTo>
                <a:cubicBezTo>
                  <a:pt x="42692" y="15980"/>
                  <a:pt x="42307" y="16561"/>
                  <a:pt x="42307" y="16561"/>
                </a:cubicBezTo>
                <a:cubicBezTo>
                  <a:pt x="41923" y="16852"/>
                  <a:pt x="40769" y="16852"/>
                  <a:pt x="40769" y="16561"/>
                </a:cubicBezTo>
                <a:cubicBezTo>
                  <a:pt x="40384" y="16561"/>
                  <a:pt x="40000" y="15690"/>
                  <a:pt x="40000" y="15690"/>
                </a:cubicBezTo>
                <a:cubicBezTo>
                  <a:pt x="40000" y="14818"/>
                  <a:pt x="40000" y="14818"/>
                  <a:pt x="40000" y="14818"/>
                </a:cubicBezTo>
                <a:cubicBezTo>
                  <a:pt x="40769" y="14527"/>
                  <a:pt x="40769" y="14527"/>
                  <a:pt x="40769" y="14527"/>
                </a:cubicBezTo>
                <a:cubicBezTo>
                  <a:pt x="39615" y="13656"/>
                  <a:pt x="39615" y="13656"/>
                  <a:pt x="39615" y="13656"/>
                </a:cubicBezTo>
                <a:cubicBezTo>
                  <a:pt x="39615" y="13656"/>
                  <a:pt x="39615" y="12784"/>
                  <a:pt x="40000" y="12493"/>
                </a:cubicBezTo>
                <a:cubicBezTo>
                  <a:pt x="40384" y="12493"/>
                  <a:pt x="40384" y="11912"/>
                  <a:pt x="40384" y="11912"/>
                </a:cubicBezTo>
                <a:cubicBezTo>
                  <a:pt x="39230" y="11912"/>
                  <a:pt x="39230" y="11912"/>
                  <a:pt x="39230" y="11912"/>
                </a:cubicBezTo>
                <a:cubicBezTo>
                  <a:pt x="39230" y="11912"/>
                  <a:pt x="38846" y="11912"/>
                  <a:pt x="38846" y="11331"/>
                </a:cubicBezTo>
                <a:cubicBezTo>
                  <a:pt x="39230" y="10750"/>
                  <a:pt x="39230" y="10460"/>
                  <a:pt x="39230" y="10460"/>
                </a:cubicBezTo>
                <a:cubicBezTo>
                  <a:pt x="37692" y="10460"/>
                  <a:pt x="37692" y="10460"/>
                  <a:pt x="37692" y="10460"/>
                </a:cubicBezTo>
                <a:cubicBezTo>
                  <a:pt x="36923" y="10460"/>
                  <a:pt x="36923" y="10460"/>
                  <a:pt x="36923" y="10460"/>
                </a:cubicBezTo>
                <a:cubicBezTo>
                  <a:pt x="35769" y="9588"/>
                  <a:pt x="35769" y="9588"/>
                  <a:pt x="35769" y="9588"/>
                </a:cubicBezTo>
                <a:cubicBezTo>
                  <a:pt x="36153" y="8716"/>
                  <a:pt x="36153" y="8716"/>
                  <a:pt x="36153" y="8716"/>
                </a:cubicBezTo>
                <a:cubicBezTo>
                  <a:pt x="38461" y="8426"/>
                  <a:pt x="38461" y="8426"/>
                  <a:pt x="38461" y="8426"/>
                </a:cubicBezTo>
                <a:cubicBezTo>
                  <a:pt x="41153" y="7554"/>
                  <a:pt x="41153" y="7554"/>
                  <a:pt x="41153" y="7554"/>
                </a:cubicBezTo>
                <a:cubicBezTo>
                  <a:pt x="40769" y="6973"/>
                  <a:pt x="40769" y="6973"/>
                  <a:pt x="40769" y="6973"/>
                </a:cubicBezTo>
                <a:cubicBezTo>
                  <a:pt x="40000" y="7263"/>
                  <a:pt x="40000" y="7263"/>
                  <a:pt x="40000" y="7263"/>
                </a:cubicBezTo>
                <a:cubicBezTo>
                  <a:pt x="40000" y="7263"/>
                  <a:pt x="39615" y="7554"/>
                  <a:pt x="39615" y="7554"/>
                </a:cubicBezTo>
                <a:cubicBezTo>
                  <a:pt x="39230" y="7554"/>
                  <a:pt x="38461" y="7554"/>
                  <a:pt x="38461" y="7554"/>
                </a:cubicBezTo>
                <a:cubicBezTo>
                  <a:pt x="38461" y="6973"/>
                  <a:pt x="38461" y="6973"/>
                  <a:pt x="38461" y="6973"/>
                </a:cubicBezTo>
                <a:cubicBezTo>
                  <a:pt x="39615" y="6973"/>
                  <a:pt x="39615" y="6973"/>
                  <a:pt x="39615" y="6973"/>
                </a:cubicBezTo>
                <a:cubicBezTo>
                  <a:pt x="40384" y="6682"/>
                  <a:pt x="40384" y="6682"/>
                  <a:pt x="40384" y="6682"/>
                </a:cubicBezTo>
                <a:cubicBezTo>
                  <a:pt x="39615" y="6392"/>
                  <a:pt x="39615" y="6392"/>
                  <a:pt x="39615" y="6392"/>
                </a:cubicBezTo>
                <a:cubicBezTo>
                  <a:pt x="38461" y="5230"/>
                  <a:pt x="38461" y="5230"/>
                  <a:pt x="38461" y="5230"/>
                </a:cubicBezTo>
                <a:cubicBezTo>
                  <a:pt x="38076" y="4358"/>
                  <a:pt x="38076" y="4358"/>
                  <a:pt x="38076" y="4358"/>
                </a:cubicBezTo>
                <a:cubicBezTo>
                  <a:pt x="37307" y="4067"/>
                  <a:pt x="37307" y="4067"/>
                  <a:pt x="37307" y="4067"/>
                </a:cubicBezTo>
                <a:cubicBezTo>
                  <a:pt x="36538" y="3486"/>
                  <a:pt x="36538" y="3486"/>
                  <a:pt x="36538" y="3486"/>
                </a:cubicBezTo>
                <a:cubicBezTo>
                  <a:pt x="36538" y="2615"/>
                  <a:pt x="36538" y="2615"/>
                  <a:pt x="36538" y="2615"/>
                </a:cubicBezTo>
                <a:cubicBezTo>
                  <a:pt x="36153" y="290"/>
                  <a:pt x="36153" y="290"/>
                  <a:pt x="36153" y="290"/>
                </a:cubicBezTo>
                <a:cubicBezTo>
                  <a:pt x="37307" y="290"/>
                  <a:pt x="37307" y="290"/>
                  <a:pt x="37307" y="290"/>
                </a:cubicBezTo>
                <a:cubicBezTo>
                  <a:pt x="38076" y="0"/>
                  <a:pt x="38076" y="0"/>
                  <a:pt x="38076" y="0"/>
                </a:cubicBezTo>
                <a:cubicBezTo>
                  <a:pt x="38076" y="0"/>
                  <a:pt x="40000" y="581"/>
                  <a:pt x="40384" y="581"/>
                </a:cubicBezTo>
                <a:cubicBezTo>
                  <a:pt x="40769" y="581"/>
                  <a:pt x="41538" y="871"/>
                  <a:pt x="41538" y="871"/>
                </a:cubicBezTo>
                <a:cubicBezTo>
                  <a:pt x="43076" y="1452"/>
                  <a:pt x="43076" y="1452"/>
                  <a:pt x="43076" y="1452"/>
                </a:cubicBezTo>
                <a:cubicBezTo>
                  <a:pt x="44230" y="1743"/>
                  <a:pt x="44230" y="1743"/>
                  <a:pt x="44230" y="1743"/>
                </a:cubicBezTo>
                <a:cubicBezTo>
                  <a:pt x="44230" y="1743"/>
                  <a:pt x="44615" y="1743"/>
                  <a:pt x="44615" y="1743"/>
                </a:cubicBezTo>
                <a:cubicBezTo>
                  <a:pt x="45000" y="1743"/>
                  <a:pt x="45769" y="1452"/>
                  <a:pt x="45769" y="1452"/>
                </a:cubicBezTo>
                <a:cubicBezTo>
                  <a:pt x="45769" y="1452"/>
                  <a:pt x="46923" y="871"/>
                  <a:pt x="47307" y="871"/>
                </a:cubicBezTo>
                <a:cubicBezTo>
                  <a:pt x="47307" y="581"/>
                  <a:pt x="47692" y="581"/>
                  <a:pt x="47692" y="581"/>
                </a:cubicBezTo>
                <a:cubicBezTo>
                  <a:pt x="48461" y="1743"/>
                  <a:pt x="48461" y="1743"/>
                  <a:pt x="48461" y="1743"/>
                </a:cubicBezTo>
                <a:cubicBezTo>
                  <a:pt x="49230" y="1162"/>
                  <a:pt x="49230" y="1162"/>
                  <a:pt x="49230" y="1162"/>
                </a:cubicBezTo>
                <a:cubicBezTo>
                  <a:pt x="49615" y="581"/>
                  <a:pt x="49615" y="581"/>
                  <a:pt x="49615" y="581"/>
                </a:cubicBezTo>
                <a:cubicBezTo>
                  <a:pt x="52692" y="3196"/>
                  <a:pt x="52692" y="3196"/>
                  <a:pt x="52692" y="3196"/>
                </a:cubicBezTo>
                <a:cubicBezTo>
                  <a:pt x="53076" y="4358"/>
                  <a:pt x="53076" y="4358"/>
                  <a:pt x="53076" y="4358"/>
                </a:cubicBezTo>
                <a:cubicBezTo>
                  <a:pt x="53076" y="4358"/>
                  <a:pt x="53076" y="5230"/>
                  <a:pt x="53076" y="5230"/>
                </a:cubicBezTo>
                <a:cubicBezTo>
                  <a:pt x="52692" y="5230"/>
                  <a:pt x="52307" y="6392"/>
                  <a:pt x="52307" y="6392"/>
                </a:cubicBezTo>
                <a:cubicBezTo>
                  <a:pt x="52307" y="7263"/>
                  <a:pt x="52307" y="7263"/>
                  <a:pt x="52307" y="7263"/>
                </a:cubicBezTo>
                <a:cubicBezTo>
                  <a:pt x="53076" y="7554"/>
                  <a:pt x="53076" y="7554"/>
                  <a:pt x="53076" y="7554"/>
                </a:cubicBezTo>
                <a:cubicBezTo>
                  <a:pt x="54230" y="7554"/>
                  <a:pt x="54230" y="7554"/>
                  <a:pt x="54230" y="7554"/>
                </a:cubicBezTo>
                <a:cubicBezTo>
                  <a:pt x="55000" y="8135"/>
                  <a:pt x="55000" y="8135"/>
                  <a:pt x="55000" y="8135"/>
                </a:cubicBezTo>
                <a:cubicBezTo>
                  <a:pt x="55384" y="8426"/>
                  <a:pt x="55384" y="8426"/>
                  <a:pt x="55384" y="8426"/>
                </a:cubicBezTo>
                <a:cubicBezTo>
                  <a:pt x="56538" y="8426"/>
                  <a:pt x="56538" y="8426"/>
                  <a:pt x="56538" y="8426"/>
                </a:cubicBezTo>
                <a:cubicBezTo>
                  <a:pt x="56923" y="8135"/>
                  <a:pt x="56923" y="8135"/>
                  <a:pt x="56923" y="8135"/>
                </a:cubicBezTo>
                <a:cubicBezTo>
                  <a:pt x="58461" y="8426"/>
                  <a:pt x="58461" y="8426"/>
                  <a:pt x="58461" y="8426"/>
                </a:cubicBezTo>
                <a:cubicBezTo>
                  <a:pt x="59615" y="9007"/>
                  <a:pt x="59615" y="9007"/>
                  <a:pt x="59615" y="9007"/>
                </a:cubicBezTo>
                <a:cubicBezTo>
                  <a:pt x="60769" y="9588"/>
                  <a:pt x="60769" y="9588"/>
                  <a:pt x="60769" y="9588"/>
                </a:cubicBezTo>
                <a:cubicBezTo>
                  <a:pt x="62692" y="10169"/>
                  <a:pt x="62692" y="10169"/>
                  <a:pt x="62692" y="10169"/>
                </a:cubicBezTo>
                <a:cubicBezTo>
                  <a:pt x="63076" y="9297"/>
                  <a:pt x="63076" y="9297"/>
                  <a:pt x="63076" y="9297"/>
                </a:cubicBezTo>
                <a:cubicBezTo>
                  <a:pt x="63461" y="9007"/>
                  <a:pt x="63461" y="9007"/>
                  <a:pt x="63461" y="9007"/>
                </a:cubicBezTo>
                <a:cubicBezTo>
                  <a:pt x="64615" y="9007"/>
                  <a:pt x="64615" y="9007"/>
                  <a:pt x="64615" y="9007"/>
                </a:cubicBezTo>
                <a:cubicBezTo>
                  <a:pt x="65384" y="8716"/>
                  <a:pt x="65384" y="8716"/>
                  <a:pt x="65384" y="8716"/>
                </a:cubicBezTo>
                <a:cubicBezTo>
                  <a:pt x="65769" y="8426"/>
                  <a:pt x="65769" y="8426"/>
                  <a:pt x="65769" y="8426"/>
                </a:cubicBezTo>
                <a:cubicBezTo>
                  <a:pt x="64615" y="7554"/>
                  <a:pt x="64615" y="7554"/>
                  <a:pt x="64615" y="7554"/>
                </a:cubicBezTo>
                <a:cubicBezTo>
                  <a:pt x="64615" y="6682"/>
                  <a:pt x="64615" y="6682"/>
                  <a:pt x="64615" y="6682"/>
                </a:cubicBezTo>
                <a:cubicBezTo>
                  <a:pt x="64615" y="6682"/>
                  <a:pt x="65384" y="6101"/>
                  <a:pt x="65384" y="6101"/>
                </a:cubicBezTo>
                <a:cubicBezTo>
                  <a:pt x="65769" y="6101"/>
                  <a:pt x="67307" y="6392"/>
                  <a:pt x="67307" y="6392"/>
                </a:cubicBezTo>
                <a:cubicBezTo>
                  <a:pt x="67692" y="7263"/>
                  <a:pt x="67692" y="7263"/>
                  <a:pt x="67692" y="7263"/>
                </a:cubicBezTo>
                <a:cubicBezTo>
                  <a:pt x="68076" y="8135"/>
                  <a:pt x="68076" y="8135"/>
                  <a:pt x="68076" y="8135"/>
                </a:cubicBezTo>
                <a:cubicBezTo>
                  <a:pt x="66538" y="8426"/>
                  <a:pt x="66538" y="8426"/>
                  <a:pt x="66538" y="8426"/>
                </a:cubicBezTo>
                <a:cubicBezTo>
                  <a:pt x="66153" y="9007"/>
                  <a:pt x="66153" y="9007"/>
                  <a:pt x="66153" y="9007"/>
                </a:cubicBezTo>
                <a:cubicBezTo>
                  <a:pt x="66153" y="10169"/>
                  <a:pt x="66153" y="10169"/>
                  <a:pt x="66153" y="10169"/>
                </a:cubicBezTo>
                <a:cubicBezTo>
                  <a:pt x="66153" y="11331"/>
                  <a:pt x="66153" y="11331"/>
                  <a:pt x="66153" y="11331"/>
                </a:cubicBezTo>
                <a:cubicBezTo>
                  <a:pt x="66153" y="11331"/>
                  <a:pt x="66153" y="11912"/>
                  <a:pt x="65769" y="11912"/>
                </a:cubicBezTo>
                <a:cubicBezTo>
                  <a:pt x="65384" y="12203"/>
                  <a:pt x="64615" y="12203"/>
                  <a:pt x="64615" y="12203"/>
                </a:cubicBezTo>
                <a:cubicBezTo>
                  <a:pt x="64615" y="12784"/>
                  <a:pt x="64615" y="12784"/>
                  <a:pt x="64615" y="12784"/>
                </a:cubicBezTo>
                <a:cubicBezTo>
                  <a:pt x="63461" y="13365"/>
                  <a:pt x="63461" y="13365"/>
                  <a:pt x="63461" y="13365"/>
                </a:cubicBezTo>
                <a:cubicBezTo>
                  <a:pt x="62307" y="13365"/>
                  <a:pt x="62307" y="13365"/>
                  <a:pt x="62307" y="13365"/>
                </a:cubicBezTo>
                <a:cubicBezTo>
                  <a:pt x="61923" y="13656"/>
                  <a:pt x="61923" y="13656"/>
                  <a:pt x="61923" y="13656"/>
                </a:cubicBezTo>
                <a:cubicBezTo>
                  <a:pt x="62307" y="14527"/>
                  <a:pt x="62307" y="14527"/>
                  <a:pt x="62307" y="14527"/>
                </a:cubicBezTo>
                <a:cubicBezTo>
                  <a:pt x="63076" y="15108"/>
                  <a:pt x="63076" y="15108"/>
                  <a:pt x="63076" y="15108"/>
                </a:cubicBezTo>
                <a:cubicBezTo>
                  <a:pt x="64230" y="15399"/>
                  <a:pt x="64230" y="15399"/>
                  <a:pt x="64230" y="15399"/>
                </a:cubicBezTo>
                <a:cubicBezTo>
                  <a:pt x="65000" y="15108"/>
                  <a:pt x="65000" y="15108"/>
                  <a:pt x="65000" y="15108"/>
                </a:cubicBezTo>
                <a:cubicBezTo>
                  <a:pt x="65384" y="14527"/>
                  <a:pt x="65384" y="14527"/>
                  <a:pt x="65384" y="14527"/>
                </a:cubicBezTo>
                <a:cubicBezTo>
                  <a:pt x="66538" y="14237"/>
                  <a:pt x="66538" y="14237"/>
                  <a:pt x="66538" y="14237"/>
                </a:cubicBezTo>
                <a:cubicBezTo>
                  <a:pt x="68076" y="14818"/>
                  <a:pt x="68076" y="14818"/>
                  <a:pt x="68076" y="14818"/>
                </a:cubicBezTo>
                <a:cubicBezTo>
                  <a:pt x="68461" y="15399"/>
                  <a:pt x="68461" y="15399"/>
                  <a:pt x="68461" y="15399"/>
                </a:cubicBezTo>
                <a:cubicBezTo>
                  <a:pt x="68461" y="15399"/>
                  <a:pt x="70000" y="15399"/>
                  <a:pt x="70000" y="15399"/>
                </a:cubicBezTo>
                <a:cubicBezTo>
                  <a:pt x="70000" y="15399"/>
                  <a:pt x="70384" y="14527"/>
                  <a:pt x="70384" y="14527"/>
                </a:cubicBezTo>
                <a:cubicBezTo>
                  <a:pt x="70384" y="14527"/>
                  <a:pt x="70769" y="13946"/>
                  <a:pt x="71153" y="13946"/>
                </a:cubicBezTo>
                <a:cubicBezTo>
                  <a:pt x="71538" y="13946"/>
                  <a:pt x="71923" y="13365"/>
                  <a:pt x="72307" y="13365"/>
                </a:cubicBezTo>
                <a:cubicBezTo>
                  <a:pt x="72307" y="13075"/>
                  <a:pt x="72692" y="12493"/>
                  <a:pt x="72692" y="12493"/>
                </a:cubicBezTo>
                <a:cubicBezTo>
                  <a:pt x="72692" y="12493"/>
                  <a:pt x="73461" y="12203"/>
                  <a:pt x="73846" y="12203"/>
                </a:cubicBezTo>
                <a:cubicBezTo>
                  <a:pt x="74230" y="12203"/>
                  <a:pt x="76538" y="11912"/>
                  <a:pt x="76538" y="11912"/>
                </a:cubicBezTo>
                <a:cubicBezTo>
                  <a:pt x="76538" y="11912"/>
                  <a:pt x="78076" y="11622"/>
                  <a:pt x="78461" y="11331"/>
                </a:cubicBezTo>
                <a:cubicBezTo>
                  <a:pt x="78461" y="11331"/>
                  <a:pt x="80000" y="10460"/>
                  <a:pt x="80000" y="10460"/>
                </a:cubicBezTo>
                <a:cubicBezTo>
                  <a:pt x="80384" y="9588"/>
                  <a:pt x="80384" y="9588"/>
                  <a:pt x="80384" y="9588"/>
                </a:cubicBezTo>
                <a:cubicBezTo>
                  <a:pt x="81538" y="8716"/>
                  <a:pt x="81538" y="8716"/>
                  <a:pt x="81538" y="8716"/>
                </a:cubicBezTo>
                <a:cubicBezTo>
                  <a:pt x="81538" y="8716"/>
                  <a:pt x="81923" y="8716"/>
                  <a:pt x="81923" y="8426"/>
                </a:cubicBezTo>
                <a:cubicBezTo>
                  <a:pt x="81923" y="8135"/>
                  <a:pt x="82307" y="7263"/>
                  <a:pt x="82307" y="7263"/>
                </a:cubicBezTo>
                <a:cubicBezTo>
                  <a:pt x="83076" y="6973"/>
                  <a:pt x="83076" y="6973"/>
                  <a:pt x="83076" y="6973"/>
                </a:cubicBezTo>
                <a:cubicBezTo>
                  <a:pt x="83076" y="6973"/>
                  <a:pt x="83846" y="7263"/>
                  <a:pt x="83846" y="7554"/>
                </a:cubicBezTo>
                <a:cubicBezTo>
                  <a:pt x="83846" y="7554"/>
                  <a:pt x="83461" y="8135"/>
                  <a:pt x="83461" y="8135"/>
                </a:cubicBezTo>
                <a:cubicBezTo>
                  <a:pt x="83461" y="8135"/>
                  <a:pt x="82692" y="8426"/>
                  <a:pt x="82307" y="8716"/>
                </a:cubicBezTo>
                <a:cubicBezTo>
                  <a:pt x="82307" y="8716"/>
                  <a:pt x="82307" y="9297"/>
                  <a:pt x="82307" y="9297"/>
                </a:cubicBezTo>
                <a:cubicBezTo>
                  <a:pt x="83076" y="8716"/>
                  <a:pt x="83076" y="8716"/>
                  <a:pt x="83076" y="8716"/>
                </a:cubicBezTo>
                <a:cubicBezTo>
                  <a:pt x="83076" y="8716"/>
                  <a:pt x="83461" y="8426"/>
                  <a:pt x="83461" y="8426"/>
                </a:cubicBezTo>
                <a:cubicBezTo>
                  <a:pt x="83461" y="8426"/>
                  <a:pt x="85000" y="8135"/>
                  <a:pt x="85000" y="8135"/>
                </a:cubicBezTo>
                <a:cubicBezTo>
                  <a:pt x="85000" y="8135"/>
                  <a:pt x="85769" y="8426"/>
                  <a:pt x="85769" y="8426"/>
                </a:cubicBezTo>
                <a:cubicBezTo>
                  <a:pt x="85769" y="8426"/>
                  <a:pt x="86538" y="8716"/>
                  <a:pt x="86538" y="8716"/>
                </a:cubicBezTo>
                <a:cubicBezTo>
                  <a:pt x="88076" y="8426"/>
                  <a:pt x="88076" y="8426"/>
                  <a:pt x="88076" y="8426"/>
                </a:cubicBezTo>
                <a:cubicBezTo>
                  <a:pt x="88076" y="7845"/>
                  <a:pt x="88076" y="7845"/>
                  <a:pt x="88076" y="7845"/>
                </a:cubicBezTo>
                <a:cubicBezTo>
                  <a:pt x="88076" y="7845"/>
                  <a:pt x="88076" y="7554"/>
                  <a:pt x="88461" y="7554"/>
                </a:cubicBezTo>
                <a:cubicBezTo>
                  <a:pt x="88846" y="7263"/>
                  <a:pt x="89615" y="6973"/>
                  <a:pt x="89615" y="6973"/>
                </a:cubicBezTo>
                <a:cubicBezTo>
                  <a:pt x="89615" y="6973"/>
                  <a:pt x="89615" y="6392"/>
                  <a:pt x="89615" y="6101"/>
                </a:cubicBezTo>
                <a:cubicBezTo>
                  <a:pt x="89615" y="6101"/>
                  <a:pt x="90000" y="5520"/>
                  <a:pt x="90000" y="5520"/>
                </a:cubicBezTo>
                <a:cubicBezTo>
                  <a:pt x="90000" y="5520"/>
                  <a:pt x="90000" y="5520"/>
                  <a:pt x="90000" y="5520"/>
                </a:cubicBezTo>
                <a:cubicBezTo>
                  <a:pt x="90000" y="5520"/>
                  <a:pt x="90769" y="5230"/>
                  <a:pt x="90769" y="5230"/>
                </a:cubicBezTo>
                <a:cubicBezTo>
                  <a:pt x="90769" y="5230"/>
                  <a:pt x="91153" y="4358"/>
                  <a:pt x="91153" y="4358"/>
                </a:cubicBezTo>
                <a:cubicBezTo>
                  <a:pt x="91153" y="4358"/>
                  <a:pt x="91153" y="4067"/>
                  <a:pt x="91538" y="4067"/>
                </a:cubicBezTo>
                <a:cubicBezTo>
                  <a:pt x="91538" y="4067"/>
                  <a:pt x="92307" y="3486"/>
                  <a:pt x="92307" y="3486"/>
                </a:cubicBezTo>
                <a:cubicBezTo>
                  <a:pt x="92692" y="3196"/>
                  <a:pt x="92692" y="3196"/>
                  <a:pt x="93076" y="3196"/>
                </a:cubicBezTo>
                <a:cubicBezTo>
                  <a:pt x="93076" y="3196"/>
                  <a:pt x="93461" y="3777"/>
                  <a:pt x="93461" y="3777"/>
                </a:cubicBezTo>
                <a:cubicBezTo>
                  <a:pt x="93461" y="3777"/>
                  <a:pt x="93461" y="4067"/>
                  <a:pt x="93076" y="4358"/>
                </a:cubicBezTo>
                <a:cubicBezTo>
                  <a:pt x="92692" y="4358"/>
                  <a:pt x="92307" y="4648"/>
                  <a:pt x="92307" y="4648"/>
                </a:cubicBezTo>
                <a:cubicBezTo>
                  <a:pt x="92307" y="4648"/>
                  <a:pt x="93076" y="5230"/>
                  <a:pt x="93076" y="5230"/>
                </a:cubicBezTo>
                <a:cubicBezTo>
                  <a:pt x="93076" y="5230"/>
                  <a:pt x="93461" y="5520"/>
                  <a:pt x="93461" y="5520"/>
                </a:cubicBezTo>
                <a:cubicBezTo>
                  <a:pt x="93461" y="5811"/>
                  <a:pt x="93076" y="6101"/>
                  <a:pt x="93076" y="6101"/>
                </a:cubicBezTo>
                <a:cubicBezTo>
                  <a:pt x="93461" y="6101"/>
                  <a:pt x="94615" y="5811"/>
                  <a:pt x="94615" y="5811"/>
                </a:cubicBezTo>
                <a:cubicBezTo>
                  <a:pt x="94615" y="5811"/>
                  <a:pt x="94615" y="5230"/>
                  <a:pt x="94615" y="5230"/>
                </a:cubicBezTo>
                <a:cubicBezTo>
                  <a:pt x="94615" y="5230"/>
                  <a:pt x="95384" y="4648"/>
                  <a:pt x="95384" y="4648"/>
                </a:cubicBezTo>
                <a:cubicBezTo>
                  <a:pt x="95769" y="4648"/>
                  <a:pt x="96538" y="4939"/>
                  <a:pt x="96538" y="4939"/>
                </a:cubicBezTo>
                <a:cubicBezTo>
                  <a:pt x="96538" y="4939"/>
                  <a:pt x="96538" y="5230"/>
                  <a:pt x="96538" y="5520"/>
                </a:cubicBezTo>
                <a:cubicBezTo>
                  <a:pt x="96153" y="5520"/>
                  <a:pt x="95384" y="6101"/>
                  <a:pt x="95384" y="6101"/>
                </a:cubicBezTo>
                <a:cubicBezTo>
                  <a:pt x="95384" y="6392"/>
                  <a:pt x="95000" y="6392"/>
                  <a:pt x="95384" y="6392"/>
                </a:cubicBezTo>
                <a:cubicBezTo>
                  <a:pt x="95384" y="6682"/>
                  <a:pt x="96153" y="7263"/>
                  <a:pt x="96153" y="7263"/>
                </a:cubicBezTo>
                <a:cubicBezTo>
                  <a:pt x="97307" y="7845"/>
                  <a:pt x="97307" y="7845"/>
                  <a:pt x="97307" y="7845"/>
                </a:cubicBezTo>
                <a:cubicBezTo>
                  <a:pt x="97307" y="7845"/>
                  <a:pt x="97307" y="8135"/>
                  <a:pt x="97307" y="8426"/>
                </a:cubicBezTo>
                <a:cubicBezTo>
                  <a:pt x="97307" y="8426"/>
                  <a:pt x="95384" y="8426"/>
                  <a:pt x="95384" y="8426"/>
                </a:cubicBezTo>
                <a:cubicBezTo>
                  <a:pt x="95384" y="8426"/>
                  <a:pt x="95384" y="8426"/>
                  <a:pt x="95000" y="8716"/>
                </a:cubicBezTo>
                <a:cubicBezTo>
                  <a:pt x="95000" y="8716"/>
                  <a:pt x="94615" y="9007"/>
                  <a:pt x="93846" y="9297"/>
                </a:cubicBezTo>
                <a:cubicBezTo>
                  <a:pt x="93076" y="9297"/>
                  <a:pt x="93076" y="9297"/>
                  <a:pt x="93076" y="9588"/>
                </a:cubicBezTo>
                <a:cubicBezTo>
                  <a:pt x="93076" y="9878"/>
                  <a:pt x="92692" y="10169"/>
                  <a:pt x="93076" y="10460"/>
                </a:cubicBezTo>
                <a:cubicBezTo>
                  <a:pt x="93461" y="10750"/>
                  <a:pt x="94230" y="11041"/>
                  <a:pt x="94230" y="11041"/>
                </a:cubicBezTo>
                <a:cubicBezTo>
                  <a:pt x="94230" y="11041"/>
                  <a:pt x="96153" y="11622"/>
                  <a:pt x="96153" y="11331"/>
                </a:cubicBezTo>
                <a:cubicBezTo>
                  <a:pt x="96153" y="11331"/>
                  <a:pt x="98846" y="11331"/>
                  <a:pt x="98846" y="11331"/>
                </a:cubicBezTo>
                <a:cubicBezTo>
                  <a:pt x="100000" y="11331"/>
                  <a:pt x="100000" y="11331"/>
                  <a:pt x="100000" y="11331"/>
                </a:cubicBezTo>
                <a:cubicBezTo>
                  <a:pt x="100000" y="11331"/>
                  <a:pt x="100384" y="11912"/>
                  <a:pt x="100769" y="12203"/>
                </a:cubicBezTo>
                <a:cubicBezTo>
                  <a:pt x="100769" y="12203"/>
                  <a:pt x="102307" y="13075"/>
                  <a:pt x="102307" y="13075"/>
                </a:cubicBezTo>
                <a:cubicBezTo>
                  <a:pt x="103076" y="13075"/>
                  <a:pt x="103076" y="13075"/>
                  <a:pt x="103076" y="13075"/>
                </a:cubicBezTo>
                <a:cubicBezTo>
                  <a:pt x="103461" y="14237"/>
                  <a:pt x="103461" y="14237"/>
                  <a:pt x="103461" y="14237"/>
                </a:cubicBezTo>
                <a:cubicBezTo>
                  <a:pt x="103076" y="15108"/>
                  <a:pt x="103076" y="15108"/>
                  <a:pt x="103076" y="15108"/>
                </a:cubicBezTo>
                <a:cubicBezTo>
                  <a:pt x="101923" y="15399"/>
                  <a:pt x="101923" y="15399"/>
                  <a:pt x="101923" y="15399"/>
                </a:cubicBezTo>
                <a:cubicBezTo>
                  <a:pt x="100384" y="16271"/>
                  <a:pt x="100384" y="16271"/>
                  <a:pt x="100384" y="16271"/>
                </a:cubicBezTo>
                <a:cubicBezTo>
                  <a:pt x="99615" y="15980"/>
                  <a:pt x="99615" y="15980"/>
                  <a:pt x="99615" y="15980"/>
                </a:cubicBezTo>
                <a:cubicBezTo>
                  <a:pt x="99615" y="15980"/>
                  <a:pt x="100384" y="16561"/>
                  <a:pt x="100769" y="16561"/>
                </a:cubicBezTo>
                <a:cubicBezTo>
                  <a:pt x="101153" y="16561"/>
                  <a:pt x="101538" y="16852"/>
                  <a:pt x="101538" y="16852"/>
                </a:cubicBezTo>
                <a:cubicBezTo>
                  <a:pt x="101923" y="16852"/>
                  <a:pt x="103461" y="16852"/>
                  <a:pt x="105000" y="16852"/>
                </a:cubicBezTo>
                <a:cubicBezTo>
                  <a:pt x="105000" y="17142"/>
                  <a:pt x="105000" y="17142"/>
                  <a:pt x="105000" y="17433"/>
                </a:cubicBezTo>
                <a:cubicBezTo>
                  <a:pt x="105384" y="17723"/>
                  <a:pt x="105769" y="18886"/>
                  <a:pt x="105769" y="19176"/>
                </a:cubicBezTo>
                <a:cubicBezTo>
                  <a:pt x="105769" y="19176"/>
                  <a:pt x="106153" y="20338"/>
                  <a:pt x="106923" y="21210"/>
                </a:cubicBezTo>
                <a:cubicBezTo>
                  <a:pt x="108076" y="22372"/>
                  <a:pt x="107692" y="22663"/>
                  <a:pt x="107692" y="22663"/>
                </a:cubicBezTo>
                <a:cubicBezTo>
                  <a:pt x="107692" y="25278"/>
                  <a:pt x="107692" y="25278"/>
                  <a:pt x="107692" y="25278"/>
                </a:cubicBezTo>
                <a:cubicBezTo>
                  <a:pt x="107692" y="27602"/>
                  <a:pt x="107692" y="27602"/>
                  <a:pt x="107692" y="27602"/>
                </a:cubicBezTo>
                <a:cubicBezTo>
                  <a:pt x="105769" y="28765"/>
                  <a:pt x="105769" y="28765"/>
                  <a:pt x="105769" y="28765"/>
                </a:cubicBezTo>
                <a:cubicBezTo>
                  <a:pt x="105000" y="31380"/>
                  <a:pt x="105000" y="31380"/>
                  <a:pt x="105000" y="31380"/>
                </a:cubicBezTo>
                <a:cubicBezTo>
                  <a:pt x="105000" y="31380"/>
                  <a:pt x="105384" y="31670"/>
                  <a:pt x="105769" y="31670"/>
                </a:cubicBezTo>
                <a:cubicBezTo>
                  <a:pt x="106153" y="31961"/>
                  <a:pt x="107307" y="32832"/>
                  <a:pt x="107307" y="32832"/>
                </a:cubicBezTo>
                <a:cubicBezTo>
                  <a:pt x="107692" y="33123"/>
                  <a:pt x="110000" y="33995"/>
                  <a:pt x="111153" y="34285"/>
                </a:cubicBezTo>
                <a:cubicBezTo>
                  <a:pt x="112307" y="34866"/>
                  <a:pt x="111923" y="36319"/>
                  <a:pt x="111923" y="36319"/>
                </a:cubicBezTo>
                <a:cubicBezTo>
                  <a:pt x="111153" y="38353"/>
                  <a:pt x="111153" y="38353"/>
                  <a:pt x="111153" y="38353"/>
                </a:cubicBezTo>
                <a:cubicBezTo>
                  <a:pt x="111153" y="38353"/>
                  <a:pt x="111538" y="39515"/>
                  <a:pt x="112307" y="39515"/>
                </a:cubicBezTo>
                <a:cubicBezTo>
                  <a:pt x="112692" y="39225"/>
                  <a:pt x="113076" y="40968"/>
                  <a:pt x="113076" y="40968"/>
                </a:cubicBezTo>
                <a:cubicBezTo>
                  <a:pt x="113076" y="40968"/>
                  <a:pt x="113461" y="42711"/>
                  <a:pt x="113461" y="43002"/>
                </a:cubicBezTo>
                <a:cubicBezTo>
                  <a:pt x="113076" y="43292"/>
                  <a:pt x="113461" y="43583"/>
                  <a:pt x="113461" y="43583"/>
                </a:cubicBezTo>
                <a:cubicBezTo>
                  <a:pt x="114230" y="44745"/>
                  <a:pt x="114230" y="44745"/>
                  <a:pt x="114230" y="44745"/>
                </a:cubicBezTo>
                <a:cubicBezTo>
                  <a:pt x="114230" y="44745"/>
                  <a:pt x="113846" y="45617"/>
                  <a:pt x="113461" y="45907"/>
                </a:cubicBezTo>
                <a:cubicBezTo>
                  <a:pt x="113461" y="46489"/>
                  <a:pt x="113076" y="47070"/>
                  <a:pt x="113076" y="47070"/>
                </a:cubicBezTo>
                <a:cubicBezTo>
                  <a:pt x="113461" y="47941"/>
                  <a:pt x="113461" y="47941"/>
                  <a:pt x="113461" y="47941"/>
                </a:cubicBezTo>
                <a:cubicBezTo>
                  <a:pt x="115000" y="49394"/>
                  <a:pt x="115000" y="49394"/>
                  <a:pt x="115000" y="49394"/>
                </a:cubicBezTo>
                <a:cubicBezTo>
                  <a:pt x="115000" y="50847"/>
                  <a:pt x="115000" y="50847"/>
                  <a:pt x="115000" y="50847"/>
                </a:cubicBezTo>
                <a:cubicBezTo>
                  <a:pt x="115000" y="51719"/>
                  <a:pt x="115000" y="51719"/>
                  <a:pt x="115000" y="51719"/>
                </a:cubicBezTo>
                <a:cubicBezTo>
                  <a:pt x="115000" y="51719"/>
                  <a:pt x="116153" y="52009"/>
                  <a:pt x="116538" y="52009"/>
                </a:cubicBezTo>
                <a:cubicBezTo>
                  <a:pt x="116923" y="52009"/>
                  <a:pt x="117692" y="52590"/>
                  <a:pt x="117692" y="52590"/>
                </a:cubicBezTo>
                <a:cubicBezTo>
                  <a:pt x="117692" y="52590"/>
                  <a:pt x="117692" y="53171"/>
                  <a:pt x="117692" y="53462"/>
                </a:cubicBezTo>
                <a:cubicBezTo>
                  <a:pt x="117692" y="53462"/>
                  <a:pt x="118846" y="54624"/>
                  <a:pt x="118846" y="54624"/>
                </a:cubicBezTo>
                <a:cubicBezTo>
                  <a:pt x="119230" y="54915"/>
                  <a:pt x="120000" y="55786"/>
                  <a:pt x="120000" y="55786"/>
                </a:cubicBezTo>
                <a:cubicBezTo>
                  <a:pt x="120000" y="55786"/>
                  <a:pt x="120000" y="56368"/>
                  <a:pt x="118846" y="57239"/>
                </a:cubicBezTo>
                <a:cubicBezTo>
                  <a:pt x="118076" y="58111"/>
                  <a:pt x="118461" y="58111"/>
                  <a:pt x="118461" y="58401"/>
                </a:cubicBezTo>
                <a:cubicBezTo>
                  <a:pt x="118461" y="58692"/>
                  <a:pt x="118846" y="59273"/>
                  <a:pt x="118846" y="59273"/>
                </a:cubicBezTo>
                <a:cubicBezTo>
                  <a:pt x="118846" y="59273"/>
                  <a:pt x="118461" y="59564"/>
                  <a:pt x="118076" y="59854"/>
                </a:cubicBezTo>
                <a:cubicBezTo>
                  <a:pt x="118076" y="59854"/>
                  <a:pt x="117692" y="60435"/>
                  <a:pt x="117692" y="61016"/>
                </a:cubicBezTo>
                <a:cubicBezTo>
                  <a:pt x="116153" y="61888"/>
                  <a:pt x="116153" y="61888"/>
                  <a:pt x="116153" y="61888"/>
                </a:cubicBezTo>
                <a:cubicBezTo>
                  <a:pt x="116153" y="61888"/>
                  <a:pt x="116153" y="61888"/>
                  <a:pt x="115769" y="62179"/>
                </a:cubicBezTo>
                <a:cubicBezTo>
                  <a:pt x="115769" y="61888"/>
                  <a:pt x="115384" y="61888"/>
                  <a:pt x="115000" y="61888"/>
                </a:cubicBezTo>
                <a:cubicBezTo>
                  <a:pt x="114615" y="61598"/>
                  <a:pt x="114230" y="61307"/>
                  <a:pt x="114230" y="61307"/>
                </a:cubicBezTo>
                <a:cubicBezTo>
                  <a:pt x="114230" y="61307"/>
                  <a:pt x="114230" y="60726"/>
                  <a:pt x="114230" y="60145"/>
                </a:cubicBezTo>
                <a:cubicBezTo>
                  <a:pt x="114230" y="59564"/>
                  <a:pt x="114230" y="59854"/>
                  <a:pt x="114230" y="59564"/>
                </a:cubicBezTo>
                <a:cubicBezTo>
                  <a:pt x="113846" y="59273"/>
                  <a:pt x="113076" y="58983"/>
                  <a:pt x="112307" y="58692"/>
                </a:cubicBezTo>
                <a:cubicBezTo>
                  <a:pt x="111538" y="58692"/>
                  <a:pt x="110000" y="58692"/>
                  <a:pt x="109615" y="58983"/>
                </a:cubicBezTo>
                <a:cubicBezTo>
                  <a:pt x="109615" y="58983"/>
                  <a:pt x="109615" y="60145"/>
                  <a:pt x="109615" y="60145"/>
                </a:cubicBezTo>
                <a:cubicBezTo>
                  <a:pt x="110384" y="61016"/>
                  <a:pt x="110384" y="61016"/>
                  <a:pt x="110384" y="61016"/>
                </a:cubicBezTo>
                <a:cubicBezTo>
                  <a:pt x="110000" y="61598"/>
                  <a:pt x="110000" y="61598"/>
                  <a:pt x="110000" y="61598"/>
                </a:cubicBezTo>
                <a:cubicBezTo>
                  <a:pt x="110000" y="61598"/>
                  <a:pt x="106538" y="62179"/>
                  <a:pt x="105384" y="62179"/>
                </a:cubicBezTo>
                <a:cubicBezTo>
                  <a:pt x="104230" y="62179"/>
                  <a:pt x="104615" y="62760"/>
                  <a:pt x="104615" y="62760"/>
                </a:cubicBezTo>
                <a:cubicBezTo>
                  <a:pt x="103846" y="63922"/>
                  <a:pt x="103846" y="63922"/>
                  <a:pt x="103846" y="63922"/>
                </a:cubicBezTo>
                <a:cubicBezTo>
                  <a:pt x="103076" y="64503"/>
                  <a:pt x="103076" y="64503"/>
                  <a:pt x="103076" y="64503"/>
                </a:cubicBezTo>
                <a:cubicBezTo>
                  <a:pt x="100769" y="65084"/>
                  <a:pt x="100769" y="65084"/>
                  <a:pt x="100769" y="65084"/>
                </a:cubicBezTo>
                <a:cubicBezTo>
                  <a:pt x="100769" y="65084"/>
                  <a:pt x="98461" y="66537"/>
                  <a:pt x="98076" y="66537"/>
                </a:cubicBezTo>
                <a:cubicBezTo>
                  <a:pt x="96538" y="67409"/>
                  <a:pt x="96538" y="67409"/>
                  <a:pt x="96538" y="67409"/>
                </a:cubicBezTo>
                <a:cubicBezTo>
                  <a:pt x="96538" y="67409"/>
                  <a:pt x="96153" y="67409"/>
                  <a:pt x="95000" y="67990"/>
                </a:cubicBezTo>
                <a:cubicBezTo>
                  <a:pt x="93461" y="68280"/>
                  <a:pt x="94230" y="68861"/>
                  <a:pt x="93846" y="69152"/>
                </a:cubicBezTo>
                <a:cubicBezTo>
                  <a:pt x="93846" y="69733"/>
                  <a:pt x="93461" y="69733"/>
                  <a:pt x="92692" y="70024"/>
                </a:cubicBezTo>
                <a:cubicBezTo>
                  <a:pt x="92307" y="70024"/>
                  <a:pt x="91153" y="69733"/>
                  <a:pt x="90384" y="69733"/>
                </a:cubicBezTo>
                <a:cubicBezTo>
                  <a:pt x="90000" y="69733"/>
                  <a:pt x="88846" y="70314"/>
                  <a:pt x="88076" y="70314"/>
                </a:cubicBezTo>
                <a:cubicBezTo>
                  <a:pt x="86923" y="70314"/>
                  <a:pt x="86923" y="70314"/>
                  <a:pt x="86923" y="70314"/>
                </a:cubicBezTo>
                <a:cubicBezTo>
                  <a:pt x="85384" y="71767"/>
                  <a:pt x="85384" y="71767"/>
                  <a:pt x="85384" y="71767"/>
                </a:cubicBezTo>
                <a:cubicBezTo>
                  <a:pt x="84230" y="73510"/>
                  <a:pt x="84230" y="73510"/>
                  <a:pt x="84230" y="73510"/>
                </a:cubicBezTo>
                <a:cubicBezTo>
                  <a:pt x="83846" y="72639"/>
                  <a:pt x="83846" y="72639"/>
                  <a:pt x="83846" y="72639"/>
                </a:cubicBezTo>
                <a:cubicBezTo>
                  <a:pt x="83461" y="71476"/>
                  <a:pt x="83461" y="71476"/>
                  <a:pt x="83461" y="71476"/>
                </a:cubicBezTo>
                <a:cubicBezTo>
                  <a:pt x="81538" y="71476"/>
                  <a:pt x="81538" y="71476"/>
                  <a:pt x="81538" y="71476"/>
                </a:cubicBezTo>
                <a:cubicBezTo>
                  <a:pt x="81923" y="72348"/>
                  <a:pt x="81923" y="72348"/>
                  <a:pt x="81923" y="72348"/>
                </a:cubicBezTo>
                <a:cubicBezTo>
                  <a:pt x="81923" y="72348"/>
                  <a:pt x="82692" y="74382"/>
                  <a:pt x="83076" y="74673"/>
                </a:cubicBezTo>
                <a:cubicBezTo>
                  <a:pt x="83461" y="74963"/>
                  <a:pt x="83846" y="74963"/>
                  <a:pt x="84615" y="75254"/>
                </a:cubicBezTo>
                <a:cubicBezTo>
                  <a:pt x="85769" y="75835"/>
                  <a:pt x="85769" y="75835"/>
                  <a:pt x="86923" y="76416"/>
                </a:cubicBezTo>
                <a:cubicBezTo>
                  <a:pt x="88076" y="76997"/>
                  <a:pt x="87692" y="77578"/>
                  <a:pt x="87692" y="77869"/>
                </a:cubicBezTo>
                <a:cubicBezTo>
                  <a:pt x="87692" y="78450"/>
                  <a:pt x="87692" y="78450"/>
                  <a:pt x="86923" y="79031"/>
                </a:cubicBezTo>
                <a:cubicBezTo>
                  <a:pt x="86153" y="79903"/>
                  <a:pt x="86923" y="80484"/>
                  <a:pt x="86923" y="80484"/>
                </a:cubicBezTo>
                <a:cubicBezTo>
                  <a:pt x="86923" y="80484"/>
                  <a:pt x="87307" y="81065"/>
                  <a:pt x="88076" y="81646"/>
                </a:cubicBezTo>
                <a:cubicBezTo>
                  <a:pt x="88846" y="82227"/>
                  <a:pt x="88461" y="82518"/>
                  <a:pt x="88846" y="83389"/>
                </a:cubicBezTo>
                <a:cubicBezTo>
                  <a:pt x="88846" y="84261"/>
                  <a:pt x="88846" y="83970"/>
                  <a:pt x="89615" y="84842"/>
                </a:cubicBezTo>
                <a:cubicBezTo>
                  <a:pt x="90384" y="85423"/>
                  <a:pt x="90000" y="85133"/>
                  <a:pt x="90769" y="85714"/>
                </a:cubicBezTo>
                <a:cubicBezTo>
                  <a:pt x="91538" y="86295"/>
                  <a:pt x="91538" y="86585"/>
                  <a:pt x="91538" y="86585"/>
                </a:cubicBezTo>
                <a:cubicBezTo>
                  <a:pt x="91538" y="86585"/>
                  <a:pt x="93846" y="86004"/>
                  <a:pt x="94615" y="86585"/>
                </a:cubicBezTo>
                <a:cubicBezTo>
                  <a:pt x="95384" y="87167"/>
                  <a:pt x="95000" y="86876"/>
                  <a:pt x="96538" y="87748"/>
                </a:cubicBezTo>
                <a:cubicBezTo>
                  <a:pt x="97692" y="88910"/>
                  <a:pt x="96538" y="88329"/>
                  <a:pt x="96923" y="89200"/>
                </a:cubicBezTo>
                <a:cubicBezTo>
                  <a:pt x="97307" y="89782"/>
                  <a:pt x="97692" y="89491"/>
                  <a:pt x="97692" y="89491"/>
                </a:cubicBezTo>
                <a:cubicBezTo>
                  <a:pt x="97692" y="89491"/>
                  <a:pt x="98076" y="89782"/>
                  <a:pt x="98846" y="89782"/>
                </a:cubicBezTo>
                <a:cubicBezTo>
                  <a:pt x="99615" y="89782"/>
                  <a:pt x="99615" y="90363"/>
                  <a:pt x="99615" y="90944"/>
                </a:cubicBezTo>
                <a:cubicBezTo>
                  <a:pt x="100000" y="91525"/>
                  <a:pt x="100000" y="91525"/>
                  <a:pt x="100769" y="92106"/>
                </a:cubicBezTo>
                <a:cubicBezTo>
                  <a:pt x="101153" y="92397"/>
                  <a:pt x="101538" y="92106"/>
                  <a:pt x="102692" y="91815"/>
                </a:cubicBezTo>
                <a:cubicBezTo>
                  <a:pt x="103461" y="91815"/>
                  <a:pt x="103076" y="92397"/>
                  <a:pt x="103076" y="92687"/>
                </a:cubicBezTo>
                <a:cubicBezTo>
                  <a:pt x="103076" y="92978"/>
                  <a:pt x="103846" y="92978"/>
                  <a:pt x="104615" y="93268"/>
                </a:cubicBezTo>
                <a:cubicBezTo>
                  <a:pt x="105384" y="93559"/>
                  <a:pt x="105000" y="93559"/>
                  <a:pt x="105769" y="94140"/>
                </a:cubicBezTo>
                <a:cubicBezTo>
                  <a:pt x="105769" y="94140"/>
                  <a:pt x="105769" y="94140"/>
                  <a:pt x="105769" y="94430"/>
                </a:cubicBezTo>
                <a:close/>
                <a:moveTo>
                  <a:pt x="21153" y="114479"/>
                </a:moveTo>
                <a:cubicBezTo>
                  <a:pt x="21153" y="114479"/>
                  <a:pt x="21153" y="114479"/>
                  <a:pt x="21153" y="114479"/>
                </a:cubicBezTo>
                <a:cubicBezTo>
                  <a:pt x="21153" y="114479"/>
                  <a:pt x="21153" y="114479"/>
                  <a:pt x="21153" y="114479"/>
                </a:cubicBezTo>
                <a:cubicBezTo>
                  <a:pt x="21153" y="114479"/>
                  <a:pt x="21153" y="114479"/>
                  <a:pt x="21153" y="114479"/>
                </a:cubicBezTo>
                <a:close/>
                <a:moveTo>
                  <a:pt x="49230" y="116222"/>
                </a:move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lose/>
                <a:moveTo>
                  <a:pt x="120000" y="59273"/>
                </a:moveTo>
                <a:cubicBezTo>
                  <a:pt x="120000" y="59273"/>
                  <a:pt x="120000" y="59273"/>
                  <a:pt x="120000" y="59273"/>
                </a:cubicBezTo>
                <a:cubicBezTo>
                  <a:pt x="120000" y="59273"/>
                  <a:pt x="120000" y="59273"/>
                  <a:pt x="120000" y="59273"/>
                </a:cubicBezTo>
                <a:cubicBezTo>
                  <a:pt x="120000" y="59273"/>
                  <a:pt x="120000" y="59273"/>
                  <a:pt x="120000" y="59273"/>
                </a:cubicBez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5C607B-AD00-9C56-675D-104D1013AF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2267" y="1968652"/>
            <a:ext cx="772259" cy="7722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5A60E8-B3E2-B4DC-69BE-20BD73585F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45350" y="1489583"/>
            <a:ext cx="2939850" cy="29398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895980-4D6D-EAF6-8AC6-55EB45CDF2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250996" y="1489583"/>
            <a:ext cx="2939852" cy="29398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B24676-DA3D-60EA-1BBF-29E3D90EBCBA}"/>
              </a:ext>
            </a:extLst>
          </p:cNvPr>
          <p:cNvSpPr/>
          <p:nvPr/>
        </p:nvSpPr>
        <p:spPr>
          <a:xfrm>
            <a:off x="3581400" y="1514420"/>
            <a:ext cx="1828800" cy="4572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 sz="1600" b="1">
                <a:solidFill>
                  <a:srgbClr val="FFFFFF"/>
                </a:solidFill>
              </a:defRPr>
            </a:pPr>
            <a:r>
              <a:t>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2D1E71-72B4-3219-4157-8010B6090C01}"/>
              </a:ext>
            </a:extLst>
          </p:cNvPr>
          <p:cNvSpPr txBox="1"/>
          <p:nvPr/>
        </p:nvSpPr>
        <p:spPr>
          <a:xfrm>
            <a:off x="3581401" y="2063060"/>
            <a:ext cx="18288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Voluntary </a:t>
            </a:r>
            <a:br>
              <a:rPr lang="en-US" sz="1600" b="1"/>
            </a:br>
            <a:r>
              <a:rPr lang="en-US" sz="1600" b="1"/>
              <a:t>e-Invoicing begins: </a:t>
            </a:r>
          </a:p>
          <a:p>
            <a:r>
              <a:rPr lang="en-US" sz="1400"/>
              <a:t>X-</a:t>
            </a:r>
            <a:r>
              <a:rPr lang="en-US" sz="1400" err="1"/>
              <a:t>Rechnung</a:t>
            </a:r>
            <a:br>
              <a:rPr lang="en-US" sz="1400"/>
            </a:br>
            <a:r>
              <a:rPr lang="en-US" sz="1400"/>
              <a:t>recommend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FD8DE9-D253-C21A-A4A4-E476EF7F0F34}"/>
              </a:ext>
            </a:extLst>
          </p:cNvPr>
          <p:cNvSpPr/>
          <p:nvPr/>
        </p:nvSpPr>
        <p:spPr>
          <a:xfrm>
            <a:off x="5593080" y="1514420"/>
            <a:ext cx="1828800" cy="4572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 sz="1600" b="1">
                <a:solidFill>
                  <a:srgbClr val="FFFFFF"/>
                </a:solidFill>
              </a:defRPr>
            </a:pPr>
            <a:r>
              <a:t>202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64A992-4341-09ED-188F-8BA57DA65A01}"/>
              </a:ext>
            </a:extLst>
          </p:cNvPr>
          <p:cNvSpPr txBox="1"/>
          <p:nvPr/>
        </p:nvSpPr>
        <p:spPr>
          <a:xfrm>
            <a:off x="5593081" y="2063060"/>
            <a:ext cx="18288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Mandatory </a:t>
            </a:r>
            <a:br>
              <a:rPr lang="en-US" sz="1600" b="1"/>
            </a:br>
            <a:r>
              <a:rPr lang="en-US" sz="1600" b="1"/>
              <a:t>e-Invoicing for </a:t>
            </a:r>
            <a:br>
              <a:rPr lang="en-US" sz="1600" b="1"/>
            </a:br>
            <a:r>
              <a:rPr lang="en-US" sz="1600" b="1"/>
              <a:t>B2B transactions: </a:t>
            </a:r>
          </a:p>
          <a:p>
            <a:r>
              <a:rPr lang="en-US" sz="1200"/>
              <a:t>PDF &amp; paper no </a:t>
            </a:r>
            <a:br>
              <a:rPr lang="en-US" sz="1200"/>
            </a:br>
            <a:r>
              <a:rPr lang="en-US" sz="1200"/>
              <a:t>longer accep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09844D-6715-D7DE-5E88-B4193CBFF052}"/>
              </a:ext>
            </a:extLst>
          </p:cNvPr>
          <p:cNvSpPr/>
          <p:nvPr/>
        </p:nvSpPr>
        <p:spPr>
          <a:xfrm>
            <a:off x="7604760" y="1514420"/>
            <a:ext cx="1828800" cy="4572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 sz="1600" b="1">
                <a:solidFill>
                  <a:srgbClr val="FFFFFF"/>
                </a:solidFill>
              </a:defRPr>
            </a:pPr>
            <a:r>
              <a:t>202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65B286-B1BC-02D7-9D20-0E7D49B12DC2}"/>
              </a:ext>
            </a:extLst>
          </p:cNvPr>
          <p:cNvSpPr txBox="1"/>
          <p:nvPr/>
        </p:nvSpPr>
        <p:spPr>
          <a:xfrm>
            <a:off x="7604761" y="2063060"/>
            <a:ext cx="182880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Mandatory </a:t>
            </a:r>
            <a:br>
              <a:rPr lang="en-US" sz="1600" b="1"/>
            </a:br>
            <a:r>
              <a:rPr lang="en-US" sz="1600" b="1"/>
              <a:t>e-Invoicing for </a:t>
            </a:r>
            <a:br>
              <a:rPr lang="en-US" sz="1600" b="1"/>
            </a:br>
            <a:r>
              <a:rPr lang="en-US" sz="1600" b="1"/>
              <a:t>large B2B businesses: </a:t>
            </a:r>
          </a:p>
          <a:p>
            <a:pPr>
              <a:defRPr sz="1200"/>
            </a:pPr>
            <a:r>
              <a:rPr lang="en-US"/>
              <a:t>Mandatory issuance of </a:t>
            </a:r>
            <a:br>
              <a:rPr lang="en-US"/>
            </a:br>
            <a:r>
              <a:rPr lang="en-US"/>
              <a:t>e-Invoices for large enterprises in German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0A5F7E-A68D-1CA2-CB37-6D61EC20E212}"/>
              </a:ext>
            </a:extLst>
          </p:cNvPr>
          <p:cNvSpPr/>
          <p:nvPr/>
        </p:nvSpPr>
        <p:spPr>
          <a:xfrm>
            <a:off x="9616440" y="1514420"/>
            <a:ext cx="1828800" cy="4572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 sz="1600" b="1">
                <a:solidFill>
                  <a:srgbClr val="FFFFFF"/>
                </a:solidFill>
              </a:defRPr>
            </a:pPr>
            <a:r>
              <a:t>2028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9B8F67-AA62-7FF1-F4E1-44C49F3BAAA5}"/>
              </a:ext>
            </a:extLst>
          </p:cNvPr>
          <p:cNvSpPr/>
          <p:nvPr/>
        </p:nvSpPr>
        <p:spPr>
          <a:xfrm>
            <a:off x="3543796" y="4514002"/>
            <a:ext cx="5852160" cy="4572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600" b="1">
                <a:solidFill>
                  <a:srgbClr val="FFFFFF"/>
                </a:solidFill>
              </a:defRPr>
            </a:pPr>
            <a:r>
              <a:t>202</a:t>
            </a:r>
            <a:r>
              <a:rPr lang="de-DE"/>
              <a:t>8 - 2035</a:t>
            </a:r>
            <a:endParaRPr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C34C40E-76AA-7A62-98CA-1AFB9E8EF4AE}"/>
              </a:ext>
            </a:extLst>
          </p:cNvPr>
          <p:cNvSpPr txBox="1"/>
          <p:nvPr/>
        </p:nvSpPr>
        <p:spPr>
          <a:xfrm>
            <a:off x="3543797" y="5089709"/>
            <a:ext cx="1828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Introduction of cross-border </a:t>
            </a:r>
            <a:br>
              <a:rPr lang="en-US" sz="1600" b="1"/>
            </a:br>
            <a:r>
              <a:rPr lang="en-US" sz="1600" b="1"/>
              <a:t>e-Invoic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6FCE04-4139-D17B-9D72-773A632D7B89}"/>
              </a:ext>
            </a:extLst>
          </p:cNvPr>
          <p:cNvSpPr txBox="1"/>
          <p:nvPr/>
        </p:nvSpPr>
        <p:spPr>
          <a:xfrm>
            <a:off x="5555476" y="5089709"/>
            <a:ext cx="1828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Digital Reporting Requirements (DRR) go liv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196D864-CC5C-BCA1-C9EC-5A99AC05C666}"/>
              </a:ext>
            </a:extLst>
          </p:cNvPr>
          <p:cNvSpPr txBox="1"/>
          <p:nvPr/>
        </p:nvSpPr>
        <p:spPr>
          <a:xfrm>
            <a:off x="7604760" y="5089709"/>
            <a:ext cx="18288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Full harmonization of e-Invoicing and VAT compliance across E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6189FCA-2D89-5FE0-A671-4CC81C6DBC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0946" y="4533944"/>
            <a:ext cx="1474191" cy="147419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AFCE6FF-A39B-D9A6-CB2F-909879620A9C}"/>
              </a:ext>
            </a:extLst>
          </p:cNvPr>
          <p:cNvSpPr txBox="1"/>
          <p:nvPr/>
        </p:nvSpPr>
        <p:spPr>
          <a:xfrm>
            <a:off x="9616440" y="2063060"/>
            <a:ext cx="1828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Full mandatory B2B e-Invoicing in Germany</a:t>
            </a:r>
          </a:p>
        </p:txBody>
      </p:sp>
    </p:spTree>
    <p:extLst>
      <p:ext uri="{BB962C8B-B14F-4D97-AF65-F5344CB8AC3E}">
        <p14:creationId xmlns:p14="http://schemas.microsoft.com/office/powerpoint/2010/main" val="38172042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3" grpId="0"/>
      <p:bldP spid="22" grpId="0"/>
      <p:bldP spid="23" grpId="0"/>
      <p:bldP spid="24" grpId="0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B4B3B-5A0E-1A52-FE55-9758B9B62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00EA5-1478-1716-5DC4-E85F6A2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Mandatory e-Invoicing and VAT-reporting </a:t>
            </a:r>
            <a:br>
              <a:rPr lang="en-US" sz="3200"/>
            </a:br>
            <a:r>
              <a:rPr lang="en-US" sz="3200"/>
              <a:t>are on the rise in EU and beyo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FCC083-FBF8-4006-637A-02D94E9303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A9CC0C-C698-4E54-8A6B-C32C4010B3B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5A7E5D-447A-1026-6CB6-E60EDD3077D8}"/>
              </a:ext>
            </a:extLst>
          </p:cNvPr>
          <p:cNvSpPr txBox="1"/>
          <p:nvPr/>
        </p:nvSpPr>
        <p:spPr>
          <a:xfrm>
            <a:off x="376673" y="1515085"/>
            <a:ext cx="4573192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Germany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: 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January 2025 (receiving)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January 2027 for companies with a turnover &gt;800k EUR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January 2028 for all others (issuing)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Poland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: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February 2026 for taxpayers with a turnover exceeding PLN 200m in 2025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April 2026 for all other taxpayers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Romania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G e-Invoicing  since 2022 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  from 1 July 2024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C e-Invoicing also now included in scope from 1 January 2025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Slovenia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  from 1 June 2026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Spain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 from spring 2026 (TBD)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Belgium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 from 2026</a:t>
            </a:r>
          </a:p>
          <a:p>
            <a:pPr>
              <a:spcBef>
                <a:spcPts val="600"/>
              </a:spcBef>
            </a:pPr>
            <a:r>
              <a:rPr lang="en-US" sz="1400" b="1">
                <a:solidFill>
                  <a:schemeClr val="tx2"/>
                </a:solidFill>
              </a:rPr>
              <a:t>France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/>
              <a:t>B2B e-Invoicing: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September 2026 (receiving for all &amp; issuing for large suppliers)</a:t>
            </a:r>
          </a:p>
          <a:p>
            <a:pPr marL="347663" indent="-115888">
              <a:buFont typeface="Arial" panose="020B0604020202020204" pitchFamily="34" charset="0"/>
              <a:buChar char="•"/>
            </a:pPr>
            <a:r>
              <a:rPr lang="en-US" sz="900"/>
              <a:t>1  September 2027 (issuing for medium &amp; small suppliers)</a:t>
            </a:r>
          </a:p>
          <a:p>
            <a:endParaRPr lang="en-US"/>
          </a:p>
        </p:txBody>
      </p:sp>
      <p:sp>
        <p:nvSpPr>
          <p:cNvPr id="7" name="Google Shape;3008;p256">
            <a:extLst>
              <a:ext uri="{FF2B5EF4-FFF2-40B4-BE49-F238E27FC236}">
                <a16:creationId xmlns:a16="http://schemas.microsoft.com/office/drawing/2014/main" id="{E8B827A0-4E06-CB9B-7D99-949C3BA9AACC}"/>
              </a:ext>
            </a:extLst>
          </p:cNvPr>
          <p:cNvSpPr/>
          <p:nvPr/>
        </p:nvSpPr>
        <p:spPr>
          <a:xfrm>
            <a:off x="5023432" y="3543946"/>
            <a:ext cx="1540200" cy="9186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Google Shape;3010;p256">
            <a:extLst>
              <a:ext uri="{FF2B5EF4-FFF2-40B4-BE49-F238E27FC236}">
                <a16:creationId xmlns:a16="http://schemas.microsoft.com/office/drawing/2014/main" id="{0A6B9DA7-C79B-DC3F-1102-E4F7B498A0CD}"/>
              </a:ext>
            </a:extLst>
          </p:cNvPr>
          <p:cNvSpPr/>
          <p:nvPr/>
        </p:nvSpPr>
        <p:spPr>
          <a:xfrm>
            <a:off x="9735944" y="2685009"/>
            <a:ext cx="381681" cy="19180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0769" y="2222"/>
                </a:moveTo>
                <a:cubicBezTo>
                  <a:pt x="55384" y="8888"/>
                  <a:pt x="55384" y="8888"/>
                  <a:pt x="55384" y="8888"/>
                </a:cubicBezTo>
                <a:cubicBezTo>
                  <a:pt x="58846" y="11111"/>
                  <a:pt x="58846" y="11111"/>
                  <a:pt x="58846" y="11111"/>
                </a:cubicBezTo>
                <a:cubicBezTo>
                  <a:pt x="65769" y="17777"/>
                  <a:pt x="65769" y="17777"/>
                  <a:pt x="65769" y="17777"/>
                </a:cubicBezTo>
                <a:cubicBezTo>
                  <a:pt x="79615" y="20000"/>
                  <a:pt x="79615" y="20000"/>
                  <a:pt x="79615" y="20000"/>
                </a:cubicBezTo>
                <a:cubicBezTo>
                  <a:pt x="81923" y="15555"/>
                  <a:pt x="81923" y="15555"/>
                  <a:pt x="81923" y="15555"/>
                </a:cubicBezTo>
                <a:cubicBezTo>
                  <a:pt x="86538" y="13333"/>
                  <a:pt x="86538" y="13333"/>
                  <a:pt x="86538" y="13333"/>
                </a:cubicBezTo>
                <a:cubicBezTo>
                  <a:pt x="94615" y="8888"/>
                  <a:pt x="94615" y="8888"/>
                  <a:pt x="94615" y="8888"/>
                </a:cubicBezTo>
                <a:cubicBezTo>
                  <a:pt x="98076" y="17777"/>
                  <a:pt x="98076" y="17777"/>
                  <a:pt x="98076" y="17777"/>
                </a:cubicBezTo>
                <a:cubicBezTo>
                  <a:pt x="100384" y="17777"/>
                  <a:pt x="100384" y="17777"/>
                  <a:pt x="100384" y="17777"/>
                </a:cubicBezTo>
                <a:cubicBezTo>
                  <a:pt x="100384" y="17777"/>
                  <a:pt x="102692" y="22222"/>
                  <a:pt x="105000" y="26666"/>
                </a:cubicBezTo>
                <a:cubicBezTo>
                  <a:pt x="106153" y="31111"/>
                  <a:pt x="108461" y="33333"/>
                  <a:pt x="108461" y="33333"/>
                </a:cubicBezTo>
                <a:cubicBezTo>
                  <a:pt x="106153" y="48888"/>
                  <a:pt x="106153" y="48888"/>
                  <a:pt x="106153" y="48888"/>
                </a:cubicBezTo>
                <a:cubicBezTo>
                  <a:pt x="106153" y="55555"/>
                  <a:pt x="106153" y="55555"/>
                  <a:pt x="106153" y="55555"/>
                </a:cubicBezTo>
                <a:cubicBezTo>
                  <a:pt x="106153" y="77777"/>
                  <a:pt x="106153" y="77777"/>
                  <a:pt x="106153" y="77777"/>
                </a:cubicBezTo>
                <a:cubicBezTo>
                  <a:pt x="109615" y="86666"/>
                  <a:pt x="109615" y="86666"/>
                  <a:pt x="109615" y="86666"/>
                </a:cubicBezTo>
                <a:cubicBezTo>
                  <a:pt x="109615" y="88888"/>
                  <a:pt x="109615" y="88888"/>
                  <a:pt x="109615" y="88888"/>
                </a:cubicBezTo>
                <a:cubicBezTo>
                  <a:pt x="114230" y="86666"/>
                  <a:pt x="114230" y="86666"/>
                  <a:pt x="114230" y="86666"/>
                </a:cubicBezTo>
                <a:cubicBezTo>
                  <a:pt x="114230" y="86666"/>
                  <a:pt x="115384" y="86666"/>
                  <a:pt x="115384" y="84444"/>
                </a:cubicBezTo>
                <a:cubicBezTo>
                  <a:pt x="115384" y="86666"/>
                  <a:pt x="114230" y="86666"/>
                  <a:pt x="114230" y="86666"/>
                </a:cubicBezTo>
                <a:cubicBezTo>
                  <a:pt x="103846" y="91111"/>
                  <a:pt x="103846" y="91111"/>
                  <a:pt x="103846" y="91111"/>
                </a:cubicBezTo>
                <a:cubicBezTo>
                  <a:pt x="94615" y="102222"/>
                  <a:pt x="94615" y="102222"/>
                  <a:pt x="94615" y="102222"/>
                </a:cubicBezTo>
                <a:cubicBezTo>
                  <a:pt x="94615" y="102222"/>
                  <a:pt x="72692" y="106666"/>
                  <a:pt x="70384" y="106666"/>
                </a:cubicBezTo>
                <a:cubicBezTo>
                  <a:pt x="69230" y="106666"/>
                  <a:pt x="55384" y="108888"/>
                  <a:pt x="53076" y="108888"/>
                </a:cubicBezTo>
                <a:cubicBezTo>
                  <a:pt x="51923" y="111111"/>
                  <a:pt x="45000" y="113333"/>
                  <a:pt x="42692" y="113333"/>
                </a:cubicBezTo>
                <a:cubicBezTo>
                  <a:pt x="40384" y="113333"/>
                  <a:pt x="30000" y="115555"/>
                  <a:pt x="27692" y="115555"/>
                </a:cubicBezTo>
                <a:cubicBezTo>
                  <a:pt x="25384" y="115555"/>
                  <a:pt x="19615" y="115555"/>
                  <a:pt x="19615" y="115555"/>
                </a:cubicBezTo>
                <a:cubicBezTo>
                  <a:pt x="19615" y="115555"/>
                  <a:pt x="8076" y="117777"/>
                  <a:pt x="4615" y="117777"/>
                </a:cubicBezTo>
                <a:cubicBezTo>
                  <a:pt x="1153" y="120000"/>
                  <a:pt x="5769" y="108888"/>
                  <a:pt x="5769" y="108888"/>
                </a:cubicBezTo>
                <a:cubicBezTo>
                  <a:pt x="5769" y="108888"/>
                  <a:pt x="19615" y="86666"/>
                  <a:pt x="15000" y="88888"/>
                </a:cubicBezTo>
                <a:cubicBezTo>
                  <a:pt x="9230" y="84444"/>
                  <a:pt x="9230" y="84444"/>
                  <a:pt x="9230" y="84444"/>
                </a:cubicBezTo>
                <a:cubicBezTo>
                  <a:pt x="4615" y="77777"/>
                  <a:pt x="4615" y="77777"/>
                  <a:pt x="4615" y="77777"/>
                </a:cubicBezTo>
                <a:cubicBezTo>
                  <a:pt x="0" y="57777"/>
                  <a:pt x="5769" y="48888"/>
                  <a:pt x="10384" y="48888"/>
                </a:cubicBezTo>
                <a:cubicBezTo>
                  <a:pt x="13846" y="48888"/>
                  <a:pt x="23076" y="55555"/>
                  <a:pt x="28846" y="55555"/>
                </a:cubicBezTo>
                <a:cubicBezTo>
                  <a:pt x="49615" y="55555"/>
                  <a:pt x="45000" y="42222"/>
                  <a:pt x="43846" y="17777"/>
                </a:cubicBezTo>
                <a:cubicBezTo>
                  <a:pt x="43846" y="11111"/>
                  <a:pt x="45000" y="4444"/>
                  <a:pt x="46153" y="2222"/>
                </a:cubicBezTo>
                <a:cubicBezTo>
                  <a:pt x="47307" y="0"/>
                  <a:pt x="49615" y="4444"/>
                  <a:pt x="50769" y="2222"/>
                </a:cubicBezTo>
                <a:close/>
                <a:moveTo>
                  <a:pt x="117692" y="82222"/>
                </a:moveTo>
                <a:cubicBezTo>
                  <a:pt x="117692" y="82222"/>
                  <a:pt x="117692" y="82222"/>
                  <a:pt x="117692" y="82222"/>
                </a:cubicBezTo>
                <a:cubicBezTo>
                  <a:pt x="117692" y="82222"/>
                  <a:pt x="117692" y="82222"/>
                  <a:pt x="117692" y="82222"/>
                </a:cubicBezTo>
                <a:cubicBezTo>
                  <a:pt x="117692" y="84444"/>
                  <a:pt x="117692" y="84444"/>
                  <a:pt x="117692" y="84444"/>
                </a:cubicBezTo>
                <a:cubicBezTo>
                  <a:pt x="117692" y="82222"/>
                  <a:pt x="117692" y="82222"/>
                  <a:pt x="117692" y="82222"/>
                </a:cubicBezTo>
                <a:cubicBezTo>
                  <a:pt x="117692" y="82222"/>
                  <a:pt x="117692" y="82222"/>
                  <a:pt x="117692" y="82222"/>
                </a:cubicBezTo>
                <a:close/>
                <a:moveTo>
                  <a:pt x="117692" y="84444"/>
                </a:moveTo>
                <a:cubicBezTo>
                  <a:pt x="117692" y="84444"/>
                  <a:pt x="117692" y="84444"/>
                  <a:pt x="117692" y="84444"/>
                </a:cubicBezTo>
                <a:cubicBezTo>
                  <a:pt x="118846" y="86666"/>
                  <a:pt x="120000" y="91111"/>
                  <a:pt x="120000" y="93333"/>
                </a:cubicBezTo>
                <a:cubicBezTo>
                  <a:pt x="120000" y="93333"/>
                  <a:pt x="120000" y="93333"/>
                  <a:pt x="120000" y="93333"/>
                </a:cubicBezTo>
                <a:cubicBezTo>
                  <a:pt x="120000" y="91111"/>
                  <a:pt x="118846" y="86666"/>
                  <a:pt x="117692" y="84444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3011;p256">
            <a:extLst>
              <a:ext uri="{FF2B5EF4-FFF2-40B4-BE49-F238E27FC236}">
                <a16:creationId xmlns:a16="http://schemas.microsoft.com/office/drawing/2014/main" id="{227583D6-2728-DAAE-D89A-2258C380FD29}"/>
              </a:ext>
            </a:extLst>
          </p:cNvPr>
          <p:cNvSpPr/>
          <p:nvPr/>
        </p:nvSpPr>
        <p:spPr>
          <a:xfrm>
            <a:off x="10124492" y="4964710"/>
            <a:ext cx="275658" cy="27710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3600" y="73846"/>
                </a:moveTo>
                <a:cubicBezTo>
                  <a:pt x="112000" y="75384"/>
                  <a:pt x="112000" y="75384"/>
                  <a:pt x="112000" y="75384"/>
                </a:cubicBezTo>
                <a:cubicBezTo>
                  <a:pt x="105600" y="78461"/>
                  <a:pt x="97600" y="75384"/>
                  <a:pt x="96000" y="86153"/>
                </a:cubicBezTo>
                <a:cubicBezTo>
                  <a:pt x="96000" y="104615"/>
                  <a:pt x="89600" y="86153"/>
                  <a:pt x="83200" y="86153"/>
                </a:cubicBezTo>
                <a:cubicBezTo>
                  <a:pt x="78400" y="86153"/>
                  <a:pt x="78400" y="89230"/>
                  <a:pt x="75200" y="92307"/>
                </a:cubicBezTo>
                <a:cubicBezTo>
                  <a:pt x="70400" y="95384"/>
                  <a:pt x="65600" y="96923"/>
                  <a:pt x="64000" y="100000"/>
                </a:cubicBezTo>
                <a:cubicBezTo>
                  <a:pt x="64000" y="103076"/>
                  <a:pt x="62400" y="106153"/>
                  <a:pt x="62400" y="109230"/>
                </a:cubicBezTo>
                <a:cubicBezTo>
                  <a:pt x="64000" y="113846"/>
                  <a:pt x="64000" y="118461"/>
                  <a:pt x="60800" y="118461"/>
                </a:cubicBezTo>
                <a:cubicBezTo>
                  <a:pt x="59200" y="118461"/>
                  <a:pt x="54400" y="120000"/>
                  <a:pt x="51200" y="118461"/>
                </a:cubicBezTo>
                <a:cubicBezTo>
                  <a:pt x="51200" y="116923"/>
                  <a:pt x="51200" y="116923"/>
                  <a:pt x="51200" y="116923"/>
                </a:cubicBezTo>
                <a:cubicBezTo>
                  <a:pt x="52800" y="112307"/>
                  <a:pt x="52800" y="112307"/>
                  <a:pt x="52800" y="112307"/>
                </a:cubicBezTo>
                <a:cubicBezTo>
                  <a:pt x="49600" y="107692"/>
                  <a:pt x="49600" y="107692"/>
                  <a:pt x="49600" y="107692"/>
                </a:cubicBezTo>
                <a:cubicBezTo>
                  <a:pt x="49600" y="107692"/>
                  <a:pt x="49600" y="107692"/>
                  <a:pt x="49600" y="106153"/>
                </a:cubicBezTo>
                <a:cubicBezTo>
                  <a:pt x="48000" y="104615"/>
                  <a:pt x="48000" y="101538"/>
                  <a:pt x="48000" y="101538"/>
                </a:cubicBezTo>
                <a:cubicBezTo>
                  <a:pt x="46400" y="96923"/>
                  <a:pt x="46400" y="96923"/>
                  <a:pt x="46400" y="96923"/>
                </a:cubicBezTo>
                <a:cubicBezTo>
                  <a:pt x="46400" y="96923"/>
                  <a:pt x="43200" y="93846"/>
                  <a:pt x="41600" y="92307"/>
                </a:cubicBezTo>
                <a:cubicBezTo>
                  <a:pt x="41600" y="92307"/>
                  <a:pt x="41600" y="90769"/>
                  <a:pt x="38400" y="89230"/>
                </a:cubicBezTo>
                <a:cubicBezTo>
                  <a:pt x="36800" y="89230"/>
                  <a:pt x="33600" y="87692"/>
                  <a:pt x="33600" y="87692"/>
                </a:cubicBezTo>
                <a:cubicBezTo>
                  <a:pt x="32000" y="87692"/>
                  <a:pt x="32000" y="87692"/>
                  <a:pt x="32000" y="87692"/>
                </a:cubicBezTo>
                <a:cubicBezTo>
                  <a:pt x="32000" y="87692"/>
                  <a:pt x="30400" y="87692"/>
                  <a:pt x="30400" y="87692"/>
                </a:cubicBezTo>
                <a:cubicBezTo>
                  <a:pt x="27200" y="84615"/>
                  <a:pt x="27200" y="84615"/>
                  <a:pt x="27200" y="84615"/>
                </a:cubicBezTo>
                <a:cubicBezTo>
                  <a:pt x="24000" y="84615"/>
                  <a:pt x="24000" y="84615"/>
                  <a:pt x="24000" y="84615"/>
                </a:cubicBezTo>
                <a:cubicBezTo>
                  <a:pt x="22400" y="80000"/>
                  <a:pt x="22400" y="80000"/>
                  <a:pt x="22400" y="80000"/>
                </a:cubicBezTo>
                <a:cubicBezTo>
                  <a:pt x="20800" y="75384"/>
                  <a:pt x="20800" y="75384"/>
                  <a:pt x="20800" y="75384"/>
                </a:cubicBezTo>
                <a:cubicBezTo>
                  <a:pt x="17600" y="72307"/>
                  <a:pt x="17600" y="72307"/>
                  <a:pt x="17600" y="72307"/>
                </a:cubicBezTo>
                <a:cubicBezTo>
                  <a:pt x="14400" y="70769"/>
                  <a:pt x="14400" y="70769"/>
                  <a:pt x="14400" y="70769"/>
                </a:cubicBezTo>
                <a:cubicBezTo>
                  <a:pt x="12800" y="69230"/>
                  <a:pt x="12800" y="69230"/>
                  <a:pt x="12800" y="69230"/>
                </a:cubicBezTo>
                <a:cubicBezTo>
                  <a:pt x="9600" y="67692"/>
                  <a:pt x="9600" y="67692"/>
                  <a:pt x="9600" y="67692"/>
                </a:cubicBezTo>
                <a:cubicBezTo>
                  <a:pt x="8000" y="64615"/>
                  <a:pt x="11200" y="61538"/>
                  <a:pt x="9600" y="58461"/>
                </a:cubicBezTo>
                <a:cubicBezTo>
                  <a:pt x="6400" y="55384"/>
                  <a:pt x="0" y="52307"/>
                  <a:pt x="1600" y="52307"/>
                </a:cubicBezTo>
                <a:cubicBezTo>
                  <a:pt x="3200" y="49230"/>
                  <a:pt x="9600" y="50769"/>
                  <a:pt x="12800" y="49230"/>
                </a:cubicBezTo>
                <a:cubicBezTo>
                  <a:pt x="14400" y="49230"/>
                  <a:pt x="14400" y="46153"/>
                  <a:pt x="16000" y="44615"/>
                </a:cubicBezTo>
                <a:cubicBezTo>
                  <a:pt x="17600" y="44615"/>
                  <a:pt x="20800" y="46153"/>
                  <a:pt x="20800" y="43076"/>
                </a:cubicBezTo>
                <a:cubicBezTo>
                  <a:pt x="20800" y="40000"/>
                  <a:pt x="24000" y="40000"/>
                  <a:pt x="25600" y="41538"/>
                </a:cubicBezTo>
                <a:cubicBezTo>
                  <a:pt x="25600" y="41538"/>
                  <a:pt x="27200" y="41538"/>
                  <a:pt x="30400" y="38461"/>
                </a:cubicBezTo>
                <a:cubicBezTo>
                  <a:pt x="35200" y="36923"/>
                  <a:pt x="32000" y="36923"/>
                  <a:pt x="32000" y="36923"/>
                </a:cubicBezTo>
                <a:cubicBezTo>
                  <a:pt x="30400" y="32307"/>
                  <a:pt x="30400" y="32307"/>
                  <a:pt x="30400" y="32307"/>
                </a:cubicBezTo>
                <a:cubicBezTo>
                  <a:pt x="40000" y="23076"/>
                  <a:pt x="40000" y="23076"/>
                  <a:pt x="40000" y="23076"/>
                </a:cubicBezTo>
                <a:cubicBezTo>
                  <a:pt x="41600" y="15384"/>
                  <a:pt x="41600" y="15384"/>
                  <a:pt x="41600" y="15384"/>
                </a:cubicBezTo>
                <a:cubicBezTo>
                  <a:pt x="41600" y="15384"/>
                  <a:pt x="40000" y="13846"/>
                  <a:pt x="38400" y="12307"/>
                </a:cubicBezTo>
                <a:cubicBezTo>
                  <a:pt x="35200" y="9230"/>
                  <a:pt x="36800" y="9230"/>
                  <a:pt x="36800" y="7692"/>
                </a:cubicBezTo>
                <a:cubicBezTo>
                  <a:pt x="38400" y="6153"/>
                  <a:pt x="40000" y="6153"/>
                  <a:pt x="40000" y="6153"/>
                </a:cubicBezTo>
                <a:cubicBezTo>
                  <a:pt x="41600" y="4615"/>
                  <a:pt x="44800" y="4615"/>
                  <a:pt x="48000" y="1538"/>
                </a:cubicBezTo>
                <a:cubicBezTo>
                  <a:pt x="51200" y="0"/>
                  <a:pt x="51200" y="3076"/>
                  <a:pt x="51200" y="3076"/>
                </a:cubicBezTo>
                <a:cubicBezTo>
                  <a:pt x="51200" y="3076"/>
                  <a:pt x="52800" y="7692"/>
                  <a:pt x="57600" y="9230"/>
                </a:cubicBezTo>
                <a:cubicBezTo>
                  <a:pt x="60800" y="10769"/>
                  <a:pt x="62400" y="10769"/>
                  <a:pt x="62400" y="10769"/>
                </a:cubicBezTo>
                <a:cubicBezTo>
                  <a:pt x="67200" y="10769"/>
                  <a:pt x="67200" y="10769"/>
                  <a:pt x="67200" y="10769"/>
                </a:cubicBezTo>
                <a:cubicBezTo>
                  <a:pt x="75200" y="16923"/>
                  <a:pt x="75200" y="16923"/>
                  <a:pt x="75200" y="16923"/>
                </a:cubicBezTo>
                <a:cubicBezTo>
                  <a:pt x="75200" y="16923"/>
                  <a:pt x="75200" y="16923"/>
                  <a:pt x="76800" y="18461"/>
                </a:cubicBezTo>
                <a:cubicBezTo>
                  <a:pt x="78400" y="20000"/>
                  <a:pt x="80000" y="26153"/>
                  <a:pt x="80000" y="26153"/>
                </a:cubicBezTo>
                <a:cubicBezTo>
                  <a:pt x="92800" y="29230"/>
                  <a:pt x="92800" y="29230"/>
                  <a:pt x="92800" y="29230"/>
                </a:cubicBezTo>
                <a:cubicBezTo>
                  <a:pt x="94400" y="35384"/>
                  <a:pt x="94400" y="35384"/>
                  <a:pt x="94400" y="35384"/>
                </a:cubicBezTo>
                <a:cubicBezTo>
                  <a:pt x="94400" y="35384"/>
                  <a:pt x="100800" y="35384"/>
                  <a:pt x="104000" y="36923"/>
                </a:cubicBezTo>
                <a:cubicBezTo>
                  <a:pt x="107200" y="36923"/>
                  <a:pt x="107200" y="40000"/>
                  <a:pt x="107200" y="40000"/>
                </a:cubicBezTo>
                <a:cubicBezTo>
                  <a:pt x="112000" y="38461"/>
                  <a:pt x="112000" y="38461"/>
                  <a:pt x="112000" y="38461"/>
                </a:cubicBezTo>
                <a:cubicBezTo>
                  <a:pt x="120000" y="40000"/>
                  <a:pt x="120000" y="40000"/>
                  <a:pt x="120000" y="40000"/>
                </a:cubicBezTo>
                <a:cubicBezTo>
                  <a:pt x="120000" y="40000"/>
                  <a:pt x="120000" y="41538"/>
                  <a:pt x="118400" y="43076"/>
                </a:cubicBezTo>
                <a:cubicBezTo>
                  <a:pt x="116800" y="43076"/>
                  <a:pt x="116800" y="46153"/>
                  <a:pt x="116800" y="47692"/>
                </a:cubicBezTo>
                <a:cubicBezTo>
                  <a:pt x="116800" y="50769"/>
                  <a:pt x="116800" y="52307"/>
                  <a:pt x="116800" y="53846"/>
                </a:cubicBezTo>
                <a:cubicBezTo>
                  <a:pt x="115200" y="56923"/>
                  <a:pt x="113600" y="55384"/>
                  <a:pt x="112000" y="56923"/>
                </a:cubicBezTo>
                <a:cubicBezTo>
                  <a:pt x="110400" y="56923"/>
                  <a:pt x="112000" y="60000"/>
                  <a:pt x="113600" y="63076"/>
                </a:cubicBezTo>
                <a:cubicBezTo>
                  <a:pt x="113600" y="64615"/>
                  <a:pt x="113600" y="64615"/>
                  <a:pt x="112000" y="66153"/>
                </a:cubicBezTo>
                <a:cubicBezTo>
                  <a:pt x="108800" y="69230"/>
                  <a:pt x="107200" y="69230"/>
                  <a:pt x="107200" y="69230"/>
                </a:cubicBezTo>
                <a:cubicBezTo>
                  <a:pt x="112000" y="73846"/>
                  <a:pt x="112000" y="73846"/>
                  <a:pt x="112000" y="73846"/>
                </a:cubicBezTo>
                <a:cubicBezTo>
                  <a:pt x="112000" y="73846"/>
                  <a:pt x="112000" y="73846"/>
                  <a:pt x="113600" y="73846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3012;p256">
            <a:extLst>
              <a:ext uri="{FF2B5EF4-FFF2-40B4-BE49-F238E27FC236}">
                <a16:creationId xmlns:a16="http://schemas.microsoft.com/office/drawing/2014/main" id="{BC1813E0-BC14-A9FC-E2BE-F7C0EAC8D7BE}"/>
              </a:ext>
            </a:extLst>
          </p:cNvPr>
          <p:cNvSpPr/>
          <p:nvPr/>
        </p:nvSpPr>
        <p:spPr>
          <a:xfrm>
            <a:off x="10041485" y="5106764"/>
            <a:ext cx="310838" cy="56818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9176" y="118500"/>
                </a:moveTo>
                <a:cubicBezTo>
                  <a:pt x="73411" y="120000"/>
                  <a:pt x="73411" y="120000"/>
                  <a:pt x="73411" y="120000"/>
                </a:cubicBezTo>
                <a:cubicBezTo>
                  <a:pt x="77647" y="119250"/>
                  <a:pt x="77647" y="119250"/>
                  <a:pt x="77647" y="119250"/>
                </a:cubicBezTo>
                <a:cubicBezTo>
                  <a:pt x="80470" y="118500"/>
                  <a:pt x="80470" y="118500"/>
                  <a:pt x="80470" y="118500"/>
                </a:cubicBezTo>
                <a:cubicBezTo>
                  <a:pt x="80470" y="118500"/>
                  <a:pt x="83294" y="117000"/>
                  <a:pt x="83294" y="117000"/>
                </a:cubicBezTo>
                <a:cubicBezTo>
                  <a:pt x="83294" y="117000"/>
                  <a:pt x="83294" y="115500"/>
                  <a:pt x="83294" y="115500"/>
                </a:cubicBezTo>
                <a:cubicBezTo>
                  <a:pt x="81882" y="114750"/>
                  <a:pt x="81882" y="114750"/>
                  <a:pt x="81882" y="114750"/>
                </a:cubicBezTo>
                <a:cubicBezTo>
                  <a:pt x="81882" y="114750"/>
                  <a:pt x="80470" y="113250"/>
                  <a:pt x="81882" y="113250"/>
                </a:cubicBezTo>
                <a:cubicBezTo>
                  <a:pt x="83294" y="113250"/>
                  <a:pt x="84705" y="112500"/>
                  <a:pt x="84705" y="113250"/>
                </a:cubicBezTo>
                <a:cubicBezTo>
                  <a:pt x="86117" y="113250"/>
                  <a:pt x="84705" y="113250"/>
                  <a:pt x="86117" y="113250"/>
                </a:cubicBezTo>
                <a:cubicBezTo>
                  <a:pt x="87529" y="113250"/>
                  <a:pt x="88941" y="112500"/>
                  <a:pt x="88941" y="112500"/>
                </a:cubicBezTo>
                <a:cubicBezTo>
                  <a:pt x="88941" y="111750"/>
                  <a:pt x="88941" y="111750"/>
                  <a:pt x="88941" y="111750"/>
                </a:cubicBezTo>
                <a:cubicBezTo>
                  <a:pt x="88941" y="111750"/>
                  <a:pt x="88941" y="111750"/>
                  <a:pt x="88941" y="111750"/>
                </a:cubicBezTo>
                <a:cubicBezTo>
                  <a:pt x="87529" y="111000"/>
                  <a:pt x="83294" y="109500"/>
                  <a:pt x="81882" y="109500"/>
                </a:cubicBezTo>
                <a:cubicBezTo>
                  <a:pt x="81882" y="108750"/>
                  <a:pt x="80470" y="108000"/>
                  <a:pt x="80470" y="108000"/>
                </a:cubicBezTo>
                <a:cubicBezTo>
                  <a:pt x="80470" y="107250"/>
                  <a:pt x="81882" y="106500"/>
                  <a:pt x="81882" y="106500"/>
                </a:cubicBezTo>
                <a:cubicBezTo>
                  <a:pt x="80470" y="105750"/>
                  <a:pt x="80470" y="105750"/>
                  <a:pt x="80470" y="105750"/>
                </a:cubicBezTo>
                <a:cubicBezTo>
                  <a:pt x="80470" y="105750"/>
                  <a:pt x="81882" y="105000"/>
                  <a:pt x="83294" y="105000"/>
                </a:cubicBezTo>
                <a:cubicBezTo>
                  <a:pt x="83294" y="105000"/>
                  <a:pt x="84705" y="105000"/>
                  <a:pt x="84705" y="105000"/>
                </a:cubicBezTo>
                <a:cubicBezTo>
                  <a:pt x="86117" y="102750"/>
                  <a:pt x="86117" y="102750"/>
                  <a:pt x="86117" y="102750"/>
                </a:cubicBezTo>
                <a:cubicBezTo>
                  <a:pt x="86117" y="102750"/>
                  <a:pt x="86117" y="102000"/>
                  <a:pt x="87529" y="102000"/>
                </a:cubicBezTo>
                <a:cubicBezTo>
                  <a:pt x="87529" y="102000"/>
                  <a:pt x="88941" y="102000"/>
                  <a:pt x="88941" y="102000"/>
                </a:cubicBezTo>
                <a:cubicBezTo>
                  <a:pt x="98823" y="99000"/>
                  <a:pt x="98823" y="99000"/>
                  <a:pt x="98823" y="99000"/>
                </a:cubicBezTo>
                <a:cubicBezTo>
                  <a:pt x="105882" y="93000"/>
                  <a:pt x="105882" y="93000"/>
                  <a:pt x="105882" y="93000"/>
                </a:cubicBezTo>
                <a:cubicBezTo>
                  <a:pt x="108705" y="86250"/>
                  <a:pt x="108705" y="86250"/>
                  <a:pt x="108705" y="86250"/>
                </a:cubicBezTo>
                <a:cubicBezTo>
                  <a:pt x="112941" y="80250"/>
                  <a:pt x="112941" y="80250"/>
                  <a:pt x="112941" y="80250"/>
                </a:cubicBezTo>
                <a:cubicBezTo>
                  <a:pt x="112941" y="80250"/>
                  <a:pt x="118588" y="77250"/>
                  <a:pt x="118588" y="78000"/>
                </a:cubicBezTo>
                <a:cubicBezTo>
                  <a:pt x="120000" y="78750"/>
                  <a:pt x="118588" y="72000"/>
                  <a:pt x="118588" y="72000"/>
                </a:cubicBezTo>
                <a:cubicBezTo>
                  <a:pt x="114352" y="69750"/>
                  <a:pt x="114352" y="69750"/>
                  <a:pt x="114352" y="69750"/>
                </a:cubicBezTo>
                <a:cubicBezTo>
                  <a:pt x="114352" y="68250"/>
                  <a:pt x="114352" y="68250"/>
                  <a:pt x="114352" y="68250"/>
                </a:cubicBezTo>
                <a:cubicBezTo>
                  <a:pt x="114352" y="68250"/>
                  <a:pt x="112941" y="68250"/>
                  <a:pt x="112941" y="68250"/>
                </a:cubicBezTo>
                <a:cubicBezTo>
                  <a:pt x="112941" y="68250"/>
                  <a:pt x="112941" y="68250"/>
                  <a:pt x="111529" y="68250"/>
                </a:cubicBezTo>
                <a:cubicBezTo>
                  <a:pt x="111529" y="67500"/>
                  <a:pt x="111529" y="67500"/>
                  <a:pt x="111529" y="67500"/>
                </a:cubicBezTo>
                <a:cubicBezTo>
                  <a:pt x="108705" y="66000"/>
                  <a:pt x="108705" y="66000"/>
                  <a:pt x="108705" y="66000"/>
                </a:cubicBezTo>
                <a:cubicBezTo>
                  <a:pt x="108705" y="66000"/>
                  <a:pt x="107294" y="66750"/>
                  <a:pt x="105882" y="66750"/>
                </a:cubicBezTo>
                <a:cubicBezTo>
                  <a:pt x="104470" y="66750"/>
                  <a:pt x="104470" y="66000"/>
                  <a:pt x="103058" y="66000"/>
                </a:cubicBezTo>
                <a:cubicBezTo>
                  <a:pt x="103058" y="66000"/>
                  <a:pt x="103058" y="66000"/>
                  <a:pt x="103058" y="66000"/>
                </a:cubicBezTo>
                <a:cubicBezTo>
                  <a:pt x="103058" y="66000"/>
                  <a:pt x="101647" y="66000"/>
                  <a:pt x="100235" y="66000"/>
                </a:cubicBezTo>
                <a:cubicBezTo>
                  <a:pt x="98823" y="66000"/>
                  <a:pt x="97411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6000" y="67500"/>
                </a:cubicBezTo>
                <a:cubicBezTo>
                  <a:pt x="96000" y="66750"/>
                  <a:pt x="96000" y="66750"/>
                  <a:pt x="96000" y="66750"/>
                </a:cubicBezTo>
                <a:cubicBezTo>
                  <a:pt x="96000" y="66000"/>
                  <a:pt x="96000" y="66000"/>
                  <a:pt x="94588" y="65250"/>
                </a:cubicBezTo>
                <a:cubicBezTo>
                  <a:pt x="94588" y="64500"/>
                  <a:pt x="94588" y="63000"/>
                  <a:pt x="93176" y="62250"/>
                </a:cubicBezTo>
                <a:cubicBezTo>
                  <a:pt x="91764" y="61500"/>
                  <a:pt x="91764" y="60750"/>
                  <a:pt x="91764" y="60750"/>
                </a:cubicBezTo>
                <a:cubicBezTo>
                  <a:pt x="91764" y="60750"/>
                  <a:pt x="88941" y="60750"/>
                  <a:pt x="87529" y="60750"/>
                </a:cubicBezTo>
                <a:cubicBezTo>
                  <a:pt x="87529" y="60750"/>
                  <a:pt x="86117" y="60750"/>
                  <a:pt x="86117" y="60750"/>
                </a:cubicBezTo>
                <a:cubicBezTo>
                  <a:pt x="86117" y="60750"/>
                  <a:pt x="84705" y="59250"/>
                  <a:pt x="86117" y="59250"/>
                </a:cubicBezTo>
                <a:cubicBezTo>
                  <a:pt x="86117" y="58500"/>
                  <a:pt x="84705" y="57750"/>
                  <a:pt x="83294" y="57000"/>
                </a:cubicBezTo>
                <a:cubicBezTo>
                  <a:pt x="83294" y="57000"/>
                  <a:pt x="80470" y="54750"/>
                  <a:pt x="80470" y="54750"/>
                </a:cubicBezTo>
                <a:cubicBezTo>
                  <a:pt x="80470" y="54750"/>
                  <a:pt x="79058" y="54750"/>
                  <a:pt x="79058" y="54000"/>
                </a:cubicBezTo>
                <a:cubicBezTo>
                  <a:pt x="79058" y="53250"/>
                  <a:pt x="79058" y="52500"/>
                  <a:pt x="79058" y="52500"/>
                </a:cubicBezTo>
                <a:cubicBezTo>
                  <a:pt x="77647" y="51000"/>
                  <a:pt x="77647" y="51000"/>
                  <a:pt x="77647" y="51000"/>
                </a:cubicBezTo>
                <a:cubicBezTo>
                  <a:pt x="77647" y="51000"/>
                  <a:pt x="80470" y="50250"/>
                  <a:pt x="80470" y="49500"/>
                </a:cubicBezTo>
                <a:cubicBezTo>
                  <a:pt x="80470" y="49500"/>
                  <a:pt x="81882" y="48750"/>
                  <a:pt x="80470" y="48000"/>
                </a:cubicBezTo>
                <a:cubicBezTo>
                  <a:pt x="80470" y="47250"/>
                  <a:pt x="77647" y="46500"/>
                  <a:pt x="77647" y="46500"/>
                </a:cubicBezTo>
                <a:cubicBezTo>
                  <a:pt x="76235" y="45750"/>
                  <a:pt x="74823" y="45000"/>
                  <a:pt x="73411" y="44250"/>
                </a:cubicBezTo>
                <a:cubicBezTo>
                  <a:pt x="73411" y="43500"/>
                  <a:pt x="73411" y="42750"/>
                  <a:pt x="73411" y="42750"/>
                </a:cubicBezTo>
                <a:cubicBezTo>
                  <a:pt x="73411" y="42750"/>
                  <a:pt x="73411" y="42000"/>
                  <a:pt x="74823" y="42000"/>
                </a:cubicBezTo>
                <a:cubicBezTo>
                  <a:pt x="76235" y="41250"/>
                  <a:pt x="77647" y="41250"/>
                  <a:pt x="77647" y="40500"/>
                </a:cubicBezTo>
                <a:cubicBezTo>
                  <a:pt x="77647" y="40500"/>
                  <a:pt x="79058" y="40500"/>
                  <a:pt x="79058" y="39750"/>
                </a:cubicBezTo>
                <a:cubicBezTo>
                  <a:pt x="77647" y="39000"/>
                  <a:pt x="76235" y="38250"/>
                  <a:pt x="76235" y="38250"/>
                </a:cubicBezTo>
                <a:cubicBezTo>
                  <a:pt x="77647" y="36000"/>
                  <a:pt x="77647" y="36000"/>
                  <a:pt x="77647" y="36000"/>
                </a:cubicBezTo>
                <a:cubicBezTo>
                  <a:pt x="76235" y="35250"/>
                  <a:pt x="76235" y="35250"/>
                  <a:pt x="76235" y="35250"/>
                </a:cubicBezTo>
                <a:cubicBezTo>
                  <a:pt x="76235" y="32250"/>
                  <a:pt x="76235" y="32250"/>
                  <a:pt x="76235" y="32250"/>
                </a:cubicBezTo>
                <a:cubicBezTo>
                  <a:pt x="76235" y="31500"/>
                  <a:pt x="76235" y="31500"/>
                  <a:pt x="76235" y="31500"/>
                </a:cubicBezTo>
                <a:cubicBezTo>
                  <a:pt x="76235" y="31500"/>
                  <a:pt x="77647" y="30000"/>
                  <a:pt x="77647" y="30000"/>
                </a:cubicBezTo>
                <a:cubicBezTo>
                  <a:pt x="77647" y="29250"/>
                  <a:pt x="77647" y="27750"/>
                  <a:pt x="77647" y="27750"/>
                </a:cubicBezTo>
                <a:cubicBezTo>
                  <a:pt x="77647" y="27000"/>
                  <a:pt x="77647" y="27000"/>
                  <a:pt x="77647" y="27000"/>
                </a:cubicBezTo>
                <a:cubicBezTo>
                  <a:pt x="79058" y="24750"/>
                  <a:pt x="79058" y="24750"/>
                  <a:pt x="79058" y="24750"/>
                </a:cubicBezTo>
                <a:cubicBezTo>
                  <a:pt x="76235" y="22500"/>
                  <a:pt x="76235" y="22500"/>
                  <a:pt x="76235" y="22500"/>
                </a:cubicBezTo>
                <a:cubicBezTo>
                  <a:pt x="76235" y="22500"/>
                  <a:pt x="76235" y="22500"/>
                  <a:pt x="76235" y="21750"/>
                </a:cubicBezTo>
                <a:cubicBezTo>
                  <a:pt x="74823" y="21000"/>
                  <a:pt x="74823" y="19500"/>
                  <a:pt x="74823" y="19500"/>
                </a:cubicBezTo>
                <a:cubicBezTo>
                  <a:pt x="73411" y="17250"/>
                  <a:pt x="73411" y="17250"/>
                  <a:pt x="73411" y="17250"/>
                </a:cubicBezTo>
                <a:cubicBezTo>
                  <a:pt x="73411" y="17250"/>
                  <a:pt x="70588" y="15750"/>
                  <a:pt x="69176" y="15000"/>
                </a:cubicBezTo>
                <a:cubicBezTo>
                  <a:pt x="69176" y="15000"/>
                  <a:pt x="69176" y="14250"/>
                  <a:pt x="66352" y="13500"/>
                </a:cubicBezTo>
                <a:cubicBezTo>
                  <a:pt x="64941" y="13500"/>
                  <a:pt x="62117" y="12750"/>
                  <a:pt x="62117" y="12750"/>
                </a:cubicBezTo>
                <a:cubicBezTo>
                  <a:pt x="59294" y="12750"/>
                  <a:pt x="59294" y="12750"/>
                  <a:pt x="59294" y="12750"/>
                </a:cubicBezTo>
                <a:cubicBezTo>
                  <a:pt x="56470" y="11250"/>
                  <a:pt x="56470" y="11250"/>
                  <a:pt x="56470" y="11250"/>
                </a:cubicBezTo>
                <a:cubicBezTo>
                  <a:pt x="53647" y="11250"/>
                  <a:pt x="53647" y="11250"/>
                  <a:pt x="53647" y="11250"/>
                </a:cubicBezTo>
                <a:cubicBezTo>
                  <a:pt x="52235" y="9000"/>
                  <a:pt x="52235" y="9000"/>
                  <a:pt x="52235" y="9000"/>
                </a:cubicBezTo>
                <a:cubicBezTo>
                  <a:pt x="50823" y="6750"/>
                  <a:pt x="50823" y="6750"/>
                  <a:pt x="50823" y="6750"/>
                </a:cubicBezTo>
                <a:cubicBezTo>
                  <a:pt x="48000" y="5250"/>
                  <a:pt x="48000" y="5250"/>
                  <a:pt x="48000" y="5250"/>
                </a:cubicBezTo>
                <a:cubicBezTo>
                  <a:pt x="45176" y="4500"/>
                  <a:pt x="45176" y="4500"/>
                  <a:pt x="45176" y="4500"/>
                </a:cubicBezTo>
                <a:cubicBezTo>
                  <a:pt x="43764" y="3750"/>
                  <a:pt x="43764" y="3750"/>
                  <a:pt x="43764" y="3750"/>
                </a:cubicBezTo>
                <a:cubicBezTo>
                  <a:pt x="40941" y="3000"/>
                  <a:pt x="40941" y="3000"/>
                  <a:pt x="40941" y="3000"/>
                </a:cubicBezTo>
                <a:cubicBezTo>
                  <a:pt x="39529" y="3000"/>
                  <a:pt x="39529" y="3000"/>
                  <a:pt x="39529" y="3000"/>
                </a:cubicBezTo>
                <a:cubicBezTo>
                  <a:pt x="39529" y="3000"/>
                  <a:pt x="38117" y="4500"/>
                  <a:pt x="38117" y="4500"/>
                </a:cubicBezTo>
                <a:cubicBezTo>
                  <a:pt x="38117" y="4500"/>
                  <a:pt x="33882" y="5250"/>
                  <a:pt x="33882" y="5250"/>
                </a:cubicBezTo>
                <a:cubicBezTo>
                  <a:pt x="31058" y="6750"/>
                  <a:pt x="31058" y="6750"/>
                  <a:pt x="31058" y="6750"/>
                </a:cubicBezTo>
                <a:cubicBezTo>
                  <a:pt x="28235" y="7500"/>
                  <a:pt x="28235" y="7500"/>
                  <a:pt x="28235" y="7500"/>
                </a:cubicBezTo>
                <a:cubicBezTo>
                  <a:pt x="28235" y="7500"/>
                  <a:pt x="28235" y="7500"/>
                  <a:pt x="28235" y="6750"/>
                </a:cubicBezTo>
                <a:cubicBezTo>
                  <a:pt x="26823" y="6750"/>
                  <a:pt x="26823" y="6750"/>
                  <a:pt x="26823" y="6750"/>
                </a:cubicBezTo>
                <a:cubicBezTo>
                  <a:pt x="26823" y="6750"/>
                  <a:pt x="25411" y="6000"/>
                  <a:pt x="25411" y="5250"/>
                </a:cubicBezTo>
                <a:cubicBezTo>
                  <a:pt x="25411" y="5250"/>
                  <a:pt x="24000" y="4500"/>
                  <a:pt x="24000" y="4500"/>
                </a:cubicBezTo>
                <a:cubicBezTo>
                  <a:pt x="24000" y="4500"/>
                  <a:pt x="24000" y="3750"/>
                  <a:pt x="24000" y="3750"/>
                </a:cubicBezTo>
                <a:cubicBezTo>
                  <a:pt x="24000" y="3000"/>
                  <a:pt x="24000" y="2250"/>
                  <a:pt x="24000" y="2250"/>
                </a:cubicBezTo>
                <a:cubicBezTo>
                  <a:pt x="24000" y="1500"/>
                  <a:pt x="24000" y="1500"/>
                  <a:pt x="24000" y="1500"/>
                </a:cubicBezTo>
                <a:cubicBezTo>
                  <a:pt x="22588" y="750"/>
                  <a:pt x="22588" y="750"/>
                  <a:pt x="22588" y="750"/>
                </a:cubicBezTo>
                <a:cubicBezTo>
                  <a:pt x="22588" y="0"/>
                  <a:pt x="22588" y="0"/>
                  <a:pt x="22588" y="0"/>
                </a:cubicBezTo>
                <a:cubicBezTo>
                  <a:pt x="22588" y="0"/>
                  <a:pt x="19764" y="0"/>
                  <a:pt x="19764" y="0"/>
                </a:cubicBezTo>
                <a:cubicBezTo>
                  <a:pt x="19764" y="0"/>
                  <a:pt x="14117" y="3000"/>
                  <a:pt x="14117" y="3000"/>
                </a:cubicBezTo>
                <a:cubicBezTo>
                  <a:pt x="15529" y="3750"/>
                  <a:pt x="15529" y="3750"/>
                  <a:pt x="15529" y="3750"/>
                </a:cubicBezTo>
                <a:cubicBezTo>
                  <a:pt x="14117" y="5250"/>
                  <a:pt x="14117" y="5250"/>
                  <a:pt x="14117" y="5250"/>
                </a:cubicBezTo>
                <a:cubicBezTo>
                  <a:pt x="12705" y="6750"/>
                  <a:pt x="12705" y="6750"/>
                  <a:pt x="12705" y="6750"/>
                </a:cubicBezTo>
                <a:cubicBezTo>
                  <a:pt x="11294" y="8250"/>
                  <a:pt x="11294" y="8250"/>
                  <a:pt x="11294" y="8250"/>
                </a:cubicBezTo>
                <a:cubicBezTo>
                  <a:pt x="11294" y="8250"/>
                  <a:pt x="9882" y="9000"/>
                  <a:pt x="9882" y="9750"/>
                </a:cubicBezTo>
                <a:cubicBezTo>
                  <a:pt x="9882" y="9750"/>
                  <a:pt x="8470" y="10500"/>
                  <a:pt x="8470" y="10500"/>
                </a:cubicBezTo>
                <a:cubicBezTo>
                  <a:pt x="7058" y="11250"/>
                  <a:pt x="7058" y="11250"/>
                  <a:pt x="7058" y="11250"/>
                </a:cubicBezTo>
                <a:cubicBezTo>
                  <a:pt x="5647" y="12000"/>
                  <a:pt x="5647" y="12000"/>
                  <a:pt x="5647" y="12000"/>
                </a:cubicBezTo>
                <a:cubicBezTo>
                  <a:pt x="5647" y="13500"/>
                  <a:pt x="5647" y="13500"/>
                  <a:pt x="5647" y="13500"/>
                </a:cubicBezTo>
                <a:cubicBezTo>
                  <a:pt x="5647" y="13500"/>
                  <a:pt x="5647" y="14250"/>
                  <a:pt x="5647" y="15000"/>
                </a:cubicBezTo>
                <a:cubicBezTo>
                  <a:pt x="5647" y="15000"/>
                  <a:pt x="4235" y="15750"/>
                  <a:pt x="4235" y="15750"/>
                </a:cubicBezTo>
                <a:cubicBezTo>
                  <a:pt x="2823" y="17250"/>
                  <a:pt x="2823" y="17250"/>
                  <a:pt x="2823" y="17250"/>
                </a:cubicBezTo>
                <a:cubicBezTo>
                  <a:pt x="0" y="18750"/>
                  <a:pt x="0" y="18750"/>
                  <a:pt x="0" y="18750"/>
                </a:cubicBezTo>
                <a:cubicBezTo>
                  <a:pt x="0" y="20250"/>
                  <a:pt x="0" y="20250"/>
                  <a:pt x="0" y="20250"/>
                </a:cubicBezTo>
                <a:cubicBezTo>
                  <a:pt x="1411" y="21000"/>
                  <a:pt x="1411" y="21000"/>
                  <a:pt x="1411" y="21000"/>
                </a:cubicBezTo>
                <a:cubicBezTo>
                  <a:pt x="4235" y="21750"/>
                  <a:pt x="4235" y="21750"/>
                  <a:pt x="4235" y="21750"/>
                </a:cubicBezTo>
                <a:cubicBezTo>
                  <a:pt x="7058" y="22500"/>
                  <a:pt x="7058" y="22500"/>
                  <a:pt x="7058" y="22500"/>
                </a:cubicBezTo>
                <a:cubicBezTo>
                  <a:pt x="7058" y="22500"/>
                  <a:pt x="7058" y="23250"/>
                  <a:pt x="7058" y="24000"/>
                </a:cubicBezTo>
                <a:cubicBezTo>
                  <a:pt x="7058" y="24000"/>
                  <a:pt x="7058" y="24750"/>
                  <a:pt x="7058" y="24750"/>
                </a:cubicBezTo>
                <a:cubicBezTo>
                  <a:pt x="5647" y="26250"/>
                  <a:pt x="5647" y="26250"/>
                  <a:pt x="5647" y="26250"/>
                </a:cubicBezTo>
                <a:cubicBezTo>
                  <a:pt x="5647" y="26250"/>
                  <a:pt x="7058" y="27000"/>
                  <a:pt x="7058" y="27000"/>
                </a:cubicBezTo>
                <a:cubicBezTo>
                  <a:pt x="7058" y="27000"/>
                  <a:pt x="7058" y="27750"/>
                  <a:pt x="7058" y="27750"/>
                </a:cubicBezTo>
                <a:cubicBezTo>
                  <a:pt x="7058" y="27750"/>
                  <a:pt x="7058" y="29250"/>
                  <a:pt x="7058" y="29250"/>
                </a:cubicBezTo>
                <a:cubicBezTo>
                  <a:pt x="5647" y="30000"/>
                  <a:pt x="5647" y="30000"/>
                  <a:pt x="5647" y="30000"/>
                </a:cubicBezTo>
                <a:cubicBezTo>
                  <a:pt x="5647" y="30000"/>
                  <a:pt x="7058" y="30750"/>
                  <a:pt x="7058" y="31500"/>
                </a:cubicBezTo>
                <a:cubicBezTo>
                  <a:pt x="7058" y="31500"/>
                  <a:pt x="7058" y="32250"/>
                  <a:pt x="7058" y="32250"/>
                </a:cubicBezTo>
                <a:cubicBezTo>
                  <a:pt x="5647" y="32250"/>
                  <a:pt x="8470" y="33750"/>
                  <a:pt x="8470" y="33750"/>
                </a:cubicBezTo>
                <a:cubicBezTo>
                  <a:pt x="8470" y="33750"/>
                  <a:pt x="9882" y="33000"/>
                  <a:pt x="11294" y="33000"/>
                </a:cubicBezTo>
                <a:cubicBezTo>
                  <a:pt x="11294" y="33000"/>
                  <a:pt x="14117" y="33000"/>
                  <a:pt x="14117" y="33000"/>
                </a:cubicBezTo>
                <a:cubicBezTo>
                  <a:pt x="16941" y="33750"/>
                  <a:pt x="16941" y="33750"/>
                  <a:pt x="16941" y="33750"/>
                </a:cubicBezTo>
                <a:cubicBezTo>
                  <a:pt x="19764" y="33750"/>
                  <a:pt x="19764" y="33750"/>
                  <a:pt x="19764" y="33750"/>
                </a:cubicBezTo>
                <a:cubicBezTo>
                  <a:pt x="21176" y="35250"/>
                  <a:pt x="21176" y="35250"/>
                  <a:pt x="21176" y="35250"/>
                </a:cubicBezTo>
                <a:cubicBezTo>
                  <a:pt x="21176" y="36750"/>
                  <a:pt x="21176" y="36750"/>
                  <a:pt x="21176" y="36750"/>
                </a:cubicBezTo>
                <a:cubicBezTo>
                  <a:pt x="21176" y="39000"/>
                  <a:pt x="21176" y="39000"/>
                  <a:pt x="21176" y="39000"/>
                </a:cubicBezTo>
                <a:cubicBezTo>
                  <a:pt x="19764" y="40500"/>
                  <a:pt x="19764" y="40500"/>
                  <a:pt x="19764" y="40500"/>
                </a:cubicBezTo>
                <a:cubicBezTo>
                  <a:pt x="22588" y="41250"/>
                  <a:pt x="22588" y="41250"/>
                  <a:pt x="22588" y="41250"/>
                </a:cubicBezTo>
                <a:cubicBezTo>
                  <a:pt x="22588" y="41250"/>
                  <a:pt x="22588" y="41250"/>
                  <a:pt x="22588" y="41250"/>
                </a:cubicBezTo>
                <a:cubicBezTo>
                  <a:pt x="22588" y="41250"/>
                  <a:pt x="22588" y="42750"/>
                  <a:pt x="22588" y="43500"/>
                </a:cubicBezTo>
                <a:cubicBezTo>
                  <a:pt x="21176" y="43500"/>
                  <a:pt x="19764" y="43500"/>
                  <a:pt x="18352" y="44250"/>
                </a:cubicBezTo>
                <a:cubicBezTo>
                  <a:pt x="16941" y="44250"/>
                  <a:pt x="15529" y="44250"/>
                  <a:pt x="15529" y="44250"/>
                </a:cubicBezTo>
                <a:cubicBezTo>
                  <a:pt x="15529" y="45000"/>
                  <a:pt x="15529" y="45000"/>
                  <a:pt x="15529" y="45000"/>
                </a:cubicBezTo>
                <a:cubicBezTo>
                  <a:pt x="18352" y="45750"/>
                  <a:pt x="18352" y="45750"/>
                  <a:pt x="18352" y="45750"/>
                </a:cubicBezTo>
                <a:cubicBezTo>
                  <a:pt x="18352" y="45750"/>
                  <a:pt x="19764" y="45750"/>
                  <a:pt x="19764" y="45750"/>
                </a:cubicBezTo>
                <a:cubicBezTo>
                  <a:pt x="19764" y="46500"/>
                  <a:pt x="19764" y="48000"/>
                  <a:pt x="19764" y="48000"/>
                </a:cubicBezTo>
                <a:cubicBezTo>
                  <a:pt x="19764" y="48000"/>
                  <a:pt x="19764" y="48750"/>
                  <a:pt x="18352" y="48750"/>
                </a:cubicBezTo>
                <a:cubicBezTo>
                  <a:pt x="18352" y="48750"/>
                  <a:pt x="16941" y="49500"/>
                  <a:pt x="16941" y="49500"/>
                </a:cubicBezTo>
                <a:cubicBezTo>
                  <a:pt x="15529" y="50250"/>
                  <a:pt x="15529" y="50250"/>
                  <a:pt x="15529" y="50250"/>
                </a:cubicBezTo>
                <a:cubicBezTo>
                  <a:pt x="14117" y="51000"/>
                  <a:pt x="14117" y="51000"/>
                  <a:pt x="14117" y="51000"/>
                </a:cubicBezTo>
                <a:cubicBezTo>
                  <a:pt x="11294" y="51750"/>
                  <a:pt x="11294" y="51750"/>
                  <a:pt x="11294" y="51750"/>
                </a:cubicBezTo>
                <a:cubicBezTo>
                  <a:pt x="14117" y="53250"/>
                  <a:pt x="14117" y="53250"/>
                  <a:pt x="14117" y="53250"/>
                </a:cubicBezTo>
                <a:cubicBezTo>
                  <a:pt x="15529" y="53250"/>
                  <a:pt x="15529" y="53250"/>
                  <a:pt x="15529" y="53250"/>
                </a:cubicBezTo>
                <a:cubicBezTo>
                  <a:pt x="15529" y="53250"/>
                  <a:pt x="16941" y="54000"/>
                  <a:pt x="16941" y="54000"/>
                </a:cubicBezTo>
                <a:cubicBezTo>
                  <a:pt x="16941" y="54000"/>
                  <a:pt x="21176" y="55500"/>
                  <a:pt x="21176" y="55500"/>
                </a:cubicBezTo>
                <a:cubicBezTo>
                  <a:pt x="19764" y="56250"/>
                  <a:pt x="19764" y="56250"/>
                  <a:pt x="19764" y="56250"/>
                </a:cubicBezTo>
                <a:cubicBezTo>
                  <a:pt x="19764" y="56250"/>
                  <a:pt x="19764" y="57000"/>
                  <a:pt x="19764" y="57750"/>
                </a:cubicBezTo>
                <a:cubicBezTo>
                  <a:pt x="19764" y="58500"/>
                  <a:pt x="19764" y="60750"/>
                  <a:pt x="19764" y="60750"/>
                </a:cubicBezTo>
                <a:cubicBezTo>
                  <a:pt x="18352" y="61500"/>
                  <a:pt x="18352" y="61500"/>
                  <a:pt x="18352" y="61500"/>
                </a:cubicBezTo>
                <a:cubicBezTo>
                  <a:pt x="18352" y="62250"/>
                  <a:pt x="19764" y="64500"/>
                  <a:pt x="19764" y="64500"/>
                </a:cubicBezTo>
                <a:cubicBezTo>
                  <a:pt x="19764" y="65250"/>
                  <a:pt x="19764" y="65250"/>
                  <a:pt x="19764" y="65250"/>
                </a:cubicBezTo>
                <a:cubicBezTo>
                  <a:pt x="18352" y="66000"/>
                  <a:pt x="18352" y="66000"/>
                  <a:pt x="18352" y="66000"/>
                </a:cubicBezTo>
                <a:cubicBezTo>
                  <a:pt x="24000" y="67500"/>
                  <a:pt x="24000" y="67500"/>
                  <a:pt x="24000" y="67500"/>
                </a:cubicBezTo>
                <a:cubicBezTo>
                  <a:pt x="22588" y="69000"/>
                  <a:pt x="22588" y="69000"/>
                  <a:pt x="22588" y="69000"/>
                </a:cubicBezTo>
                <a:cubicBezTo>
                  <a:pt x="19764" y="69750"/>
                  <a:pt x="19764" y="69750"/>
                  <a:pt x="19764" y="69750"/>
                </a:cubicBezTo>
                <a:cubicBezTo>
                  <a:pt x="19764" y="69750"/>
                  <a:pt x="18352" y="69750"/>
                  <a:pt x="18352" y="69750"/>
                </a:cubicBezTo>
                <a:cubicBezTo>
                  <a:pt x="18352" y="70500"/>
                  <a:pt x="18352" y="71250"/>
                  <a:pt x="18352" y="71250"/>
                </a:cubicBezTo>
                <a:cubicBezTo>
                  <a:pt x="19764" y="72000"/>
                  <a:pt x="19764" y="72000"/>
                  <a:pt x="19764" y="72000"/>
                </a:cubicBezTo>
                <a:cubicBezTo>
                  <a:pt x="18352" y="72750"/>
                  <a:pt x="18352" y="72750"/>
                  <a:pt x="18352" y="72750"/>
                </a:cubicBezTo>
                <a:cubicBezTo>
                  <a:pt x="18352" y="72750"/>
                  <a:pt x="18352" y="72750"/>
                  <a:pt x="18352" y="72750"/>
                </a:cubicBezTo>
                <a:cubicBezTo>
                  <a:pt x="18352" y="72750"/>
                  <a:pt x="18352" y="74250"/>
                  <a:pt x="18352" y="74250"/>
                </a:cubicBezTo>
                <a:cubicBezTo>
                  <a:pt x="18352" y="74250"/>
                  <a:pt x="18352" y="75000"/>
                  <a:pt x="16941" y="75000"/>
                </a:cubicBezTo>
                <a:cubicBezTo>
                  <a:pt x="16941" y="75000"/>
                  <a:pt x="15529" y="75750"/>
                  <a:pt x="15529" y="75750"/>
                </a:cubicBezTo>
                <a:cubicBezTo>
                  <a:pt x="16941" y="77250"/>
                  <a:pt x="16941" y="77250"/>
                  <a:pt x="16941" y="77250"/>
                </a:cubicBezTo>
                <a:cubicBezTo>
                  <a:pt x="15529" y="80250"/>
                  <a:pt x="15529" y="80250"/>
                  <a:pt x="15529" y="80250"/>
                </a:cubicBezTo>
                <a:cubicBezTo>
                  <a:pt x="15529" y="81000"/>
                  <a:pt x="15529" y="81000"/>
                  <a:pt x="15529" y="81000"/>
                </a:cubicBezTo>
                <a:cubicBezTo>
                  <a:pt x="16941" y="83250"/>
                  <a:pt x="16941" y="83250"/>
                  <a:pt x="16941" y="83250"/>
                </a:cubicBezTo>
                <a:cubicBezTo>
                  <a:pt x="19764" y="85500"/>
                  <a:pt x="19764" y="85500"/>
                  <a:pt x="19764" y="85500"/>
                </a:cubicBezTo>
                <a:cubicBezTo>
                  <a:pt x="22588" y="87000"/>
                  <a:pt x="22588" y="87000"/>
                  <a:pt x="22588" y="87000"/>
                </a:cubicBezTo>
                <a:cubicBezTo>
                  <a:pt x="24000" y="88500"/>
                  <a:pt x="24000" y="88500"/>
                  <a:pt x="24000" y="88500"/>
                </a:cubicBezTo>
                <a:cubicBezTo>
                  <a:pt x="26823" y="89250"/>
                  <a:pt x="26823" y="89250"/>
                  <a:pt x="26823" y="89250"/>
                </a:cubicBezTo>
                <a:cubicBezTo>
                  <a:pt x="25411" y="91500"/>
                  <a:pt x="25411" y="91500"/>
                  <a:pt x="25411" y="91500"/>
                </a:cubicBezTo>
                <a:cubicBezTo>
                  <a:pt x="26823" y="92250"/>
                  <a:pt x="26823" y="92250"/>
                  <a:pt x="26823" y="92250"/>
                </a:cubicBezTo>
                <a:cubicBezTo>
                  <a:pt x="26823" y="93750"/>
                  <a:pt x="26823" y="93750"/>
                  <a:pt x="26823" y="93750"/>
                </a:cubicBezTo>
                <a:cubicBezTo>
                  <a:pt x="26823" y="93750"/>
                  <a:pt x="26823" y="93750"/>
                  <a:pt x="25411" y="94500"/>
                </a:cubicBezTo>
                <a:cubicBezTo>
                  <a:pt x="25411" y="94500"/>
                  <a:pt x="25411" y="94500"/>
                  <a:pt x="24000" y="93750"/>
                </a:cubicBezTo>
                <a:cubicBezTo>
                  <a:pt x="22588" y="93750"/>
                  <a:pt x="21176" y="92250"/>
                  <a:pt x="21176" y="92250"/>
                </a:cubicBezTo>
                <a:cubicBezTo>
                  <a:pt x="21176" y="92250"/>
                  <a:pt x="19764" y="90750"/>
                  <a:pt x="19764" y="90750"/>
                </a:cubicBezTo>
                <a:cubicBezTo>
                  <a:pt x="19764" y="90750"/>
                  <a:pt x="18352" y="90000"/>
                  <a:pt x="18352" y="90000"/>
                </a:cubicBezTo>
                <a:cubicBezTo>
                  <a:pt x="15529" y="90000"/>
                  <a:pt x="15529" y="90000"/>
                  <a:pt x="15529" y="90000"/>
                </a:cubicBezTo>
                <a:cubicBezTo>
                  <a:pt x="15529" y="90000"/>
                  <a:pt x="15529" y="90750"/>
                  <a:pt x="15529" y="90750"/>
                </a:cubicBezTo>
                <a:cubicBezTo>
                  <a:pt x="15529" y="91500"/>
                  <a:pt x="15529" y="91500"/>
                  <a:pt x="16941" y="92250"/>
                </a:cubicBezTo>
                <a:cubicBezTo>
                  <a:pt x="18352" y="93000"/>
                  <a:pt x="18352" y="93000"/>
                  <a:pt x="19764" y="93000"/>
                </a:cubicBezTo>
                <a:cubicBezTo>
                  <a:pt x="19764" y="93000"/>
                  <a:pt x="19764" y="93750"/>
                  <a:pt x="21176" y="93750"/>
                </a:cubicBezTo>
                <a:cubicBezTo>
                  <a:pt x="21176" y="94500"/>
                  <a:pt x="21176" y="96000"/>
                  <a:pt x="21176" y="96000"/>
                </a:cubicBezTo>
                <a:cubicBezTo>
                  <a:pt x="24000" y="97500"/>
                  <a:pt x="24000" y="97500"/>
                  <a:pt x="24000" y="97500"/>
                </a:cubicBezTo>
                <a:cubicBezTo>
                  <a:pt x="26823" y="98250"/>
                  <a:pt x="26823" y="98250"/>
                  <a:pt x="26823" y="98250"/>
                </a:cubicBezTo>
                <a:cubicBezTo>
                  <a:pt x="38117" y="101250"/>
                  <a:pt x="38117" y="101250"/>
                  <a:pt x="38117" y="101250"/>
                </a:cubicBezTo>
                <a:cubicBezTo>
                  <a:pt x="42352" y="102000"/>
                  <a:pt x="42352" y="102000"/>
                  <a:pt x="42352" y="102000"/>
                </a:cubicBezTo>
                <a:cubicBezTo>
                  <a:pt x="43764" y="102000"/>
                  <a:pt x="43764" y="102000"/>
                  <a:pt x="43764" y="102000"/>
                </a:cubicBezTo>
                <a:cubicBezTo>
                  <a:pt x="45176" y="103500"/>
                  <a:pt x="45176" y="103500"/>
                  <a:pt x="45176" y="103500"/>
                </a:cubicBezTo>
                <a:cubicBezTo>
                  <a:pt x="46588" y="104250"/>
                  <a:pt x="46588" y="104250"/>
                  <a:pt x="46588" y="104250"/>
                </a:cubicBezTo>
                <a:cubicBezTo>
                  <a:pt x="46588" y="104250"/>
                  <a:pt x="48000" y="104250"/>
                  <a:pt x="49411" y="104250"/>
                </a:cubicBezTo>
                <a:cubicBezTo>
                  <a:pt x="49411" y="104250"/>
                  <a:pt x="52235" y="104250"/>
                  <a:pt x="52235" y="104250"/>
                </a:cubicBezTo>
                <a:cubicBezTo>
                  <a:pt x="52235" y="104250"/>
                  <a:pt x="53647" y="103500"/>
                  <a:pt x="53647" y="104250"/>
                </a:cubicBezTo>
                <a:cubicBezTo>
                  <a:pt x="53647" y="105000"/>
                  <a:pt x="57882" y="108750"/>
                  <a:pt x="57882" y="108750"/>
                </a:cubicBezTo>
                <a:cubicBezTo>
                  <a:pt x="57882" y="108750"/>
                  <a:pt x="57882" y="109500"/>
                  <a:pt x="59294" y="110250"/>
                </a:cubicBezTo>
                <a:cubicBezTo>
                  <a:pt x="60705" y="111000"/>
                  <a:pt x="63529" y="111750"/>
                  <a:pt x="63529" y="111750"/>
                </a:cubicBezTo>
                <a:cubicBezTo>
                  <a:pt x="63529" y="111750"/>
                  <a:pt x="62117" y="112500"/>
                  <a:pt x="62117" y="113250"/>
                </a:cubicBezTo>
                <a:cubicBezTo>
                  <a:pt x="63529" y="114000"/>
                  <a:pt x="62117" y="114000"/>
                  <a:pt x="63529" y="114000"/>
                </a:cubicBezTo>
                <a:cubicBezTo>
                  <a:pt x="63529" y="114750"/>
                  <a:pt x="63529" y="114750"/>
                  <a:pt x="63529" y="114750"/>
                </a:cubicBezTo>
                <a:cubicBezTo>
                  <a:pt x="63529" y="114750"/>
                  <a:pt x="63529" y="114750"/>
                  <a:pt x="63529" y="115500"/>
                </a:cubicBezTo>
                <a:cubicBezTo>
                  <a:pt x="64941" y="115500"/>
                  <a:pt x="64941" y="116250"/>
                  <a:pt x="64941" y="116250"/>
                </a:cubicBezTo>
                <a:cubicBezTo>
                  <a:pt x="64941" y="118500"/>
                  <a:pt x="64941" y="118500"/>
                  <a:pt x="64941" y="118500"/>
                </a:cubicBezTo>
                <a:cubicBezTo>
                  <a:pt x="67764" y="118500"/>
                  <a:pt x="67764" y="118500"/>
                  <a:pt x="67764" y="118500"/>
                </a:cubicBezTo>
                <a:lnTo>
                  <a:pt x="69176" y="118500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" name="Google Shape;3013;p256">
            <a:extLst>
              <a:ext uri="{FF2B5EF4-FFF2-40B4-BE49-F238E27FC236}">
                <a16:creationId xmlns:a16="http://schemas.microsoft.com/office/drawing/2014/main" id="{467CE0D9-B454-0012-BEDB-BDC5269D6DF1}"/>
              </a:ext>
            </a:extLst>
          </p:cNvPr>
          <p:cNvSpPr/>
          <p:nvPr/>
        </p:nvSpPr>
        <p:spPr>
          <a:xfrm>
            <a:off x="10041485" y="5106764"/>
            <a:ext cx="310838" cy="56818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73411" y="120000"/>
                </a:moveTo>
                <a:cubicBezTo>
                  <a:pt x="73411" y="120000"/>
                  <a:pt x="73411" y="120000"/>
                  <a:pt x="73411" y="120000"/>
                </a:cubicBezTo>
                <a:cubicBezTo>
                  <a:pt x="69176" y="118500"/>
                  <a:pt x="69176" y="118500"/>
                  <a:pt x="69176" y="118500"/>
                </a:cubicBezTo>
                <a:cubicBezTo>
                  <a:pt x="67764" y="119250"/>
                  <a:pt x="67764" y="119250"/>
                  <a:pt x="67764" y="119250"/>
                </a:cubicBezTo>
                <a:cubicBezTo>
                  <a:pt x="64941" y="118500"/>
                  <a:pt x="64941" y="118500"/>
                  <a:pt x="64941" y="118500"/>
                </a:cubicBezTo>
                <a:cubicBezTo>
                  <a:pt x="64941" y="116250"/>
                  <a:pt x="64941" y="116250"/>
                  <a:pt x="64941" y="116250"/>
                </a:cubicBezTo>
                <a:cubicBezTo>
                  <a:pt x="64941" y="116250"/>
                  <a:pt x="63529" y="116250"/>
                  <a:pt x="63529" y="115500"/>
                </a:cubicBezTo>
                <a:cubicBezTo>
                  <a:pt x="63529" y="114000"/>
                  <a:pt x="63529" y="114000"/>
                  <a:pt x="63529" y="114000"/>
                </a:cubicBezTo>
                <a:cubicBezTo>
                  <a:pt x="62117" y="114750"/>
                  <a:pt x="62117" y="114750"/>
                  <a:pt x="62117" y="114750"/>
                </a:cubicBezTo>
                <a:cubicBezTo>
                  <a:pt x="62117" y="114000"/>
                  <a:pt x="62117" y="114000"/>
                  <a:pt x="62117" y="114000"/>
                </a:cubicBezTo>
                <a:cubicBezTo>
                  <a:pt x="62117" y="113250"/>
                  <a:pt x="62117" y="113250"/>
                  <a:pt x="62117" y="113250"/>
                </a:cubicBezTo>
                <a:cubicBezTo>
                  <a:pt x="62117" y="112500"/>
                  <a:pt x="62117" y="111750"/>
                  <a:pt x="63529" y="111750"/>
                </a:cubicBezTo>
                <a:cubicBezTo>
                  <a:pt x="62117" y="111750"/>
                  <a:pt x="59294" y="111000"/>
                  <a:pt x="59294" y="110250"/>
                </a:cubicBezTo>
                <a:cubicBezTo>
                  <a:pt x="57882" y="110250"/>
                  <a:pt x="57882" y="108750"/>
                  <a:pt x="57882" y="108750"/>
                </a:cubicBezTo>
                <a:cubicBezTo>
                  <a:pt x="56470" y="108750"/>
                  <a:pt x="53647" y="105750"/>
                  <a:pt x="53647" y="104250"/>
                </a:cubicBezTo>
                <a:cubicBezTo>
                  <a:pt x="50823" y="104250"/>
                  <a:pt x="49411" y="104250"/>
                  <a:pt x="49411" y="104250"/>
                </a:cubicBezTo>
                <a:cubicBezTo>
                  <a:pt x="48000" y="104250"/>
                  <a:pt x="46588" y="104250"/>
                  <a:pt x="46588" y="104250"/>
                </a:cubicBezTo>
                <a:cubicBezTo>
                  <a:pt x="45176" y="103500"/>
                  <a:pt x="45176" y="103500"/>
                  <a:pt x="45176" y="103500"/>
                </a:cubicBezTo>
                <a:cubicBezTo>
                  <a:pt x="43764" y="102750"/>
                  <a:pt x="43764" y="102750"/>
                  <a:pt x="43764" y="102750"/>
                </a:cubicBezTo>
                <a:cubicBezTo>
                  <a:pt x="38117" y="101250"/>
                  <a:pt x="38117" y="101250"/>
                  <a:pt x="38117" y="101250"/>
                </a:cubicBezTo>
                <a:cubicBezTo>
                  <a:pt x="21176" y="96000"/>
                  <a:pt x="21176" y="96000"/>
                  <a:pt x="21176" y="96000"/>
                </a:cubicBezTo>
                <a:cubicBezTo>
                  <a:pt x="21176" y="96000"/>
                  <a:pt x="19764" y="94500"/>
                  <a:pt x="19764" y="93750"/>
                </a:cubicBezTo>
                <a:cubicBezTo>
                  <a:pt x="19764" y="93750"/>
                  <a:pt x="19764" y="93750"/>
                  <a:pt x="19764" y="93000"/>
                </a:cubicBezTo>
                <a:cubicBezTo>
                  <a:pt x="18352" y="93000"/>
                  <a:pt x="16941" y="93000"/>
                  <a:pt x="16941" y="92250"/>
                </a:cubicBezTo>
                <a:cubicBezTo>
                  <a:pt x="15529" y="92250"/>
                  <a:pt x="15529" y="91500"/>
                  <a:pt x="14117" y="90750"/>
                </a:cubicBezTo>
                <a:cubicBezTo>
                  <a:pt x="14117" y="90750"/>
                  <a:pt x="14117" y="90000"/>
                  <a:pt x="14117" y="90000"/>
                </a:cubicBezTo>
                <a:cubicBezTo>
                  <a:pt x="18352" y="90000"/>
                  <a:pt x="18352" y="90000"/>
                  <a:pt x="18352" y="90000"/>
                </a:cubicBezTo>
                <a:cubicBezTo>
                  <a:pt x="18352" y="90000"/>
                  <a:pt x="19764" y="90750"/>
                  <a:pt x="19764" y="90750"/>
                </a:cubicBezTo>
                <a:cubicBezTo>
                  <a:pt x="21176" y="90750"/>
                  <a:pt x="21176" y="92250"/>
                  <a:pt x="21176" y="92250"/>
                </a:cubicBezTo>
                <a:cubicBezTo>
                  <a:pt x="21176" y="92250"/>
                  <a:pt x="22588" y="93750"/>
                  <a:pt x="24000" y="93750"/>
                </a:cubicBezTo>
                <a:cubicBezTo>
                  <a:pt x="24000" y="93750"/>
                  <a:pt x="25411" y="93750"/>
                  <a:pt x="25411" y="93750"/>
                </a:cubicBezTo>
                <a:cubicBezTo>
                  <a:pt x="25411" y="93750"/>
                  <a:pt x="25411" y="93750"/>
                  <a:pt x="25411" y="93750"/>
                </a:cubicBezTo>
                <a:cubicBezTo>
                  <a:pt x="26823" y="92250"/>
                  <a:pt x="26823" y="92250"/>
                  <a:pt x="26823" y="92250"/>
                </a:cubicBezTo>
                <a:cubicBezTo>
                  <a:pt x="25411" y="91500"/>
                  <a:pt x="25411" y="91500"/>
                  <a:pt x="25411" y="91500"/>
                </a:cubicBezTo>
                <a:cubicBezTo>
                  <a:pt x="25411" y="89250"/>
                  <a:pt x="25411" y="89250"/>
                  <a:pt x="25411" y="89250"/>
                </a:cubicBezTo>
                <a:cubicBezTo>
                  <a:pt x="24000" y="88500"/>
                  <a:pt x="24000" y="88500"/>
                  <a:pt x="24000" y="88500"/>
                </a:cubicBezTo>
                <a:cubicBezTo>
                  <a:pt x="22588" y="87000"/>
                  <a:pt x="22588" y="87000"/>
                  <a:pt x="22588" y="87000"/>
                </a:cubicBezTo>
                <a:cubicBezTo>
                  <a:pt x="16941" y="83250"/>
                  <a:pt x="16941" y="83250"/>
                  <a:pt x="16941" y="83250"/>
                </a:cubicBezTo>
                <a:cubicBezTo>
                  <a:pt x="14117" y="81000"/>
                  <a:pt x="14117" y="81000"/>
                  <a:pt x="14117" y="81000"/>
                </a:cubicBezTo>
                <a:cubicBezTo>
                  <a:pt x="16941" y="77250"/>
                  <a:pt x="16941" y="77250"/>
                  <a:pt x="16941" y="77250"/>
                </a:cubicBezTo>
                <a:cubicBezTo>
                  <a:pt x="15529" y="75750"/>
                  <a:pt x="15529" y="75750"/>
                  <a:pt x="15529" y="75750"/>
                </a:cubicBezTo>
                <a:cubicBezTo>
                  <a:pt x="15529" y="75750"/>
                  <a:pt x="16941" y="75000"/>
                  <a:pt x="16941" y="75000"/>
                </a:cubicBezTo>
                <a:cubicBezTo>
                  <a:pt x="16941" y="75000"/>
                  <a:pt x="18352" y="74250"/>
                  <a:pt x="18352" y="74250"/>
                </a:cubicBezTo>
                <a:cubicBezTo>
                  <a:pt x="18352" y="74250"/>
                  <a:pt x="18352" y="73500"/>
                  <a:pt x="18352" y="73500"/>
                </a:cubicBezTo>
                <a:cubicBezTo>
                  <a:pt x="18352" y="72750"/>
                  <a:pt x="18352" y="72750"/>
                  <a:pt x="18352" y="72750"/>
                </a:cubicBezTo>
                <a:cubicBezTo>
                  <a:pt x="19764" y="71250"/>
                  <a:pt x="19764" y="71250"/>
                  <a:pt x="19764" y="71250"/>
                </a:cubicBezTo>
                <a:cubicBezTo>
                  <a:pt x="16941" y="71250"/>
                  <a:pt x="16941" y="71250"/>
                  <a:pt x="16941" y="71250"/>
                </a:cubicBezTo>
                <a:cubicBezTo>
                  <a:pt x="16941" y="70500"/>
                  <a:pt x="18352" y="69750"/>
                  <a:pt x="18352" y="69750"/>
                </a:cubicBezTo>
                <a:cubicBezTo>
                  <a:pt x="18352" y="69750"/>
                  <a:pt x="18352" y="69750"/>
                  <a:pt x="19764" y="69750"/>
                </a:cubicBezTo>
                <a:cubicBezTo>
                  <a:pt x="22588" y="68250"/>
                  <a:pt x="22588" y="68250"/>
                  <a:pt x="22588" y="68250"/>
                </a:cubicBezTo>
                <a:cubicBezTo>
                  <a:pt x="22588" y="67500"/>
                  <a:pt x="22588" y="67500"/>
                  <a:pt x="22588" y="67500"/>
                </a:cubicBezTo>
                <a:cubicBezTo>
                  <a:pt x="18352" y="66750"/>
                  <a:pt x="18352" y="66750"/>
                  <a:pt x="18352" y="66750"/>
                </a:cubicBezTo>
                <a:cubicBezTo>
                  <a:pt x="19764" y="64500"/>
                  <a:pt x="19764" y="64500"/>
                  <a:pt x="19764" y="64500"/>
                </a:cubicBezTo>
                <a:cubicBezTo>
                  <a:pt x="18352" y="63750"/>
                  <a:pt x="16941" y="62250"/>
                  <a:pt x="16941" y="62250"/>
                </a:cubicBezTo>
                <a:cubicBezTo>
                  <a:pt x="18352" y="60750"/>
                  <a:pt x="18352" y="60750"/>
                  <a:pt x="18352" y="60750"/>
                </a:cubicBezTo>
                <a:cubicBezTo>
                  <a:pt x="18352" y="60750"/>
                  <a:pt x="19764" y="58500"/>
                  <a:pt x="19764" y="57750"/>
                </a:cubicBezTo>
                <a:cubicBezTo>
                  <a:pt x="19764" y="57000"/>
                  <a:pt x="19764" y="56250"/>
                  <a:pt x="19764" y="56250"/>
                </a:cubicBezTo>
                <a:cubicBezTo>
                  <a:pt x="19764" y="55500"/>
                  <a:pt x="19764" y="55500"/>
                  <a:pt x="19764" y="55500"/>
                </a:cubicBezTo>
                <a:cubicBezTo>
                  <a:pt x="18352" y="54750"/>
                  <a:pt x="16941" y="54000"/>
                  <a:pt x="16941" y="54000"/>
                </a:cubicBezTo>
                <a:cubicBezTo>
                  <a:pt x="16941" y="54000"/>
                  <a:pt x="15529" y="54000"/>
                  <a:pt x="15529" y="53250"/>
                </a:cubicBezTo>
                <a:cubicBezTo>
                  <a:pt x="14117" y="53250"/>
                  <a:pt x="14117" y="53250"/>
                  <a:pt x="14117" y="53250"/>
                </a:cubicBezTo>
                <a:cubicBezTo>
                  <a:pt x="11294" y="51750"/>
                  <a:pt x="11294" y="51750"/>
                  <a:pt x="11294" y="51750"/>
                </a:cubicBezTo>
                <a:cubicBezTo>
                  <a:pt x="15529" y="50250"/>
                  <a:pt x="15529" y="50250"/>
                  <a:pt x="15529" y="50250"/>
                </a:cubicBezTo>
                <a:cubicBezTo>
                  <a:pt x="15529" y="49500"/>
                  <a:pt x="15529" y="49500"/>
                  <a:pt x="15529" y="49500"/>
                </a:cubicBezTo>
                <a:cubicBezTo>
                  <a:pt x="16941" y="48750"/>
                  <a:pt x="18352" y="48750"/>
                  <a:pt x="18352" y="48750"/>
                </a:cubicBezTo>
                <a:cubicBezTo>
                  <a:pt x="18352" y="48750"/>
                  <a:pt x="19764" y="48000"/>
                  <a:pt x="19764" y="48000"/>
                </a:cubicBezTo>
                <a:cubicBezTo>
                  <a:pt x="19764" y="47250"/>
                  <a:pt x="19764" y="46500"/>
                  <a:pt x="19764" y="45750"/>
                </a:cubicBezTo>
                <a:cubicBezTo>
                  <a:pt x="15529" y="45000"/>
                  <a:pt x="15529" y="45000"/>
                  <a:pt x="15529" y="45000"/>
                </a:cubicBezTo>
                <a:cubicBezTo>
                  <a:pt x="15529" y="44250"/>
                  <a:pt x="15529" y="44250"/>
                  <a:pt x="15529" y="44250"/>
                </a:cubicBezTo>
                <a:cubicBezTo>
                  <a:pt x="15529" y="44250"/>
                  <a:pt x="16941" y="44250"/>
                  <a:pt x="18352" y="43500"/>
                </a:cubicBezTo>
                <a:cubicBezTo>
                  <a:pt x="19764" y="43500"/>
                  <a:pt x="21176" y="42750"/>
                  <a:pt x="21176" y="42750"/>
                </a:cubicBezTo>
                <a:cubicBezTo>
                  <a:pt x="22588" y="42750"/>
                  <a:pt x="22588" y="42000"/>
                  <a:pt x="22588" y="41250"/>
                </a:cubicBezTo>
                <a:cubicBezTo>
                  <a:pt x="19764" y="40500"/>
                  <a:pt x="19764" y="40500"/>
                  <a:pt x="19764" y="40500"/>
                </a:cubicBezTo>
                <a:cubicBezTo>
                  <a:pt x="21176" y="39000"/>
                  <a:pt x="21176" y="39000"/>
                  <a:pt x="21176" y="39000"/>
                </a:cubicBezTo>
                <a:cubicBezTo>
                  <a:pt x="19764" y="36750"/>
                  <a:pt x="19764" y="36750"/>
                  <a:pt x="19764" y="36750"/>
                </a:cubicBezTo>
                <a:cubicBezTo>
                  <a:pt x="21176" y="35250"/>
                  <a:pt x="21176" y="35250"/>
                  <a:pt x="21176" y="35250"/>
                </a:cubicBezTo>
                <a:cubicBezTo>
                  <a:pt x="19764" y="34500"/>
                  <a:pt x="19764" y="34500"/>
                  <a:pt x="19764" y="34500"/>
                </a:cubicBezTo>
                <a:cubicBezTo>
                  <a:pt x="14117" y="33000"/>
                  <a:pt x="14117" y="33000"/>
                  <a:pt x="14117" y="33000"/>
                </a:cubicBezTo>
                <a:cubicBezTo>
                  <a:pt x="12705" y="33000"/>
                  <a:pt x="12705" y="33000"/>
                  <a:pt x="12705" y="33000"/>
                </a:cubicBezTo>
                <a:cubicBezTo>
                  <a:pt x="11294" y="33000"/>
                  <a:pt x="9882" y="33750"/>
                  <a:pt x="9882" y="33750"/>
                </a:cubicBezTo>
                <a:cubicBezTo>
                  <a:pt x="5647" y="33000"/>
                  <a:pt x="5647" y="32250"/>
                  <a:pt x="5647" y="32250"/>
                </a:cubicBezTo>
                <a:cubicBezTo>
                  <a:pt x="7058" y="32250"/>
                  <a:pt x="7058" y="31500"/>
                  <a:pt x="7058" y="31500"/>
                </a:cubicBezTo>
                <a:cubicBezTo>
                  <a:pt x="5647" y="30750"/>
                  <a:pt x="5647" y="30750"/>
                  <a:pt x="5647" y="30750"/>
                </a:cubicBezTo>
                <a:cubicBezTo>
                  <a:pt x="5647" y="29250"/>
                  <a:pt x="5647" y="29250"/>
                  <a:pt x="5647" y="29250"/>
                </a:cubicBezTo>
                <a:cubicBezTo>
                  <a:pt x="5647" y="29250"/>
                  <a:pt x="7058" y="27750"/>
                  <a:pt x="7058" y="27750"/>
                </a:cubicBezTo>
                <a:cubicBezTo>
                  <a:pt x="5647" y="27000"/>
                  <a:pt x="5647" y="26250"/>
                  <a:pt x="5647" y="26250"/>
                </a:cubicBezTo>
                <a:cubicBezTo>
                  <a:pt x="7058" y="24750"/>
                  <a:pt x="7058" y="24750"/>
                  <a:pt x="7058" y="24750"/>
                </a:cubicBezTo>
                <a:cubicBezTo>
                  <a:pt x="7058" y="24000"/>
                  <a:pt x="7058" y="24000"/>
                  <a:pt x="7058" y="24000"/>
                </a:cubicBezTo>
                <a:cubicBezTo>
                  <a:pt x="7058" y="23250"/>
                  <a:pt x="7058" y="22500"/>
                  <a:pt x="7058" y="22500"/>
                </a:cubicBezTo>
                <a:cubicBezTo>
                  <a:pt x="1411" y="21000"/>
                  <a:pt x="1411" y="21000"/>
                  <a:pt x="1411" y="21000"/>
                </a:cubicBezTo>
                <a:cubicBezTo>
                  <a:pt x="0" y="20250"/>
                  <a:pt x="0" y="20250"/>
                  <a:pt x="0" y="20250"/>
                </a:cubicBezTo>
                <a:cubicBezTo>
                  <a:pt x="0" y="18750"/>
                  <a:pt x="0" y="18750"/>
                  <a:pt x="0" y="18750"/>
                </a:cubicBezTo>
                <a:cubicBezTo>
                  <a:pt x="2823" y="17250"/>
                  <a:pt x="2823" y="17250"/>
                  <a:pt x="2823" y="17250"/>
                </a:cubicBezTo>
                <a:cubicBezTo>
                  <a:pt x="4235" y="15750"/>
                  <a:pt x="4235" y="15750"/>
                  <a:pt x="4235" y="15750"/>
                </a:cubicBezTo>
                <a:cubicBezTo>
                  <a:pt x="4235" y="15000"/>
                  <a:pt x="4235" y="15000"/>
                  <a:pt x="4235" y="14250"/>
                </a:cubicBezTo>
                <a:cubicBezTo>
                  <a:pt x="4235" y="14250"/>
                  <a:pt x="5647" y="13500"/>
                  <a:pt x="5647" y="13500"/>
                </a:cubicBezTo>
                <a:cubicBezTo>
                  <a:pt x="5647" y="12000"/>
                  <a:pt x="5647" y="12000"/>
                  <a:pt x="5647" y="12000"/>
                </a:cubicBezTo>
                <a:cubicBezTo>
                  <a:pt x="5647" y="11250"/>
                  <a:pt x="5647" y="11250"/>
                  <a:pt x="5647" y="11250"/>
                </a:cubicBezTo>
                <a:cubicBezTo>
                  <a:pt x="7058" y="10500"/>
                  <a:pt x="7058" y="10500"/>
                  <a:pt x="7058" y="10500"/>
                </a:cubicBezTo>
                <a:cubicBezTo>
                  <a:pt x="7058" y="10500"/>
                  <a:pt x="8470" y="9750"/>
                  <a:pt x="9882" y="9750"/>
                </a:cubicBezTo>
                <a:cubicBezTo>
                  <a:pt x="9882" y="9000"/>
                  <a:pt x="9882" y="8250"/>
                  <a:pt x="9882" y="8250"/>
                </a:cubicBezTo>
                <a:cubicBezTo>
                  <a:pt x="15529" y="3750"/>
                  <a:pt x="15529" y="3750"/>
                  <a:pt x="15529" y="3750"/>
                </a:cubicBezTo>
                <a:cubicBezTo>
                  <a:pt x="14117" y="3000"/>
                  <a:pt x="14117" y="3000"/>
                  <a:pt x="14117" y="3000"/>
                </a:cubicBezTo>
                <a:cubicBezTo>
                  <a:pt x="18352" y="0"/>
                  <a:pt x="19764" y="0"/>
                  <a:pt x="19764" y="0"/>
                </a:cubicBezTo>
                <a:cubicBezTo>
                  <a:pt x="21176" y="0"/>
                  <a:pt x="22588" y="0"/>
                  <a:pt x="22588" y="0"/>
                </a:cubicBezTo>
                <a:cubicBezTo>
                  <a:pt x="24000" y="750"/>
                  <a:pt x="24000" y="750"/>
                  <a:pt x="24000" y="750"/>
                </a:cubicBezTo>
                <a:cubicBezTo>
                  <a:pt x="25411" y="1500"/>
                  <a:pt x="25411" y="1500"/>
                  <a:pt x="25411" y="1500"/>
                </a:cubicBezTo>
                <a:cubicBezTo>
                  <a:pt x="25411" y="2250"/>
                  <a:pt x="25411" y="2250"/>
                  <a:pt x="25411" y="2250"/>
                </a:cubicBezTo>
                <a:cubicBezTo>
                  <a:pt x="25411" y="3000"/>
                  <a:pt x="24000" y="3000"/>
                  <a:pt x="24000" y="3750"/>
                </a:cubicBezTo>
                <a:cubicBezTo>
                  <a:pt x="25411" y="3750"/>
                  <a:pt x="24000" y="4500"/>
                  <a:pt x="24000" y="4500"/>
                </a:cubicBezTo>
                <a:cubicBezTo>
                  <a:pt x="25411" y="4500"/>
                  <a:pt x="25411" y="5250"/>
                  <a:pt x="25411" y="5250"/>
                </a:cubicBezTo>
                <a:cubicBezTo>
                  <a:pt x="26823" y="6000"/>
                  <a:pt x="26823" y="6000"/>
                  <a:pt x="26823" y="6000"/>
                </a:cubicBezTo>
                <a:cubicBezTo>
                  <a:pt x="26823" y="6750"/>
                  <a:pt x="28235" y="6750"/>
                  <a:pt x="28235" y="6750"/>
                </a:cubicBezTo>
                <a:cubicBezTo>
                  <a:pt x="31058" y="6000"/>
                  <a:pt x="31058" y="6000"/>
                  <a:pt x="31058" y="6000"/>
                </a:cubicBezTo>
                <a:cubicBezTo>
                  <a:pt x="33882" y="5250"/>
                  <a:pt x="33882" y="5250"/>
                  <a:pt x="33882" y="5250"/>
                </a:cubicBezTo>
                <a:cubicBezTo>
                  <a:pt x="33882" y="5250"/>
                  <a:pt x="36705" y="4500"/>
                  <a:pt x="38117" y="4500"/>
                </a:cubicBezTo>
                <a:cubicBezTo>
                  <a:pt x="38117" y="4500"/>
                  <a:pt x="38117" y="3750"/>
                  <a:pt x="39529" y="3000"/>
                </a:cubicBezTo>
                <a:cubicBezTo>
                  <a:pt x="40941" y="3000"/>
                  <a:pt x="40941" y="3000"/>
                  <a:pt x="40941" y="3000"/>
                </a:cubicBezTo>
                <a:cubicBezTo>
                  <a:pt x="43764" y="3000"/>
                  <a:pt x="43764" y="3000"/>
                  <a:pt x="43764" y="3000"/>
                </a:cubicBezTo>
                <a:cubicBezTo>
                  <a:pt x="45176" y="4500"/>
                  <a:pt x="45176" y="4500"/>
                  <a:pt x="45176" y="4500"/>
                </a:cubicBezTo>
                <a:cubicBezTo>
                  <a:pt x="48000" y="5250"/>
                  <a:pt x="48000" y="5250"/>
                  <a:pt x="48000" y="5250"/>
                </a:cubicBezTo>
                <a:cubicBezTo>
                  <a:pt x="50823" y="6750"/>
                  <a:pt x="50823" y="6750"/>
                  <a:pt x="50823" y="6750"/>
                </a:cubicBezTo>
                <a:cubicBezTo>
                  <a:pt x="52235" y="9000"/>
                  <a:pt x="52235" y="9000"/>
                  <a:pt x="52235" y="9000"/>
                </a:cubicBezTo>
                <a:cubicBezTo>
                  <a:pt x="55058" y="11250"/>
                  <a:pt x="55058" y="11250"/>
                  <a:pt x="55058" y="11250"/>
                </a:cubicBezTo>
                <a:cubicBezTo>
                  <a:pt x="56470" y="10500"/>
                  <a:pt x="56470" y="10500"/>
                  <a:pt x="56470" y="10500"/>
                </a:cubicBezTo>
                <a:cubicBezTo>
                  <a:pt x="59294" y="12000"/>
                  <a:pt x="59294" y="12000"/>
                  <a:pt x="59294" y="12000"/>
                </a:cubicBezTo>
                <a:cubicBezTo>
                  <a:pt x="62117" y="12750"/>
                  <a:pt x="62117" y="12750"/>
                  <a:pt x="62117" y="12750"/>
                </a:cubicBezTo>
                <a:cubicBezTo>
                  <a:pt x="62117" y="12750"/>
                  <a:pt x="64941" y="12750"/>
                  <a:pt x="67764" y="13500"/>
                </a:cubicBezTo>
                <a:cubicBezTo>
                  <a:pt x="69176" y="13500"/>
                  <a:pt x="69176" y="14250"/>
                  <a:pt x="69176" y="14250"/>
                </a:cubicBezTo>
                <a:cubicBezTo>
                  <a:pt x="70588" y="15750"/>
                  <a:pt x="73411" y="17250"/>
                  <a:pt x="73411" y="17250"/>
                </a:cubicBezTo>
                <a:cubicBezTo>
                  <a:pt x="74823" y="19500"/>
                  <a:pt x="74823" y="19500"/>
                  <a:pt x="74823" y="19500"/>
                </a:cubicBezTo>
                <a:cubicBezTo>
                  <a:pt x="74823" y="19500"/>
                  <a:pt x="76235" y="21000"/>
                  <a:pt x="76235" y="21750"/>
                </a:cubicBezTo>
                <a:cubicBezTo>
                  <a:pt x="76235" y="21750"/>
                  <a:pt x="76235" y="22500"/>
                  <a:pt x="76235" y="22500"/>
                </a:cubicBezTo>
                <a:cubicBezTo>
                  <a:pt x="80470" y="24750"/>
                  <a:pt x="80470" y="24750"/>
                  <a:pt x="80470" y="24750"/>
                </a:cubicBezTo>
                <a:cubicBezTo>
                  <a:pt x="79058" y="27000"/>
                  <a:pt x="79058" y="27000"/>
                  <a:pt x="79058" y="27000"/>
                </a:cubicBezTo>
                <a:cubicBezTo>
                  <a:pt x="77647" y="28500"/>
                  <a:pt x="77647" y="28500"/>
                  <a:pt x="77647" y="28500"/>
                </a:cubicBezTo>
                <a:cubicBezTo>
                  <a:pt x="77647" y="28500"/>
                  <a:pt x="77647" y="30000"/>
                  <a:pt x="77647" y="30000"/>
                </a:cubicBezTo>
                <a:cubicBezTo>
                  <a:pt x="77647" y="30000"/>
                  <a:pt x="77647" y="31500"/>
                  <a:pt x="77647" y="31500"/>
                </a:cubicBezTo>
                <a:cubicBezTo>
                  <a:pt x="76235" y="32250"/>
                  <a:pt x="76235" y="32250"/>
                  <a:pt x="76235" y="32250"/>
                </a:cubicBezTo>
                <a:cubicBezTo>
                  <a:pt x="77647" y="36000"/>
                  <a:pt x="77647" y="36000"/>
                  <a:pt x="77647" y="36000"/>
                </a:cubicBezTo>
                <a:cubicBezTo>
                  <a:pt x="76235" y="38250"/>
                  <a:pt x="76235" y="38250"/>
                  <a:pt x="76235" y="38250"/>
                </a:cubicBezTo>
                <a:cubicBezTo>
                  <a:pt x="77647" y="38250"/>
                  <a:pt x="79058" y="39000"/>
                  <a:pt x="79058" y="39750"/>
                </a:cubicBezTo>
                <a:cubicBezTo>
                  <a:pt x="80470" y="39750"/>
                  <a:pt x="79058" y="40500"/>
                  <a:pt x="79058" y="40500"/>
                </a:cubicBezTo>
                <a:cubicBezTo>
                  <a:pt x="77647" y="41250"/>
                  <a:pt x="77647" y="41250"/>
                  <a:pt x="76235" y="42000"/>
                </a:cubicBezTo>
                <a:cubicBezTo>
                  <a:pt x="74823" y="42000"/>
                  <a:pt x="74823" y="42000"/>
                  <a:pt x="74823" y="42000"/>
                </a:cubicBezTo>
                <a:cubicBezTo>
                  <a:pt x="74823" y="42750"/>
                  <a:pt x="73411" y="42750"/>
                  <a:pt x="73411" y="42750"/>
                </a:cubicBezTo>
                <a:cubicBezTo>
                  <a:pt x="73411" y="42750"/>
                  <a:pt x="73411" y="43500"/>
                  <a:pt x="73411" y="44250"/>
                </a:cubicBezTo>
                <a:cubicBezTo>
                  <a:pt x="74823" y="45000"/>
                  <a:pt x="77647" y="45750"/>
                  <a:pt x="77647" y="45750"/>
                </a:cubicBezTo>
                <a:cubicBezTo>
                  <a:pt x="77647" y="45750"/>
                  <a:pt x="80470" y="47250"/>
                  <a:pt x="80470" y="48000"/>
                </a:cubicBezTo>
                <a:cubicBezTo>
                  <a:pt x="81882" y="48000"/>
                  <a:pt x="80470" y="48750"/>
                  <a:pt x="80470" y="49500"/>
                </a:cubicBezTo>
                <a:cubicBezTo>
                  <a:pt x="80470" y="49500"/>
                  <a:pt x="80470" y="50250"/>
                  <a:pt x="77647" y="51000"/>
                </a:cubicBezTo>
                <a:cubicBezTo>
                  <a:pt x="79058" y="51750"/>
                  <a:pt x="79058" y="51750"/>
                  <a:pt x="79058" y="51750"/>
                </a:cubicBezTo>
                <a:cubicBezTo>
                  <a:pt x="80470" y="54000"/>
                  <a:pt x="80470" y="54000"/>
                  <a:pt x="80470" y="54000"/>
                </a:cubicBezTo>
                <a:cubicBezTo>
                  <a:pt x="80470" y="54000"/>
                  <a:pt x="80470" y="54750"/>
                  <a:pt x="80470" y="54750"/>
                </a:cubicBezTo>
                <a:cubicBezTo>
                  <a:pt x="81882" y="55500"/>
                  <a:pt x="83294" y="57000"/>
                  <a:pt x="84705" y="57000"/>
                </a:cubicBezTo>
                <a:cubicBezTo>
                  <a:pt x="84705" y="57000"/>
                  <a:pt x="86117" y="58500"/>
                  <a:pt x="86117" y="59250"/>
                </a:cubicBezTo>
                <a:cubicBezTo>
                  <a:pt x="86117" y="59250"/>
                  <a:pt x="86117" y="60000"/>
                  <a:pt x="86117" y="60000"/>
                </a:cubicBezTo>
                <a:cubicBezTo>
                  <a:pt x="86117" y="60000"/>
                  <a:pt x="87529" y="60000"/>
                  <a:pt x="87529" y="60000"/>
                </a:cubicBezTo>
                <a:cubicBezTo>
                  <a:pt x="88941" y="60750"/>
                  <a:pt x="91764" y="60750"/>
                  <a:pt x="91764" y="60750"/>
                </a:cubicBezTo>
                <a:cubicBezTo>
                  <a:pt x="91764" y="60750"/>
                  <a:pt x="93176" y="61500"/>
                  <a:pt x="93176" y="62250"/>
                </a:cubicBezTo>
                <a:cubicBezTo>
                  <a:pt x="94588" y="63000"/>
                  <a:pt x="96000" y="64500"/>
                  <a:pt x="96000" y="65250"/>
                </a:cubicBezTo>
                <a:cubicBezTo>
                  <a:pt x="96000" y="65250"/>
                  <a:pt x="96000" y="66000"/>
                  <a:pt x="96000" y="66000"/>
                </a:cubicBezTo>
                <a:cubicBezTo>
                  <a:pt x="96000" y="66750"/>
                  <a:pt x="96000" y="66750"/>
                  <a:pt x="96000" y="66750"/>
                </a:cubicBezTo>
                <a:cubicBezTo>
                  <a:pt x="96000" y="67500"/>
                  <a:pt x="97411" y="66750"/>
                  <a:pt x="97411" y="66750"/>
                </a:cubicBezTo>
                <a:cubicBezTo>
                  <a:pt x="97411" y="66750"/>
                  <a:pt x="98823" y="66000"/>
                  <a:pt x="98823" y="66000"/>
                </a:cubicBezTo>
                <a:cubicBezTo>
                  <a:pt x="100235" y="66000"/>
                  <a:pt x="101647" y="66000"/>
                  <a:pt x="103058" y="66000"/>
                </a:cubicBezTo>
                <a:cubicBezTo>
                  <a:pt x="104470" y="66000"/>
                  <a:pt x="104470" y="66000"/>
                  <a:pt x="104470" y="66000"/>
                </a:cubicBezTo>
                <a:cubicBezTo>
                  <a:pt x="107294" y="66000"/>
                  <a:pt x="107294" y="66000"/>
                  <a:pt x="108705" y="66000"/>
                </a:cubicBezTo>
                <a:cubicBezTo>
                  <a:pt x="111529" y="66750"/>
                  <a:pt x="111529" y="66750"/>
                  <a:pt x="111529" y="66750"/>
                </a:cubicBezTo>
                <a:cubicBezTo>
                  <a:pt x="112941" y="68250"/>
                  <a:pt x="112941" y="68250"/>
                  <a:pt x="112941" y="68250"/>
                </a:cubicBezTo>
                <a:cubicBezTo>
                  <a:pt x="112941" y="68250"/>
                  <a:pt x="114352" y="68250"/>
                  <a:pt x="114352" y="68250"/>
                </a:cubicBezTo>
                <a:cubicBezTo>
                  <a:pt x="115764" y="69750"/>
                  <a:pt x="115764" y="69750"/>
                  <a:pt x="115764" y="69750"/>
                </a:cubicBezTo>
                <a:cubicBezTo>
                  <a:pt x="118588" y="72000"/>
                  <a:pt x="118588" y="72000"/>
                  <a:pt x="118588" y="72000"/>
                </a:cubicBezTo>
                <a:cubicBezTo>
                  <a:pt x="120000" y="78000"/>
                  <a:pt x="120000" y="78000"/>
                  <a:pt x="120000" y="78000"/>
                </a:cubicBezTo>
                <a:cubicBezTo>
                  <a:pt x="117176" y="78000"/>
                  <a:pt x="114352" y="79500"/>
                  <a:pt x="112941" y="80250"/>
                </a:cubicBezTo>
                <a:cubicBezTo>
                  <a:pt x="108705" y="86250"/>
                  <a:pt x="108705" y="86250"/>
                  <a:pt x="108705" y="86250"/>
                </a:cubicBezTo>
                <a:cubicBezTo>
                  <a:pt x="105882" y="93000"/>
                  <a:pt x="105882" y="93000"/>
                  <a:pt x="105882" y="93000"/>
                </a:cubicBezTo>
                <a:cubicBezTo>
                  <a:pt x="98823" y="99000"/>
                  <a:pt x="98823" y="99000"/>
                  <a:pt x="98823" y="99000"/>
                </a:cubicBezTo>
                <a:cubicBezTo>
                  <a:pt x="88941" y="102000"/>
                  <a:pt x="88941" y="102000"/>
                  <a:pt x="88941" y="102000"/>
                </a:cubicBezTo>
                <a:cubicBezTo>
                  <a:pt x="87529" y="102000"/>
                  <a:pt x="87529" y="102000"/>
                  <a:pt x="87529" y="102000"/>
                </a:cubicBezTo>
                <a:cubicBezTo>
                  <a:pt x="87529" y="102000"/>
                  <a:pt x="86117" y="102750"/>
                  <a:pt x="86117" y="102750"/>
                </a:cubicBezTo>
                <a:cubicBezTo>
                  <a:pt x="84705" y="105000"/>
                  <a:pt x="84705" y="105000"/>
                  <a:pt x="84705" y="105000"/>
                </a:cubicBezTo>
                <a:cubicBezTo>
                  <a:pt x="83294" y="105750"/>
                  <a:pt x="83294" y="105750"/>
                  <a:pt x="83294" y="105750"/>
                </a:cubicBezTo>
                <a:cubicBezTo>
                  <a:pt x="81882" y="105750"/>
                  <a:pt x="81882" y="105750"/>
                  <a:pt x="81882" y="105750"/>
                </a:cubicBezTo>
                <a:cubicBezTo>
                  <a:pt x="81882" y="106500"/>
                  <a:pt x="81882" y="106500"/>
                  <a:pt x="81882" y="106500"/>
                </a:cubicBezTo>
                <a:cubicBezTo>
                  <a:pt x="81882" y="107250"/>
                  <a:pt x="81882" y="107250"/>
                  <a:pt x="81882" y="108000"/>
                </a:cubicBezTo>
                <a:cubicBezTo>
                  <a:pt x="81882" y="108000"/>
                  <a:pt x="81882" y="108000"/>
                  <a:pt x="81882" y="108750"/>
                </a:cubicBezTo>
                <a:cubicBezTo>
                  <a:pt x="81882" y="108750"/>
                  <a:pt x="83294" y="108750"/>
                  <a:pt x="83294" y="109500"/>
                </a:cubicBezTo>
                <a:cubicBezTo>
                  <a:pt x="83294" y="109500"/>
                  <a:pt x="84705" y="110250"/>
                  <a:pt x="86117" y="110250"/>
                </a:cubicBezTo>
                <a:cubicBezTo>
                  <a:pt x="87529" y="111000"/>
                  <a:pt x="88941" y="111000"/>
                  <a:pt x="88941" y="111000"/>
                </a:cubicBezTo>
                <a:cubicBezTo>
                  <a:pt x="90352" y="112500"/>
                  <a:pt x="90352" y="112500"/>
                  <a:pt x="90352" y="112500"/>
                </a:cubicBezTo>
                <a:cubicBezTo>
                  <a:pt x="88941" y="113250"/>
                  <a:pt x="87529" y="113250"/>
                  <a:pt x="86117" y="113250"/>
                </a:cubicBezTo>
                <a:cubicBezTo>
                  <a:pt x="86117" y="113250"/>
                  <a:pt x="84705" y="113250"/>
                  <a:pt x="84705" y="113250"/>
                </a:cubicBezTo>
                <a:cubicBezTo>
                  <a:pt x="83294" y="113250"/>
                  <a:pt x="83294" y="113250"/>
                  <a:pt x="81882" y="113250"/>
                </a:cubicBezTo>
                <a:cubicBezTo>
                  <a:pt x="81882" y="113250"/>
                  <a:pt x="81882" y="114000"/>
                  <a:pt x="81882" y="114750"/>
                </a:cubicBezTo>
                <a:cubicBezTo>
                  <a:pt x="83294" y="115500"/>
                  <a:pt x="83294" y="115500"/>
                  <a:pt x="83294" y="115500"/>
                </a:cubicBezTo>
                <a:cubicBezTo>
                  <a:pt x="83294" y="115500"/>
                  <a:pt x="83294" y="117000"/>
                  <a:pt x="83294" y="117000"/>
                </a:cubicBezTo>
                <a:cubicBezTo>
                  <a:pt x="83294" y="117000"/>
                  <a:pt x="83294" y="117750"/>
                  <a:pt x="80470" y="118500"/>
                </a:cubicBezTo>
                <a:cubicBezTo>
                  <a:pt x="79058" y="120000"/>
                  <a:pt x="79058" y="120000"/>
                  <a:pt x="79058" y="120000"/>
                </a:cubicBezTo>
                <a:cubicBezTo>
                  <a:pt x="73411" y="120000"/>
                  <a:pt x="73411" y="120000"/>
                  <a:pt x="73411" y="120000"/>
                </a:cubicBezTo>
                <a:cubicBezTo>
                  <a:pt x="73411" y="120000"/>
                  <a:pt x="73411" y="120000"/>
                  <a:pt x="73411" y="120000"/>
                </a:cubicBezTo>
                <a:close/>
                <a:moveTo>
                  <a:pt x="69176" y="118500"/>
                </a:moveTo>
                <a:cubicBezTo>
                  <a:pt x="69176" y="118500"/>
                  <a:pt x="69176" y="118500"/>
                  <a:pt x="69176" y="118500"/>
                </a:cubicBezTo>
                <a:cubicBezTo>
                  <a:pt x="73411" y="119250"/>
                  <a:pt x="73411" y="119250"/>
                  <a:pt x="73411" y="119250"/>
                </a:cubicBezTo>
                <a:cubicBezTo>
                  <a:pt x="77647" y="119250"/>
                  <a:pt x="77647" y="119250"/>
                  <a:pt x="77647" y="119250"/>
                </a:cubicBezTo>
                <a:cubicBezTo>
                  <a:pt x="80470" y="118500"/>
                  <a:pt x="80470" y="118500"/>
                  <a:pt x="80470" y="118500"/>
                </a:cubicBezTo>
                <a:cubicBezTo>
                  <a:pt x="81882" y="117750"/>
                  <a:pt x="83294" y="117000"/>
                  <a:pt x="83294" y="117000"/>
                </a:cubicBezTo>
                <a:cubicBezTo>
                  <a:pt x="83294" y="117000"/>
                  <a:pt x="81882" y="115500"/>
                  <a:pt x="81882" y="115500"/>
                </a:cubicBezTo>
                <a:cubicBezTo>
                  <a:pt x="81882" y="114750"/>
                  <a:pt x="81882" y="114750"/>
                  <a:pt x="81882" y="114750"/>
                </a:cubicBezTo>
                <a:cubicBezTo>
                  <a:pt x="81882" y="114750"/>
                  <a:pt x="80470" y="114000"/>
                  <a:pt x="80470" y="113250"/>
                </a:cubicBezTo>
                <a:cubicBezTo>
                  <a:pt x="80470" y="113250"/>
                  <a:pt x="81882" y="112500"/>
                  <a:pt x="81882" y="112500"/>
                </a:cubicBezTo>
                <a:cubicBezTo>
                  <a:pt x="83294" y="112500"/>
                  <a:pt x="83294" y="112500"/>
                  <a:pt x="83294" y="112500"/>
                </a:cubicBezTo>
                <a:cubicBezTo>
                  <a:pt x="83294" y="112500"/>
                  <a:pt x="84705" y="112500"/>
                  <a:pt x="84705" y="112500"/>
                </a:cubicBezTo>
                <a:cubicBezTo>
                  <a:pt x="86117" y="113250"/>
                  <a:pt x="86117" y="113250"/>
                  <a:pt x="86117" y="113250"/>
                </a:cubicBezTo>
                <a:cubicBezTo>
                  <a:pt x="86117" y="113250"/>
                  <a:pt x="86117" y="113250"/>
                  <a:pt x="86117" y="113250"/>
                </a:cubicBezTo>
                <a:cubicBezTo>
                  <a:pt x="87529" y="113250"/>
                  <a:pt x="88941" y="112500"/>
                  <a:pt x="88941" y="111750"/>
                </a:cubicBezTo>
                <a:cubicBezTo>
                  <a:pt x="88941" y="111750"/>
                  <a:pt x="88941" y="111750"/>
                  <a:pt x="88941" y="111750"/>
                </a:cubicBezTo>
                <a:cubicBezTo>
                  <a:pt x="87529" y="111750"/>
                  <a:pt x="87529" y="111000"/>
                  <a:pt x="86117" y="111000"/>
                </a:cubicBezTo>
                <a:cubicBezTo>
                  <a:pt x="83294" y="110250"/>
                  <a:pt x="81882" y="109500"/>
                  <a:pt x="81882" y="109500"/>
                </a:cubicBezTo>
                <a:cubicBezTo>
                  <a:pt x="81882" y="109500"/>
                  <a:pt x="81882" y="108750"/>
                  <a:pt x="81882" y="108750"/>
                </a:cubicBezTo>
                <a:cubicBezTo>
                  <a:pt x="80470" y="108750"/>
                  <a:pt x="80470" y="108000"/>
                  <a:pt x="80470" y="108000"/>
                </a:cubicBezTo>
                <a:cubicBezTo>
                  <a:pt x="80470" y="107250"/>
                  <a:pt x="80470" y="106500"/>
                  <a:pt x="80470" y="106500"/>
                </a:cubicBezTo>
                <a:cubicBezTo>
                  <a:pt x="80470" y="105750"/>
                  <a:pt x="80470" y="105750"/>
                  <a:pt x="80470" y="105750"/>
                </a:cubicBezTo>
                <a:cubicBezTo>
                  <a:pt x="80470" y="105750"/>
                  <a:pt x="81882" y="105000"/>
                  <a:pt x="83294" y="105000"/>
                </a:cubicBezTo>
                <a:cubicBezTo>
                  <a:pt x="84705" y="105000"/>
                  <a:pt x="84705" y="105000"/>
                  <a:pt x="84705" y="105000"/>
                </a:cubicBezTo>
                <a:cubicBezTo>
                  <a:pt x="86117" y="102750"/>
                  <a:pt x="86117" y="102750"/>
                  <a:pt x="86117" y="102750"/>
                </a:cubicBezTo>
                <a:cubicBezTo>
                  <a:pt x="86117" y="102750"/>
                  <a:pt x="86117" y="102000"/>
                  <a:pt x="87529" y="102000"/>
                </a:cubicBezTo>
                <a:cubicBezTo>
                  <a:pt x="88941" y="102000"/>
                  <a:pt x="88941" y="102000"/>
                  <a:pt x="88941" y="102000"/>
                </a:cubicBezTo>
                <a:cubicBezTo>
                  <a:pt x="88941" y="102000"/>
                  <a:pt x="88941" y="102000"/>
                  <a:pt x="88941" y="102000"/>
                </a:cubicBezTo>
                <a:cubicBezTo>
                  <a:pt x="98823" y="99000"/>
                  <a:pt x="98823" y="99000"/>
                  <a:pt x="98823" y="99000"/>
                </a:cubicBezTo>
                <a:cubicBezTo>
                  <a:pt x="105882" y="93000"/>
                  <a:pt x="105882" y="93000"/>
                  <a:pt x="105882" y="93000"/>
                </a:cubicBezTo>
                <a:cubicBezTo>
                  <a:pt x="107294" y="86250"/>
                  <a:pt x="107294" y="86250"/>
                  <a:pt x="107294" y="86250"/>
                </a:cubicBezTo>
                <a:cubicBezTo>
                  <a:pt x="111529" y="80250"/>
                  <a:pt x="111529" y="80250"/>
                  <a:pt x="111529" y="80250"/>
                </a:cubicBezTo>
                <a:cubicBezTo>
                  <a:pt x="112941" y="79500"/>
                  <a:pt x="117176" y="78000"/>
                  <a:pt x="118588" y="78000"/>
                </a:cubicBezTo>
                <a:cubicBezTo>
                  <a:pt x="118588" y="77250"/>
                  <a:pt x="118588" y="75000"/>
                  <a:pt x="117176" y="72000"/>
                </a:cubicBezTo>
                <a:cubicBezTo>
                  <a:pt x="114352" y="69750"/>
                  <a:pt x="114352" y="69750"/>
                  <a:pt x="114352" y="69750"/>
                </a:cubicBezTo>
                <a:cubicBezTo>
                  <a:pt x="114352" y="68250"/>
                  <a:pt x="114352" y="68250"/>
                  <a:pt x="114352" y="68250"/>
                </a:cubicBezTo>
                <a:cubicBezTo>
                  <a:pt x="114352" y="69000"/>
                  <a:pt x="112941" y="69000"/>
                  <a:pt x="112941" y="68250"/>
                </a:cubicBezTo>
                <a:cubicBezTo>
                  <a:pt x="112941" y="68250"/>
                  <a:pt x="111529" y="68250"/>
                  <a:pt x="111529" y="68250"/>
                </a:cubicBezTo>
                <a:cubicBezTo>
                  <a:pt x="111529" y="67500"/>
                  <a:pt x="111529" y="67500"/>
                  <a:pt x="111529" y="67500"/>
                </a:cubicBezTo>
                <a:cubicBezTo>
                  <a:pt x="107294" y="66750"/>
                  <a:pt x="107294" y="66750"/>
                  <a:pt x="107294" y="66750"/>
                </a:cubicBezTo>
                <a:cubicBezTo>
                  <a:pt x="107294" y="66750"/>
                  <a:pt x="107294" y="66750"/>
                  <a:pt x="105882" y="66750"/>
                </a:cubicBezTo>
                <a:cubicBezTo>
                  <a:pt x="105882" y="66750"/>
                  <a:pt x="104470" y="66750"/>
                  <a:pt x="104470" y="66750"/>
                </a:cubicBezTo>
                <a:cubicBezTo>
                  <a:pt x="101647" y="66000"/>
                  <a:pt x="100235" y="66000"/>
                  <a:pt x="100235" y="66750"/>
                </a:cubicBezTo>
                <a:cubicBezTo>
                  <a:pt x="98823" y="66750"/>
                  <a:pt x="98823" y="66750"/>
                  <a:pt x="97411" y="67500"/>
                </a:cubicBezTo>
                <a:cubicBezTo>
                  <a:pt x="97411" y="67500"/>
                  <a:pt x="97411" y="67500"/>
                  <a:pt x="97411" y="67500"/>
                </a:cubicBezTo>
                <a:cubicBezTo>
                  <a:pt x="96000" y="68250"/>
                  <a:pt x="96000" y="67500"/>
                  <a:pt x="96000" y="67500"/>
                </a:cubicBezTo>
                <a:cubicBezTo>
                  <a:pt x="96000" y="67500"/>
                  <a:pt x="96000" y="67500"/>
                  <a:pt x="94588" y="67500"/>
                </a:cubicBezTo>
                <a:cubicBezTo>
                  <a:pt x="94588" y="66000"/>
                  <a:pt x="94588" y="66000"/>
                  <a:pt x="94588" y="66000"/>
                </a:cubicBezTo>
                <a:cubicBezTo>
                  <a:pt x="94588" y="66000"/>
                  <a:pt x="94588" y="65250"/>
                  <a:pt x="94588" y="65250"/>
                </a:cubicBezTo>
                <a:cubicBezTo>
                  <a:pt x="94588" y="64500"/>
                  <a:pt x="93176" y="63000"/>
                  <a:pt x="93176" y="62250"/>
                </a:cubicBezTo>
                <a:cubicBezTo>
                  <a:pt x="91764" y="61500"/>
                  <a:pt x="91764" y="61500"/>
                  <a:pt x="91764" y="60750"/>
                </a:cubicBezTo>
                <a:cubicBezTo>
                  <a:pt x="91764" y="60750"/>
                  <a:pt x="88941" y="60750"/>
                  <a:pt x="88941" y="60750"/>
                </a:cubicBezTo>
                <a:cubicBezTo>
                  <a:pt x="87529" y="60750"/>
                  <a:pt x="86117" y="60750"/>
                  <a:pt x="86117" y="60750"/>
                </a:cubicBezTo>
                <a:cubicBezTo>
                  <a:pt x="84705" y="60000"/>
                  <a:pt x="84705" y="59250"/>
                  <a:pt x="86117" y="58500"/>
                </a:cubicBezTo>
                <a:cubicBezTo>
                  <a:pt x="86117" y="58500"/>
                  <a:pt x="84705" y="57750"/>
                  <a:pt x="83294" y="57000"/>
                </a:cubicBezTo>
                <a:cubicBezTo>
                  <a:pt x="83294" y="57000"/>
                  <a:pt x="80470" y="54750"/>
                  <a:pt x="80470" y="54750"/>
                </a:cubicBezTo>
                <a:cubicBezTo>
                  <a:pt x="80470" y="54750"/>
                  <a:pt x="79058" y="54750"/>
                  <a:pt x="79058" y="54000"/>
                </a:cubicBezTo>
                <a:cubicBezTo>
                  <a:pt x="77647" y="51000"/>
                  <a:pt x="77647" y="51000"/>
                  <a:pt x="77647" y="51000"/>
                </a:cubicBezTo>
                <a:cubicBezTo>
                  <a:pt x="79058" y="50250"/>
                  <a:pt x="79058" y="49500"/>
                  <a:pt x="79058" y="49500"/>
                </a:cubicBezTo>
                <a:cubicBezTo>
                  <a:pt x="80470" y="48750"/>
                  <a:pt x="80470" y="48000"/>
                  <a:pt x="80470" y="48000"/>
                </a:cubicBezTo>
                <a:cubicBezTo>
                  <a:pt x="80470" y="48000"/>
                  <a:pt x="77647" y="46500"/>
                  <a:pt x="76235" y="46500"/>
                </a:cubicBezTo>
                <a:cubicBezTo>
                  <a:pt x="76235" y="46500"/>
                  <a:pt x="73411" y="45000"/>
                  <a:pt x="73411" y="44250"/>
                </a:cubicBezTo>
                <a:cubicBezTo>
                  <a:pt x="72000" y="43500"/>
                  <a:pt x="72000" y="42750"/>
                  <a:pt x="72000" y="42750"/>
                </a:cubicBezTo>
                <a:cubicBezTo>
                  <a:pt x="73411" y="42000"/>
                  <a:pt x="73411" y="42000"/>
                  <a:pt x="74823" y="42000"/>
                </a:cubicBezTo>
                <a:cubicBezTo>
                  <a:pt x="76235" y="41250"/>
                  <a:pt x="76235" y="41250"/>
                  <a:pt x="76235" y="41250"/>
                </a:cubicBezTo>
                <a:cubicBezTo>
                  <a:pt x="76235" y="41250"/>
                  <a:pt x="77647" y="40500"/>
                  <a:pt x="77647" y="40500"/>
                </a:cubicBezTo>
                <a:cubicBezTo>
                  <a:pt x="77647" y="39750"/>
                  <a:pt x="77647" y="39750"/>
                  <a:pt x="77647" y="39750"/>
                </a:cubicBezTo>
                <a:cubicBezTo>
                  <a:pt x="77647" y="39750"/>
                  <a:pt x="76235" y="38250"/>
                  <a:pt x="76235" y="38250"/>
                </a:cubicBezTo>
                <a:cubicBezTo>
                  <a:pt x="77647" y="36000"/>
                  <a:pt x="77647" y="36000"/>
                  <a:pt x="77647" y="36000"/>
                </a:cubicBezTo>
                <a:cubicBezTo>
                  <a:pt x="76235" y="35250"/>
                  <a:pt x="76235" y="35250"/>
                  <a:pt x="76235" y="35250"/>
                </a:cubicBezTo>
                <a:cubicBezTo>
                  <a:pt x="76235" y="32250"/>
                  <a:pt x="76235" y="32250"/>
                  <a:pt x="76235" y="32250"/>
                </a:cubicBezTo>
                <a:cubicBezTo>
                  <a:pt x="76235" y="31500"/>
                  <a:pt x="76235" y="31500"/>
                  <a:pt x="76235" y="31500"/>
                </a:cubicBezTo>
                <a:cubicBezTo>
                  <a:pt x="76235" y="30750"/>
                  <a:pt x="76235" y="30000"/>
                  <a:pt x="76235" y="30000"/>
                </a:cubicBezTo>
                <a:cubicBezTo>
                  <a:pt x="76235" y="29250"/>
                  <a:pt x="77647" y="28500"/>
                  <a:pt x="77647" y="27750"/>
                </a:cubicBezTo>
                <a:cubicBezTo>
                  <a:pt x="77647" y="26250"/>
                  <a:pt x="77647" y="26250"/>
                  <a:pt x="77647" y="26250"/>
                </a:cubicBezTo>
                <a:cubicBezTo>
                  <a:pt x="79058" y="24750"/>
                  <a:pt x="79058" y="24750"/>
                  <a:pt x="79058" y="24750"/>
                </a:cubicBezTo>
                <a:cubicBezTo>
                  <a:pt x="76235" y="22500"/>
                  <a:pt x="76235" y="22500"/>
                  <a:pt x="76235" y="22500"/>
                </a:cubicBezTo>
                <a:cubicBezTo>
                  <a:pt x="76235" y="22500"/>
                  <a:pt x="76235" y="22500"/>
                  <a:pt x="74823" y="21750"/>
                </a:cubicBezTo>
                <a:cubicBezTo>
                  <a:pt x="74823" y="21000"/>
                  <a:pt x="73411" y="19500"/>
                  <a:pt x="73411" y="19500"/>
                </a:cubicBezTo>
                <a:cubicBezTo>
                  <a:pt x="72000" y="18000"/>
                  <a:pt x="72000" y="18000"/>
                  <a:pt x="72000" y="18000"/>
                </a:cubicBezTo>
                <a:cubicBezTo>
                  <a:pt x="72000" y="17250"/>
                  <a:pt x="69176" y="15750"/>
                  <a:pt x="69176" y="15750"/>
                </a:cubicBezTo>
                <a:cubicBezTo>
                  <a:pt x="69176" y="15000"/>
                  <a:pt x="67764" y="15000"/>
                  <a:pt x="67764" y="15000"/>
                </a:cubicBezTo>
                <a:cubicBezTo>
                  <a:pt x="67764" y="14250"/>
                  <a:pt x="67764" y="14250"/>
                  <a:pt x="66352" y="14250"/>
                </a:cubicBezTo>
                <a:cubicBezTo>
                  <a:pt x="64941" y="13500"/>
                  <a:pt x="62117" y="12750"/>
                  <a:pt x="62117" y="12750"/>
                </a:cubicBezTo>
                <a:cubicBezTo>
                  <a:pt x="59294" y="12750"/>
                  <a:pt x="59294" y="12750"/>
                  <a:pt x="59294" y="12750"/>
                </a:cubicBezTo>
                <a:cubicBezTo>
                  <a:pt x="56470" y="11250"/>
                  <a:pt x="56470" y="11250"/>
                  <a:pt x="56470" y="11250"/>
                </a:cubicBezTo>
                <a:cubicBezTo>
                  <a:pt x="55058" y="12000"/>
                  <a:pt x="55058" y="12000"/>
                  <a:pt x="55058" y="12000"/>
                </a:cubicBezTo>
                <a:cubicBezTo>
                  <a:pt x="50823" y="9000"/>
                  <a:pt x="50823" y="9000"/>
                  <a:pt x="50823" y="9000"/>
                </a:cubicBezTo>
                <a:cubicBezTo>
                  <a:pt x="50823" y="6750"/>
                  <a:pt x="50823" y="6750"/>
                  <a:pt x="50823" y="6750"/>
                </a:cubicBezTo>
                <a:cubicBezTo>
                  <a:pt x="40941" y="3000"/>
                  <a:pt x="40941" y="3000"/>
                  <a:pt x="40941" y="3000"/>
                </a:cubicBezTo>
                <a:cubicBezTo>
                  <a:pt x="39529" y="3750"/>
                  <a:pt x="39529" y="3750"/>
                  <a:pt x="39529" y="3750"/>
                </a:cubicBezTo>
                <a:cubicBezTo>
                  <a:pt x="39529" y="3750"/>
                  <a:pt x="38117" y="4500"/>
                  <a:pt x="38117" y="4500"/>
                </a:cubicBezTo>
                <a:cubicBezTo>
                  <a:pt x="38117" y="5250"/>
                  <a:pt x="33882" y="5250"/>
                  <a:pt x="33882" y="5250"/>
                </a:cubicBezTo>
                <a:cubicBezTo>
                  <a:pt x="32470" y="6750"/>
                  <a:pt x="32470" y="6750"/>
                  <a:pt x="32470" y="6750"/>
                </a:cubicBezTo>
                <a:cubicBezTo>
                  <a:pt x="28235" y="7500"/>
                  <a:pt x="28235" y="7500"/>
                  <a:pt x="28235" y="7500"/>
                </a:cubicBezTo>
                <a:cubicBezTo>
                  <a:pt x="28235" y="7500"/>
                  <a:pt x="26823" y="7500"/>
                  <a:pt x="26823" y="7500"/>
                </a:cubicBezTo>
                <a:cubicBezTo>
                  <a:pt x="26823" y="6750"/>
                  <a:pt x="25411" y="6750"/>
                  <a:pt x="25411" y="6750"/>
                </a:cubicBezTo>
                <a:cubicBezTo>
                  <a:pt x="25411" y="6000"/>
                  <a:pt x="25411" y="6000"/>
                  <a:pt x="25411" y="6000"/>
                </a:cubicBezTo>
                <a:cubicBezTo>
                  <a:pt x="24000" y="5250"/>
                  <a:pt x="24000" y="4500"/>
                  <a:pt x="24000" y="4500"/>
                </a:cubicBezTo>
                <a:cubicBezTo>
                  <a:pt x="24000" y="3750"/>
                  <a:pt x="24000" y="3750"/>
                  <a:pt x="24000" y="3750"/>
                </a:cubicBezTo>
                <a:cubicBezTo>
                  <a:pt x="24000" y="3000"/>
                  <a:pt x="24000" y="3000"/>
                  <a:pt x="24000" y="2250"/>
                </a:cubicBezTo>
                <a:cubicBezTo>
                  <a:pt x="24000" y="1500"/>
                  <a:pt x="24000" y="1500"/>
                  <a:pt x="24000" y="1500"/>
                </a:cubicBezTo>
                <a:cubicBezTo>
                  <a:pt x="21176" y="750"/>
                  <a:pt x="21176" y="750"/>
                  <a:pt x="21176" y="750"/>
                </a:cubicBezTo>
                <a:cubicBezTo>
                  <a:pt x="21176" y="750"/>
                  <a:pt x="19764" y="0"/>
                  <a:pt x="19764" y="0"/>
                </a:cubicBezTo>
                <a:cubicBezTo>
                  <a:pt x="19764" y="750"/>
                  <a:pt x="16941" y="1500"/>
                  <a:pt x="15529" y="3000"/>
                </a:cubicBezTo>
                <a:cubicBezTo>
                  <a:pt x="15529" y="3750"/>
                  <a:pt x="15529" y="3750"/>
                  <a:pt x="15529" y="3750"/>
                </a:cubicBezTo>
                <a:cubicBezTo>
                  <a:pt x="12705" y="6750"/>
                  <a:pt x="12705" y="6750"/>
                  <a:pt x="12705" y="6750"/>
                </a:cubicBezTo>
                <a:cubicBezTo>
                  <a:pt x="11294" y="9000"/>
                  <a:pt x="11294" y="9000"/>
                  <a:pt x="11294" y="9000"/>
                </a:cubicBezTo>
                <a:cubicBezTo>
                  <a:pt x="11294" y="9000"/>
                  <a:pt x="11294" y="9750"/>
                  <a:pt x="9882" y="9750"/>
                </a:cubicBezTo>
                <a:cubicBezTo>
                  <a:pt x="9882" y="10500"/>
                  <a:pt x="8470" y="11250"/>
                  <a:pt x="8470" y="11250"/>
                </a:cubicBezTo>
                <a:cubicBezTo>
                  <a:pt x="7058" y="11250"/>
                  <a:pt x="7058" y="11250"/>
                  <a:pt x="7058" y="11250"/>
                </a:cubicBezTo>
                <a:cubicBezTo>
                  <a:pt x="5647" y="12000"/>
                  <a:pt x="5647" y="12000"/>
                  <a:pt x="5647" y="12000"/>
                </a:cubicBezTo>
                <a:cubicBezTo>
                  <a:pt x="7058" y="13500"/>
                  <a:pt x="7058" y="13500"/>
                  <a:pt x="7058" y="13500"/>
                </a:cubicBezTo>
                <a:cubicBezTo>
                  <a:pt x="5647" y="13500"/>
                  <a:pt x="5647" y="14250"/>
                  <a:pt x="5647" y="15000"/>
                </a:cubicBezTo>
                <a:cubicBezTo>
                  <a:pt x="5647" y="15000"/>
                  <a:pt x="5647" y="15000"/>
                  <a:pt x="4235" y="15750"/>
                </a:cubicBezTo>
                <a:cubicBezTo>
                  <a:pt x="4235" y="17250"/>
                  <a:pt x="4235" y="17250"/>
                  <a:pt x="4235" y="17250"/>
                </a:cubicBezTo>
                <a:cubicBezTo>
                  <a:pt x="0" y="19500"/>
                  <a:pt x="0" y="19500"/>
                  <a:pt x="0" y="19500"/>
                </a:cubicBezTo>
                <a:cubicBezTo>
                  <a:pt x="0" y="20250"/>
                  <a:pt x="0" y="20250"/>
                  <a:pt x="0" y="20250"/>
                </a:cubicBezTo>
                <a:cubicBezTo>
                  <a:pt x="1411" y="21000"/>
                  <a:pt x="1411" y="21000"/>
                  <a:pt x="1411" y="21000"/>
                </a:cubicBezTo>
                <a:cubicBezTo>
                  <a:pt x="7058" y="22500"/>
                  <a:pt x="7058" y="22500"/>
                  <a:pt x="7058" y="22500"/>
                </a:cubicBezTo>
                <a:cubicBezTo>
                  <a:pt x="8470" y="22500"/>
                  <a:pt x="8470" y="23250"/>
                  <a:pt x="8470" y="24000"/>
                </a:cubicBezTo>
                <a:cubicBezTo>
                  <a:pt x="8470" y="24000"/>
                  <a:pt x="7058" y="24750"/>
                  <a:pt x="7058" y="24750"/>
                </a:cubicBezTo>
                <a:cubicBezTo>
                  <a:pt x="7058" y="26250"/>
                  <a:pt x="7058" y="26250"/>
                  <a:pt x="7058" y="26250"/>
                </a:cubicBezTo>
                <a:cubicBezTo>
                  <a:pt x="7058" y="26250"/>
                  <a:pt x="7058" y="27000"/>
                  <a:pt x="7058" y="27000"/>
                </a:cubicBezTo>
                <a:cubicBezTo>
                  <a:pt x="7058" y="27000"/>
                  <a:pt x="8470" y="27750"/>
                  <a:pt x="8470" y="27750"/>
                </a:cubicBezTo>
                <a:cubicBezTo>
                  <a:pt x="8470" y="28500"/>
                  <a:pt x="7058" y="29250"/>
                  <a:pt x="7058" y="29250"/>
                </a:cubicBezTo>
                <a:cubicBezTo>
                  <a:pt x="5647" y="30000"/>
                  <a:pt x="5647" y="30000"/>
                  <a:pt x="5647" y="30000"/>
                </a:cubicBezTo>
                <a:cubicBezTo>
                  <a:pt x="7058" y="30750"/>
                  <a:pt x="7058" y="30750"/>
                  <a:pt x="7058" y="30750"/>
                </a:cubicBezTo>
                <a:cubicBezTo>
                  <a:pt x="7058" y="30750"/>
                  <a:pt x="7058" y="32250"/>
                  <a:pt x="7058" y="32250"/>
                </a:cubicBezTo>
                <a:cubicBezTo>
                  <a:pt x="7058" y="32250"/>
                  <a:pt x="8470" y="33000"/>
                  <a:pt x="9882" y="33000"/>
                </a:cubicBezTo>
                <a:cubicBezTo>
                  <a:pt x="9882" y="33000"/>
                  <a:pt x="9882" y="33000"/>
                  <a:pt x="11294" y="33000"/>
                </a:cubicBezTo>
                <a:cubicBezTo>
                  <a:pt x="12705" y="33000"/>
                  <a:pt x="12705" y="33000"/>
                  <a:pt x="12705" y="33000"/>
                </a:cubicBezTo>
                <a:cubicBezTo>
                  <a:pt x="14117" y="33000"/>
                  <a:pt x="14117" y="33000"/>
                  <a:pt x="14117" y="33000"/>
                </a:cubicBezTo>
                <a:cubicBezTo>
                  <a:pt x="19764" y="33750"/>
                  <a:pt x="19764" y="33750"/>
                  <a:pt x="19764" y="33750"/>
                </a:cubicBezTo>
                <a:cubicBezTo>
                  <a:pt x="21176" y="34500"/>
                  <a:pt x="21176" y="34500"/>
                  <a:pt x="21176" y="34500"/>
                </a:cubicBezTo>
                <a:cubicBezTo>
                  <a:pt x="21176" y="36750"/>
                  <a:pt x="21176" y="36750"/>
                  <a:pt x="21176" y="36750"/>
                </a:cubicBezTo>
                <a:cubicBezTo>
                  <a:pt x="22588" y="39000"/>
                  <a:pt x="22588" y="39000"/>
                  <a:pt x="22588" y="39000"/>
                </a:cubicBezTo>
                <a:cubicBezTo>
                  <a:pt x="21176" y="40500"/>
                  <a:pt x="21176" y="40500"/>
                  <a:pt x="21176" y="40500"/>
                </a:cubicBezTo>
                <a:cubicBezTo>
                  <a:pt x="22588" y="40500"/>
                  <a:pt x="22588" y="40500"/>
                  <a:pt x="22588" y="40500"/>
                </a:cubicBezTo>
                <a:cubicBezTo>
                  <a:pt x="22588" y="40500"/>
                  <a:pt x="22588" y="41250"/>
                  <a:pt x="22588" y="41250"/>
                </a:cubicBezTo>
                <a:cubicBezTo>
                  <a:pt x="22588" y="42000"/>
                  <a:pt x="22588" y="43500"/>
                  <a:pt x="22588" y="43500"/>
                </a:cubicBezTo>
                <a:cubicBezTo>
                  <a:pt x="21176" y="43500"/>
                  <a:pt x="19764" y="44250"/>
                  <a:pt x="18352" y="44250"/>
                </a:cubicBezTo>
                <a:cubicBezTo>
                  <a:pt x="16941" y="44250"/>
                  <a:pt x="15529" y="44250"/>
                  <a:pt x="15529" y="44250"/>
                </a:cubicBezTo>
                <a:cubicBezTo>
                  <a:pt x="15529" y="45000"/>
                  <a:pt x="15529" y="45000"/>
                  <a:pt x="15529" y="45000"/>
                </a:cubicBezTo>
                <a:cubicBezTo>
                  <a:pt x="18352" y="45750"/>
                  <a:pt x="18352" y="45750"/>
                  <a:pt x="18352" y="45750"/>
                </a:cubicBezTo>
                <a:cubicBezTo>
                  <a:pt x="19764" y="45750"/>
                  <a:pt x="19764" y="45750"/>
                  <a:pt x="19764" y="45750"/>
                </a:cubicBezTo>
                <a:cubicBezTo>
                  <a:pt x="21176" y="46500"/>
                  <a:pt x="21176" y="48000"/>
                  <a:pt x="21176" y="48000"/>
                </a:cubicBezTo>
                <a:cubicBezTo>
                  <a:pt x="19764" y="48000"/>
                  <a:pt x="19764" y="48750"/>
                  <a:pt x="19764" y="48750"/>
                </a:cubicBezTo>
                <a:cubicBezTo>
                  <a:pt x="18352" y="48750"/>
                  <a:pt x="16941" y="49500"/>
                  <a:pt x="16941" y="49500"/>
                </a:cubicBezTo>
                <a:cubicBezTo>
                  <a:pt x="14117" y="51000"/>
                  <a:pt x="14117" y="51000"/>
                  <a:pt x="14117" y="51000"/>
                </a:cubicBezTo>
                <a:cubicBezTo>
                  <a:pt x="12705" y="51750"/>
                  <a:pt x="12705" y="51750"/>
                  <a:pt x="12705" y="51750"/>
                </a:cubicBezTo>
                <a:cubicBezTo>
                  <a:pt x="14117" y="53250"/>
                  <a:pt x="14117" y="53250"/>
                  <a:pt x="14117" y="53250"/>
                </a:cubicBezTo>
                <a:cubicBezTo>
                  <a:pt x="15529" y="53250"/>
                  <a:pt x="15529" y="53250"/>
                  <a:pt x="15529" y="53250"/>
                </a:cubicBezTo>
                <a:cubicBezTo>
                  <a:pt x="16941" y="53250"/>
                  <a:pt x="16941" y="53250"/>
                  <a:pt x="16941" y="54000"/>
                </a:cubicBezTo>
                <a:cubicBezTo>
                  <a:pt x="16941" y="54000"/>
                  <a:pt x="16941" y="54000"/>
                  <a:pt x="21176" y="54750"/>
                </a:cubicBezTo>
                <a:cubicBezTo>
                  <a:pt x="21176" y="56250"/>
                  <a:pt x="21176" y="56250"/>
                  <a:pt x="21176" y="56250"/>
                </a:cubicBezTo>
                <a:cubicBezTo>
                  <a:pt x="21176" y="56250"/>
                  <a:pt x="21176" y="57000"/>
                  <a:pt x="21176" y="57750"/>
                </a:cubicBezTo>
                <a:cubicBezTo>
                  <a:pt x="21176" y="58500"/>
                  <a:pt x="19764" y="60750"/>
                  <a:pt x="19764" y="60750"/>
                </a:cubicBezTo>
                <a:cubicBezTo>
                  <a:pt x="18352" y="62250"/>
                  <a:pt x="18352" y="62250"/>
                  <a:pt x="18352" y="62250"/>
                </a:cubicBezTo>
                <a:cubicBezTo>
                  <a:pt x="18352" y="62250"/>
                  <a:pt x="19764" y="63000"/>
                  <a:pt x="19764" y="64500"/>
                </a:cubicBezTo>
                <a:cubicBezTo>
                  <a:pt x="18352" y="66750"/>
                  <a:pt x="18352" y="66750"/>
                  <a:pt x="18352" y="66750"/>
                </a:cubicBezTo>
                <a:cubicBezTo>
                  <a:pt x="24000" y="67500"/>
                  <a:pt x="24000" y="67500"/>
                  <a:pt x="24000" y="67500"/>
                </a:cubicBezTo>
                <a:cubicBezTo>
                  <a:pt x="24000" y="69000"/>
                  <a:pt x="24000" y="69000"/>
                  <a:pt x="24000" y="69000"/>
                </a:cubicBezTo>
                <a:cubicBezTo>
                  <a:pt x="19764" y="69750"/>
                  <a:pt x="19764" y="69750"/>
                  <a:pt x="19764" y="69750"/>
                </a:cubicBezTo>
                <a:cubicBezTo>
                  <a:pt x="19764" y="69750"/>
                  <a:pt x="18352" y="69750"/>
                  <a:pt x="18352" y="70500"/>
                </a:cubicBezTo>
                <a:cubicBezTo>
                  <a:pt x="18352" y="70500"/>
                  <a:pt x="18352" y="71250"/>
                  <a:pt x="18352" y="71250"/>
                </a:cubicBezTo>
                <a:cubicBezTo>
                  <a:pt x="21176" y="71250"/>
                  <a:pt x="21176" y="71250"/>
                  <a:pt x="21176" y="71250"/>
                </a:cubicBezTo>
                <a:cubicBezTo>
                  <a:pt x="18352" y="72750"/>
                  <a:pt x="18352" y="72750"/>
                  <a:pt x="18352" y="72750"/>
                </a:cubicBezTo>
                <a:cubicBezTo>
                  <a:pt x="18352" y="72750"/>
                  <a:pt x="18352" y="74250"/>
                  <a:pt x="18352" y="74250"/>
                </a:cubicBezTo>
                <a:cubicBezTo>
                  <a:pt x="18352" y="74250"/>
                  <a:pt x="18352" y="75000"/>
                  <a:pt x="18352" y="75750"/>
                </a:cubicBezTo>
                <a:cubicBezTo>
                  <a:pt x="16941" y="75750"/>
                  <a:pt x="16941" y="75750"/>
                  <a:pt x="16941" y="75750"/>
                </a:cubicBezTo>
                <a:cubicBezTo>
                  <a:pt x="16941" y="77250"/>
                  <a:pt x="16941" y="77250"/>
                  <a:pt x="16941" y="77250"/>
                </a:cubicBezTo>
                <a:cubicBezTo>
                  <a:pt x="15529" y="81000"/>
                  <a:pt x="15529" y="81000"/>
                  <a:pt x="15529" y="81000"/>
                </a:cubicBezTo>
                <a:cubicBezTo>
                  <a:pt x="19764" y="85500"/>
                  <a:pt x="19764" y="85500"/>
                  <a:pt x="19764" y="85500"/>
                </a:cubicBezTo>
                <a:cubicBezTo>
                  <a:pt x="24000" y="87750"/>
                  <a:pt x="24000" y="87750"/>
                  <a:pt x="24000" y="87750"/>
                </a:cubicBezTo>
                <a:cubicBezTo>
                  <a:pt x="26823" y="89250"/>
                  <a:pt x="26823" y="89250"/>
                  <a:pt x="26823" y="89250"/>
                </a:cubicBezTo>
                <a:cubicBezTo>
                  <a:pt x="25411" y="91500"/>
                  <a:pt x="25411" y="91500"/>
                  <a:pt x="25411" y="91500"/>
                </a:cubicBezTo>
                <a:cubicBezTo>
                  <a:pt x="26823" y="92250"/>
                  <a:pt x="26823" y="92250"/>
                  <a:pt x="26823" y="92250"/>
                </a:cubicBezTo>
                <a:cubicBezTo>
                  <a:pt x="26823" y="93750"/>
                  <a:pt x="26823" y="93750"/>
                  <a:pt x="26823" y="93750"/>
                </a:cubicBezTo>
                <a:cubicBezTo>
                  <a:pt x="26823" y="93750"/>
                  <a:pt x="26823" y="94500"/>
                  <a:pt x="25411" y="94500"/>
                </a:cubicBezTo>
                <a:cubicBezTo>
                  <a:pt x="25411" y="94500"/>
                  <a:pt x="24000" y="94500"/>
                  <a:pt x="24000" y="94500"/>
                </a:cubicBezTo>
                <a:cubicBezTo>
                  <a:pt x="22588" y="93750"/>
                  <a:pt x="21176" y="92250"/>
                  <a:pt x="21176" y="92250"/>
                </a:cubicBezTo>
                <a:cubicBezTo>
                  <a:pt x="21176" y="92250"/>
                  <a:pt x="19764" y="91500"/>
                  <a:pt x="19764" y="90750"/>
                </a:cubicBezTo>
                <a:cubicBezTo>
                  <a:pt x="19764" y="90750"/>
                  <a:pt x="18352" y="90000"/>
                  <a:pt x="18352" y="90000"/>
                </a:cubicBezTo>
                <a:cubicBezTo>
                  <a:pt x="15529" y="90000"/>
                  <a:pt x="15529" y="90000"/>
                  <a:pt x="15529" y="90000"/>
                </a:cubicBezTo>
                <a:cubicBezTo>
                  <a:pt x="15529" y="90750"/>
                  <a:pt x="15529" y="90750"/>
                  <a:pt x="15529" y="90750"/>
                </a:cubicBezTo>
                <a:cubicBezTo>
                  <a:pt x="15529" y="90750"/>
                  <a:pt x="16941" y="91500"/>
                  <a:pt x="16941" y="92250"/>
                </a:cubicBezTo>
                <a:cubicBezTo>
                  <a:pt x="18352" y="92250"/>
                  <a:pt x="19764" y="93000"/>
                  <a:pt x="19764" y="93000"/>
                </a:cubicBezTo>
                <a:cubicBezTo>
                  <a:pt x="19764" y="93000"/>
                  <a:pt x="21176" y="93750"/>
                  <a:pt x="21176" y="93750"/>
                </a:cubicBezTo>
                <a:cubicBezTo>
                  <a:pt x="21176" y="93750"/>
                  <a:pt x="22588" y="96000"/>
                  <a:pt x="22588" y="96000"/>
                </a:cubicBezTo>
                <a:cubicBezTo>
                  <a:pt x="38117" y="101250"/>
                  <a:pt x="38117" y="101250"/>
                  <a:pt x="38117" y="101250"/>
                </a:cubicBezTo>
                <a:cubicBezTo>
                  <a:pt x="43764" y="102000"/>
                  <a:pt x="43764" y="102000"/>
                  <a:pt x="43764" y="102000"/>
                </a:cubicBezTo>
                <a:cubicBezTo>
                  <a:pt x="45176" y="103500"/>
                  <a:pt x="45176" y="103500"/>
                  <a:pt x="45176" y="103500"/>
                </a:cubicBezTo>
                <a:cubicBezTo>
                  <a:pt x="46588" y="103500"/>
                  <a:pt x="46588" y="103500"/>
                  <a:pt x="46588" y="103500"/>
                </a:cubicBezTo>
                <a:cubicBezTo>
                  <a:pt x="46588" y="103500"/>
                  <a:pt x="48000" y="103500"/>
                  <a:pt x="49411" y="103500"/>
                </a:cubicBezTo>
                <a:cubicBezTo>
                  <a:pt x="49411" y="103500"/>
                  <a:pt x="49411" y="103500"/>
                  <a:pt x="49411" y="103500"/>
                </a:cubicBezTo>
                <a:cubicBezTo>
                  <a:pt x="49411" y="103500"/>
                  <a:pt x="52235" y="104250"/>
                  <a:pt x="52235" y="104250"/>
                </a:cubicBezTo>
                <a:cubicBezTo>
                  <a:pt x="52235" y="104250"/>
                  <a:pt x="53647" y="104250"/>
                  <a:pt x="53647" y="104250"/>
                </a:cubicBezTo>
                <a:cubicBezTo>
                  <a:pt x="53647" y="105000"/>
                  <a:pt x="56470" y="107250"/>
                  <a:pt x="57882" y="108750"/>
                </a:cubicBezTo>
                <a:cubicBezTo>
                  <a:pt x="57882" y="108750"/>
                  <a:pt x="59294" y="109500"/>
                  <a:pt x="59294" y="110250"/>
                </a:cubicBezTo>
                <a:cubicBezTo>
                  <a:pt x="60705" y="110250"/>
                  <a:pt x="63529" y="111000"/>
                  <a:pt x="63529" y="111000"/>
                </a:cubicBezTo>
                <a:cubicBezTo>
                  <a:pt x="63529" y="111750"/>
                  <a:pt x="63529" y="112500"/>
                  <a:pt x="63529" y="113250"/>
                </a:cubicBezTo>
                <a:cubicBezTo>
                  <a:pt x="63529" y="113250"/>
                  <a:pt x="63529" y="113250"/>
                  <a:pt x="63529" y="114000"/>
                </a:cubicBezTo>
                <a:cubicBezTo>
                  <a:pt x="63529" y="114750"/>
                  <a:pt x="64941" y="114750"/>
                  <a:pt x="64941" y="114750"/>
                </a:cubicBezTo>
                <a:cubicBezTo>
                  <a:pt x="64941" y="115500"/>
                  <a:pt x="66352" y="116250"/>
                  <a:pt x="66352" y="116250"/>
                </a:cubicBezTo>
                <a:cubicBezTo>
                  <a:pt x="66352" y="118500"/>
                  <a:pt x="66352" y="118500"/>
                  <a:pt x="66352" y="118500"/>
                </a:cubicBezTo>
                <a:cubicBezTo>
                  <a:pt x="67764" y="118500"/>
                  <a:pt x="67764" y="118500"/>
                  <a:pt x="67764" y="118500"/>
                </a:cubicBezTo>
                <a:lnTo>
                  <a:pt x="69176" y="118500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3014;p256">
            <a:extLst>
              <a:ext uri="{FF2B5EF4-FFF2-40B4-BE49-F238E27FC236}">
                <a16:creationId xmlns:a16="http://schemas.microsoft.com/office/drawing/2014/main" id="{5E45C0B3-E5A1-6B1F-BD90-7FC424D02D1A}"/>
              </a:ext>
            </a:extLst>
          </p:cNvPr>
          <p:cNvSpPr/>
          <p:nvPr/>
        </p:nvSpPr>
        <p:spPr>
          <a:xfrm>
            <a:off x="9898429" y="4951021"/>
            <a:ext cx="284333" cy="31469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4615" y="117303"/>
                </a:moveTo>
                <a:cubicBezTo>
                  <a:pt x="64615" y="117303"/>
                  <a:pt x="72307" y="120000"/>
                  <a:pt x="70769" y="120000"/>
                </a:cubicBezTo>
                <a:cubicBezTo>
                  <a:pt x="70769" y="120000"/>
                  <a:pt x="70769" y="120000"/>
                  <a:pt x="70769" y="118651"/>
                </a:cubicBezTo>
                <a:cubicBezTo>
                  <a:pt x="70769" y="118651"/>
                  <a:pt x="69230" y="120000"/>
                  <a:pt x="69230" y="120000"/>
                </a:cubicBezTo>
                <a:cubicBezTo>
                  <a:pt x="69230" y="120000"/>
                  <a:pt x="66153" y="117303"/>
                  <a:pt x="67692" y="117303"/>
                </a:cubicBezTo>
                <a:cubicBezTo>
                  <a:pt x="67692" y="117303"/>
                  <a:pt x="67692" y="115955"/>
                  <a:pt x="67692" y="115955"/>
                </a:cubicBezTo>
                <a:cubicBezTo>
                  <a:pt x="67692" y="114606"/>
                  <a:pt x="66153" y="113258"/>
                  <a:pt x="66153" y="113258"/>
                </a:cubicBezTo>
                <a:cubicBezTo>
                  <a:pt x="67692" y="111910"/>
                  <a:pt x="67692" y="111910"/>
                  <a:pt x="67692" y="111910"/>
                </a:cubicBezTo>
                <a:cubicBezTo>
                  <a:pt x="67692" y="111910"/>
                  <a:pt x="67692" y="109213"/>
                  <a:pt x="67692" y="109213"/>
                </a:cubicBezTo>
                <a:cubicBezTo>
                  <a:pt x="67692" y="109213"/>
                  <a:pt x="67692" y="107865"/>
                  <a:pt x="67692" y="107865"/>
                </a:cubicBezTo>
                <a:cubicBezTo>
                  <a:pt x="67692" y="107865"/>
                  <a:pt x="66153" y="106516"/>
                  <a:pt x="66153" y="106516"/>
                </a:cubicBezTo>
                <a:cubicBezTo>
                  <a:pt x="67692" y="103820"/>
                  <a:pt x="67692" y="103820"/>
                  <a:pt x="67692" y="103820"/>
                </a:cubicBezTo>
                <a:cubicBezTo>
                  <a:pt x="67692" y="103820"/>
                  <a:pt x="67692" y="102471"/>
                  <a:pt x="67692" y="102471"/>
                </a:cubicBezTo>
                <a:cubicBezTo>
                  <a:pt x="67692" y="101123"/>
                  <a:pt x="67692" y="99775"/>
                  <a:pt x="67692" y="99775"/>
                </a:cubicBezTo>
                <a:cubicBezTo>
                  <a:pt x="64615" y="98426"/>
                  <a:pt x="64615" y="98426"/>
                  <a:pt x="64615" y="98426"/>
                </a:cubicBezTo>
                <a:cubicBezTo>
                  <a:pt x="61538" y="97078"/>
                  <a:pt x="61538" y="97078"/>
                  <a:pt x="61538" y="97078"/>
                </a:cubicBezTo>
                <a:cubicBezTo>
                  <a:pt x="60000" y="95730"/>
                  <a:pt x="60000" y="95730"/>
                  <a:pt x="60000" y="95730"/>
                </a:cubicBezTo>
                <a:cubicBezTo>
                  <a:pt x="60000" y="93033"/>
                  <a:pt x="60000" y="93033"/>
                  <a:pt x="60000" y="93033"/>
                </a:cubicBezTo>
                <a:cubicBezTo>
                  <a:pt x="63076" y="90337"/>
                  <a:pt x="63076" y="90337"/>
                  <a:pt x="63076" y="90337"/>
                </a:cubicBezTo>
                <a:cubicBezTo>
                  <a:pt x="64615" y="87640"/>
                  <a:pt x="64615" y="87640"/>
                  <a:pt x="64615" y="87640"/>
                </a:cubicBezTo>
                <a:cubicBezTo>
                  <a:pt x="64615" y="87640"/>
                  <a:pt x="66153" y="86292"/>
                  <a:pt x="66153" y="86292"/>
                </a:cubicBezTo>
                <a:cubicBezTo>
                  <a:pt x="66153" y="84943"/>
                  <a:pt x="66153" y="83595"/>
                  <a:pt x="66153" y="83595"/>
                </a:cubicBezTo>
                <a:cubicBezTo>
                  <a:pt x="66153" y="80898"/>
                  <a:pt x="66153" y="80898"/>
                  <a:pt x="66153" y="80898"/>
                </a:cubicBezTo>
                <a:cubicBezTo>
                  <a:pt x="67692" y="79550"/>
                  <a:pt x="67692" y="79550"/>
                  <a:pt x="67692" y="79550"/>
                </a:cubicBezTo>
                <a:cubicBezTo>
                  <a:pt x="69230" y="78202"/>
                  <a:pt x="69230" y="78202"/>
                  <a:pt x="69230" y="78202"/>
                </a:cubicBezTo>
                <a:cubicBezTo>
                  <a:pt x="69230" y="78202"/>
                  <a:pt x="70769" y="76853"/>
                  <a:pt x="70769" y="76853"/>
                </a:cubicBezTo>
                <a:cubicBezTo>
                  <a:pt x="70769" y="75505"/>
                  <a:pt x="72307" y="74157"/>
                  <a:pt x="72307" y="74157"/>
                </a:cubicBezTo>
                <a:cubicBezTo>
                  <a:pt x="73846" y="71460"/>
                  <a:pt x="73846" y="71460"/>
                  <a:pt x="73846" y="71460"/>
                </a:cubicBezTo>
                <a:cubicBezTo>
                  <a:pt x="75384" y="68764"/>
                  <a:pt x="75384" y="68764"/>
                  <a:pt x="75384" y="68764"/>
                </a:cubicBezTo>
                <a:cubicBezTo>
                  <a:pt x="76923" y="66067"/>
                  <a:pt x="76923" y="66067"/>
                  <a:pt x="76923" y="66067"/>
                </a:cubicBezTo>
                <a:cubicBezTo>
                  <a:pt x="75384" y="64719"/>
                  <a:pt x="75384" y="64719"/>
                  <a:pt x="75384" y="64719"/>
                </a:cubicBezTo>
                <a:cubicBezTo>
                  <a:pt x="75384" y="64719"/>
                  <a:pt x="81538" y="59325"/>
                  <a:pt x="81538" y="59325"/>
                </a:cubicBezTo>
                <a:cubicBezTo>
                  <a:pt x="81538" y="59325"/>
                  <a:pt x="84615" y="59325"/>
                  <a:pt x="84615" y="59325"/>
                </a:cubicBezTo>
                <a:cubicBezTo>
                  <a:pt x="84615" y="60674"/>
                  <a:pt x="84615" y="60674"/>
                  <a:pt x="84615" y="60674"/>
                </a:cubicBezTo>
                <a:cubicBezTo>
                  <a:pt x="86153" y="62022"/>
                  <a:pt x="86153" y="62022"/>
                  <a:pt x="86153" y="62022"/>
                </a:cubicBezTo>
                <a:cubicBezTo>
                  <a:pt x="86153" y="63370"/>
                  <a:pt x="86153" y="63370"/>
                  <a:pt x="86153" y="63370"/>
                </a:cubicBezTo>
                <a:cubicBezTo>
                  <a:pt x="86153" y="63370"/>
                  <a:pt x="86153" y="64719"/>
                  <a:pt x="86153" y="66067"/>
                </a:cubicBezTo>
                <a:cubicBezTo>
                  <a:pt x="86153" y="66067"/>
                  <a:pt x="86153" y="67415"/>
                  <a:pt x="86153" y="67415"/>
                </a:cubicBezTo>
                <a:cubicBezTo>
                  <a:pt x="86153" y="67415"/>
                  <a:pt x="87692" y="68764"/>
                  <a:pt x="87692" y="68764"/>
                </a:cubicBezTo>
                <a:cubicBezTo>
                  <a:pt x="87692" y="70112"/>
                  <a:pt x="89230" y="71460"/>
                  <a:pt x="89230" y="71460"/>
                </a:cubicBezTo>
                <a:cubicBezTo>
                  <a:pt x="89230" y="71460"/>
                  <a:pt x="89230" y="71460"/>
                  <a:pt x="90769" y="71460"/>
                </a:cubicBezTo>
                <a:cubicBezTo>
                  <a:pt x="90769" y="72808"/>
                  <a:pt x="90769" y="72808"/>
                  <a:pt x="90769" y="72808"/>
                </a:cubicBezTo>
                <a:cubicBezTo>
                  <a:pt x="93846" y="71460"/>
                  <a:pt x="93846" y="71460"/>
                  <a:pt x="93846" y="71460"/>
                </a:cubicBezTo>
                <a:cubicBezTo>
                  <a:pt x="96923" y="68764"/>
                  <a:pt x="96923" y="68764"/>
                  <a:pt x="96923" y="68764"/>
                </a:cubicBezTo>
                <a:cubicBezTo>
                  <a:pt x="96923" y="68764"/>
                  <a:pt x="101538" y="67415"/>
                  <a:pt x="101538" y="67415"/>
                </a:cubicBezTo>
                <a:cubicBezTo>
                  <a:pt x="101538" y="67415"/>
                  <a:pt x="103076" y="64719"/>
                  <a:pt x="103076" y="64719"/>
                </a:cubicBezTo>
                <a:cubicBezTo>
                  <a:pt x="104615" y="64719"/>
                  <a:pt x="104615" y="64719"/>
                  <a:pt x="104615" y="64719"/>
                </a:cubicBezTo>
                <a:cubicBezTo>
                  <a:pt x="104615" y="64719"/>
                  <a:pt x="104615" y="64719"/>
                  <a:pt x="104615" y="64719"/>
                </a:cubicBezTo>
                <a:cubicBezTo>
                  <a:pt x="103076" y="62022"/>
                  <a:pt x="106153" y="59325"/>
                  <a:pt x="104615" y="56629"/>
                </a:cubicBezTo>
                <a:cubicBezTo>
                  <a:pt x="104615" y="56629"/>
                  <a:pt x="103076" y="55280"/>
                  <a:pt x="103076" y="55280"/>
                </a:cubicBezTo>
                <a:cubicBezTo>
                  <a:pt x="103076" y="55280"/>
                  <a:pt x="103076" y="55280"/>
                  <a:pt x="103076" y="55280"/>
                </a:cubicBezTo>
                <a:cubicBezTo>
                  <a:pt x="103076" y="55280"/>
                  <a:pt x="103076" y="55280"/>
                  <a:pt x="103076" y="55280"/>
                </a:cubicBezTo>
                <a:cubicBezTo>
                  <a:pt x="100000" y="52584"/>
                  <a:pt x="95384" y="51235"/>
                  <a:pt x="96923" y="51235"/>
                </a:cubicBezTo>
                <a:cubicBezTo>
                  <a:pt x="98461" y="48539"/>
                  <a:pt x="104615" y="49887"/>
                  <a:pt x="107692" y="48539"/>
                </a:cubicBezTo>
                <a:cubicBezTo>
                  <a:pt x="109230" y="48539"/>
                  <a:pt x="109230" y="45842"/>
                  <a:pt x="110769" y="44494"/>
                </a:cubicBezTo>
                <a:cubicBezTo>
                  <a:pt x="112307" y="44494"/>
                  <a:pt x="115384" y="45842"/>
                  <a:pt x="115384" y="43146"/>
                </a:cubicBezTo>
                <a:cubicBezTo>
                  <a:pt x="115384" y="40449"/>
                  <a:pt x="118461" y="40449"/>
                  <a:pt x="120000" y="41797"/>
                </a:cubicBezTo>
                <a:cubicBezTo>
                  <a:pt x="120000" y="41797"/>
                  <a:pt x="120000" y="41797"/>
                  <a:pt x="120000" y="41797"/>
                </a:cubicBezTo>
                <a:cubicBezTo>
                  <a:pt x="118461" y="39101"/>
                  <a:pt x="113846" y="36404"/>
                  <a:pt x="112307" y="35056"/>
                </a:cubicBezTo>
                <a:cubicBezTo>
                  <a:pt x="112307" y="35056"/>
                  <a:pt x="112307" y="33707"/>
                  <a:pt x="109230" y="33707"/>
                </a:cubicBezTo>
                <a:cubicBezTo>
                  <a:pt x="107692" y="33707"/>
                  <a:pt x="104615" y="31011"/>
                  <a:pt x="104615" y="31011"/>
                </a:cubicBezTo>
                <a:cubicBezTo>
                  <a:pt x="100000" y="31011"/>
                  <a:pt x="100000" y="31011"/>
                  <a:pt x="100000" y="31011"/>
                </a:cubicBezTo>
                <a:cubicBezTo>
                  <a:pt x="100000" y="31011"/>
                  <a:pt x="95384" y="26966"/>
                  <a:pt x="95384" y="26966"/>
                </a:cubicBezTo>
                <a:cubicBezTo>
                  <a:pt x="93846" y="26966"/>
                  <a:pt x="89230" y="25617"/>
                  <a:pt x="89230" y="25617"/>
                </a:cubicBezTo>
                <a:cubicBezTo>
                  <a:pt x="89230" y="22921"/>
                  <a:pt x="89230" y="22921"/>
                  <a:pt x="89230" y="22921"/>
                </a:cubicBezTo>
                <a:cubicBezTo>
                  <a:pt x="89230" y="22921"/>
                  <a:pt x="87692" y="22921"/>
                  <a:pt x="87692" y="22921"/>
                </a:cubicBezTo>
                <a:cubicBezTo>
                  <a:pt x="86153" y="22921"/>
                  <a:pt x="84615" y="24269"/>
                  <a:pt x="84615" y="24269"/>
                </a:cubicBezTo>
                <a:cubicBezTo>
                  <a:pt x="80000" y="25617"/>
                  <a:pt x="80000" y="25617"/>
                  <a:pt x="80000" y="25617"/>
                </a:cubicBezTo>
                <a:cubicBezTo>
                  <a:pt x="80000" y="25617"/>
                  <a:pt x="76923" y="25617"/>
                  <a:pt x="76923" y="25617"/>
                </a:cubicBezTo>
                <a:cubicBezTo>
                  <a:pt x="75384" y="24269"/>
                  <a:pt x="73846" y="21573"/>
                  <a:pt x="73846" y="21573"/>
                </a:cubicBezTo>
                <a:cubicBezTo>
                  <a:pt x="73846" y="21573"/>
                  <a:pt x="73846" y="21573"/>
                  <a:pt x="72307" y="21573"/>
                </a:cubicBezTo>
                <a:cubicBezTo>
                  <a:pt x="70769" y="22921"/>
                  <a:pt x="73846" y="24269"/>
                  <a:pt x="70769" y="22921"/>
                </a:cubicBezTo>
                <a:cubicBezTo>
                  <a:pt x="66153" y="21573"/>
                  <a:pt x="66153" y="21573"/>
                  <a:pt x="66153" y="21573"/>
                </a:cubicBezTo>
                <a:cubicBezTo>
                  <a:pt x="63076" y="18876"/>
                  <a:pt x="63076" y="18876"/>
                  <a:pt x="63076" y="18876"/>
                </a:cubicBezTo>
                <a:cubicBezTo>
                  <a:pt x="61538" y="18876"/>
                  <a:pt x="61538" y="18876"/>
                  <a:pt x="61538" y="18876"/>
                </a:cubicBezTo>
                <a:cubicBezTo>
                  <a:pt x="60000" y="18876"/>
                  <a:pt x="60000" y="18876"/>
                  <a:pt x="60000" y="18876"/>
                </a:cubicBezTo>
                <a:cubicBezTo>
                  <a:pt x="60000" y="18876"/>
                  <a:pt x="58461" y="16179"/>
                  <a:pt x="58461" y="16179"/>
                </a:cubicBezTo>
                <a:cubicBezTo>
                  <a:pt x="58461" y="16179"/>
                  <a:pt x="58461" y="13483"/>
                  <a:pt x="58461" y="13483"/>
                </a:cubicBezTo>
                <a:cubicBezTo>
                  <a:pt x="56923" y="13483"/>
                  <a:pt x="52307" y="12134"/>
                  <a:pt x="52307" y="12134"/>
                </a:cubicBezTo>
                <a:cubicBezTo>
                  <a:pt x="50769" y="9438"/>
                  <a:pt x="50769" y="9438"/>
                  <a:pt x="50769" y="9438"/>
                </a:cubicBezTo>
                <a:cubicBezTo>
                  <a:pt x="50769" y="9438"/>
                  <a:pt x="50769" y="9438"/>
                  <a:pt x="50769" y="9438"/>
                </a:cubicBezTo>
                <a:cubicBezTo>
                  <a:pt x="49230" y="9438"/>
                  <a:pt x="46153" y="8089"/>
                  <a:pt x="46153" y="8089"/>
                </a:cubicBezTo>
                <a:cubicBezTo>
                  <a:pt x="44615" y="6741"/>
                  <a:pt x="44615" y="6741"/>
                  <a:pt x="44615" y="6741"/>
                </a:cubicBezTo>
                <a:cubicBezTo>
                  <a:pt x="40000" y="6741"/>
                  <a:pt x="40000" y="6741"/>
                  <a:pt x="40000" y="6741"/>
                </a:cubicBezTo>
                <a:cubicBezTo>
                  <a:pt x="38461" y="4044"/>
                  <a:pt x="38461" y="4044"/>
                  <a:pt x="38461" y="4044"/>
                </a:cubicBezTo>
                <a:cubicBezTo>
                  <a:pt x="38461" y="4044"/>
                  <a:pt x="36923" y="2696"/>
                  <a:pt x="36923" y="2696"/>
                </a:cubicBezTo>
                <a:cubicBezTo>
                  <a:pt x="38461" y="2696"/>
                  <a:pt x="38461" y="0"/>
                  <a:pt x="38461" y="0"/>
                </a:cubicBezTo>
                <a:cubicBezTo>
                  <a:pt x="35384" y="0"/>
                  <a:pt x="35384" y="0"/>
                  <a:pt x="35384" y="0"/>
                </a:cubicBezTo>
                <a:cubicBezTo>
                  <a:pt x="35384" y="0"/>
                  <a:pt x="32307" y="1348"/>
                  <a:pt x="32307" y="1348"/>
                </a:cubicBezTo>
                <a:cubicBezTo>
                  <a:pt x="32307" y="1348"/>
                  <a:pt x="30769" y="2696"/>
                  <a:pt x="30769" y="2696"/>
                </a:cubicBezTo>
                <a:cubicBezTo>
                  <a:pt x="29230" y="2696"/>
                  <a:pt x="29230" y="2696"/>
                  <a:pt x="29230" y="2696"/>
                </a:cubicBezTo>
                <a:cubicBezTo>
                  <a:pt x="27692" y="1348"/>
                  <a:pt x="27692" y="1348"/>
                  <a:pt x="27692" y="1348"/>
                </a:cubicBezTo>
                <a:cubicBezTo>
                  <a:pt x="26153" y="0"/>
                  <a:pt x="26153" y="0"/>
                  <a:pt x="26153" y="0"/>
                </a:cubicBezTo>
                <a:cubicBezTo>
                  <a:pt x="23076" y="2696"/>
                  <a:pt x="23076" y="2696"/>
                  <a:pt x="23076" y="2696"/>
                </a:cubicBezTo>
                <a:cubicBezTo>
                  <a:pt x="21538" y="4044"/>
                  <a:pt x="21538" y="4044"/>
                  <a:pt x="21538" y="4044"/>
                </a:cubicBezTo>
                <a:cubicBezTo>
                  <a:pt x="21538" y="4044"/>
                  <a:pt x="21538" y="5393"/>
                  <a:pt x="21538" y="5393"/>
                </a:cubicBezTo>
                <a:cubicBezTo>
                  <a:pt x="21538" y="5393"/>
                  <a:pt x="24615" y="5393"/>
                  <a:pt x="24615" y="5393"/>
                </a:cubicBezTo>
                <a:cubicBezTo>
                  <a:pt x="24615" y="8089"/>
                  <a:pt x="24615" y="8089"/>
                  <a:pt x="24615" y="8089"/>
                </a:cubicBezTo>
                <a:cubicBezTo>
                  <a:pt x="24615" y="8089"/>
                  <a:pt x="24615" y="8089"/>
                  <a:pt x="26153" y="8089"/>
                </a:cubicBezTo>
                <a:cubicBezTo>
                  <a:pt x="26153" y="8089"/>
                  <a:pt x="27692" y="9438"/>
                  <a:pt x="27692" y="9438"/>
                </a:cubicBezTo>
                <a:cubicBezTo>
                  <a:pt x="29230" y="10786"/>
                  <a:pt x="29230" y="10786"/>
                  <a:pt x="29230" y="10786"/>
                </a:cubicBezTo>
                <a:cubicBezTo>
                  <a:pt x="29230" y="13483"/>
                  <a:pt x="29230" y="13483"/>
                  <a:pt x="29230" y="13483"/>
                </a:cubicBezTo>
                <a:cubicBezTo>
                  <a:pt x="32307" y="14831"/>
                  <a:pt x="32307" y="14831"/>
                  <a:pt x="32307" y="14831"/>
                </a:cubicBezTo>
                <a:cubicBezTo>
                  <a:pt x="32307" y="17528"/>
                  <a:pt x="32307" y="17528"/>
                  <a:pt x="32307" y="17528"/>
                </a:cubicBezTo>
                <a:cubicBezTo>
                  <a:pt x="30769" y="18876"/>
                  <a:pt x="30769" y="18876"/>
                  <a:pt x="30769" y="18876"/>
                </a:cubicBezTo>
                <a:cubicBezTo>
                  <a:pt x="29230" y="20224"/>
                  <a:pt x="29230" y="20224"/>
                  <a:pt x="29230" y="20224"/>
                </a:cubicBezTo>
                <a:cubicBezTo>
                  <a:pt x="26153" y="20224"/>
                  <a:pt x="26153" y="20224"/>
                  <a:pt x="26153" y="20224"/>
                </a:cubicBezTo>
                <a:cubicBezTo>
                  <a:pt x="26153" y="18876"/>
                  <a:pt x="26153" y="18876"/>
                  <a:pt x="26153" y="18876"/>
                </a:cubicBezTo>
                <a:cubicBezTo>
                  <a:pt x="24615" y="16179"/>
                  <a:pt x="24615" y="16179"/>
                  <a:pt x="24615" y="16179"/>
                </a:cubicBezTo>
                <a:cubicBezTo>
                  <a:pt x="23076" y="14831"/>
                  <a:pt x="23076" y="14831"/>
                  <a:pt x="23076" y="14831"/>
                </a:cubicBezTo>
                <a:cubicBezTo>
                  <a:pt x="18461" y="16179"/>
                  <a:pt x="18461" y="16179"/>
                  <a:pt x="18461" y="16179"/>
                </a:cubicBezTo>
                <a:cubicBezTo>
                  <a:pt x="18461" y="18876"/>
                  <a:pt x="18461" y="18876"/>
                  <a:pt x="18461" y="18876"/>
                </a:cubicBezTo>
                <a:cubicBezTo>
                  <a:pt x="10769" y="24269"/>
                  <a:pt x="10769" y="24269"/>
                  <a:pt x="10769" y="24269"/>
                </a:cubicBezTo>
                <a:cubicBezTo>
                  <a:pt x="12307" y="26966"/>
                  <a:pt x="12307" y="26966"/>
                  <a:pt x="12307" y="26966"/>
                </a:cubicBezTo>
                <a:cubicBezTo>
                  <a:pt x="9230" y="29662"/>
                  <a:pt x="9230" y="29662"/>
                  <a:pt x="9230" y="29662"/>
                </a:cubicBezTo>
                <a:cubicBezTo>
                  <a:pt x="9230" y="33707"/>
                  <a:pt x="9230" y="33707"/>
                  <a:pt x="9230" y="33707"/>
                </a:cubicBezTo>
                <a:cubicBezTo>
                  <a:pt x="10769" y="37752"/>
                  <a:pt x="10769" y="37752"/>
                  <a:pt x="10769" y="37752"/>
                </a:cubicBezTo>
                <a:cubicBezTo>
                  <a:pt x="10769" y="40449"/>
                  <a:pt x="10769" y="40449"/>
                  <a:pt x="10769" y="40449"/>
                </a:cubicBezTo>
                <a:cubicBezTo>
                  <a:pt x="4615" y="41797"/>
                  <a:pt x="4615" y="41797"/>
                  <a:pt x="4615" y="41797"/>
                </a:cubicBezTo>
                <a:cubicBezTo>
                  <a:pt x="0" y="43146"/>
                  <a:pt x="0" y="43146"/>
                  <a:pt x="0" y="43146"/>
                </a:cubicBezTo>
                <a:cubicBezTo>
                  <a:pt x="0" y="47191"/>
                  <a:pt x="0" y="47191"/>
                  <a:pt x="0" y="47191"/>
                </a:cubicBezTo>
                <a:cubicBezTo>
                  <a:pt x="0" y="48539"/>
                  <a:pt x="0" y="48539"/>
                  <a:pt x="0" y="48539"/>
                </a:cubicBezTo>
                <a:cubicBezTo>
                  <a:pt x="4615" y="53932"/>
                  <a:pt x="4615" y="53932"/>
                  <a:pt x="4615" y="53932"/>
                </a:cubicBezTo>
                <a:cubicBezTo>
                  <a:pt x="3076" y="55280"/>
                  <a:pt x="3076" y="55280"/>
                  <a:pt x="3076" y="55280"/>
                </a:cubicBezTo>
                <a:cubicBezTo>
                  <a:pt x="1538" y="56629"/>
                  <a:pt x="1538" y="56629"/>
                  <a:pt x="1538" y="56629"/>
                </a:cubicBezTo>
                <a:cubicBezTo>
                  <a:pt x="6153" y="62022"/>
                  <a:pt x="6153" y="62022"/>
                  <a:pt x="6153" y="62022"/>
                </a:cubicBezTo>
                <a:cubicBezTo>
                  <a:pt x="7692" y="63370"/>
                  <a:pt x="7692" y="63370"/>
                  <a:pt x="7692" y="63370"/>
                </a:cubicBezTo>
                <a:cubicBezTo>
                  <a:pt x="10769" y="63370"/>
                  <a:pt x="10769" y="63370"/>
                  <a:pt x="10769" y="63370"/>
                </a:cubicBezTo>
                <a:cubicBezTo>
                  <a:pt x="10769" y="66067"/>
                  <a:pt x="10769" y="66067"/>
                  <a:pt x="10769" y="66067"/>
                </a:cubicBezTo>
                <a:cubicBezTo>
                  <a:pt x="10769" y="67415"/>
                  <a:pt x="10769" y="67415"/>
                  <a:pt x="10769" y="67415"/>
                </a:cubicBezTo>
                <a:cubicBezTo>
                  <a:pt x="10769" y="70112"/>
                  <a:pt x="10769" y="70112"/>
                  <a:pt x="10769" y="70112"/>
                </a:cubicBezTo>
                <a:cubicBezTo>
                  <a:pt x="7692" y="72808"/>
                  <a:pt x="7692" y="72808"/>
                  <a:pt x="7692" y="72808"/>
                </a:cubicBezTo>
                <a:cubicBezTo>
                  <a:pt x="9230" y="75505"/>
                  <a:pt x="9230" y="75505"/>
                  <a:pt x="9230" y="75505"/>
                </a:cubicBezTo>
                <a:cubicBezTo>
                  <a:pt x="6153" y="74157"/>
                  <a:pt x="6153" y="74157"/>
                  <a:pt x="6153" y="74157"/>
                </a:cubicBezTo>
                <a:cubicBezTo>
                  <a:pt x="4615" y="76853"/>
                  <a:pt x="4615" y="76853"/>
                  <a:pt x="4615" y="76853"/>
                </a:cubicBezTo>
                <a:cubicBezTo>
                  <a:pt x="6153" y="78202"/>
                  <a:pt x="6153" y="78202"/>
                  <a:pt x="6153" y="78202"/>
                </a:cubicBezTo>
                <a:cubicBezTo>
                  <a:pt x="4615" y="79550"/>
                  <a:pt x="4615" y="79550"/>
                  <a:pt x="4615" y="79550"/>
                </a:cubicBezTo>
                <a:cubicBezTo>
                  <a:pt x="7692" y="82247"/>
                  <a:pt x="7692" y="82247"/>
                  <a:pt x="7692" y="82247"/>
                </a:cubicBezTo>
                <a:cubicBezTo>
                  <a:pt x="13846" y="83595"/>
                  <a:pt x="13846" y="83595"/>
                  <a:pt x="13846" y="83595"/>
                </a:cubicBezTo>
                <a:cubicBezTo>
                  <a:pt x="16923" y="82247"/>
                  <a:pt x="16923" y="82247"/>
                  <a:pt x="16923" y="82247"/>
                </a:cubicBezTo>
                <a:cubicBezTo>
                  <a:pt x="18461" y="80898"/>
                  <a:pt x="18461" y="80898"/>
                  <a:pt x="18461" y="80898"/>
                </a:cubicBezTo>
                <a:cubicBezTo>
                  <a:pt x="16923" y="79550"/>
                  <a:pt x="16923" y="79550"/>
                  <a:pt x="16923" y="79550"/>
                </a:cubicBezTo>
                <a:cubicBezTo>
                  <a:pt x="16923" y="79550"/>
                  <a:pt x="16923" y="78202"/>
                  <a:pt x="18461" y="78202"/>
                </a:cubicBezTo>
                <a:cubicBezTo>
                  <a:pt x="18461" y="76853"/>
                  <a:pt x="20000" y="76853"/>
                  <a:pt x="20000" y="76853"/>
                </a:cubicBezTo>
                <a:cubicBezTo>
                  <a:pt x="20000" y="78202"/>
                  <a:pt x="20000" y="78202"/>
                  <a:pt x="20000" y="78202"/>
                </a:cubicBezTo>
                <a:cubicBezTo>
                  <a:pt x="24615" y="78202"/>
                  <a:pt x="24615" y="78202"/>
                  <a:pt x="24615" y="78202"/>
                </a:cubicBezTo>
                <a:cubicBezTo>
                  <a:pt x="24615" y="80898"/>
                  <a:pt x="24615" y="80898"/>
                  <a:pt x="24615" y="80898"/>
                </a:cubicBezTo>
                <a:cubicBezTo>
                  <a:pt x="23076" y="82247"/>
                  <a:pt x="23076" y="82247"/>
                  <a:pt x="23076" y="82247"/>
                </a:cubicBezTo>
                <a:cubicBezTo>
                  <a:pt x="21538" y="80898"/>
                  <a:pt x="21538" y="80898"/>
                  <a:pt x="21538" y="80898"/>
                </a:cubicBezTo>
                <a:cubicBezTo>
                  <a:pt x="21538" y="80898"/>
                  <a:pt x="21538" y="82247"/>
                  <a:pt x="21538" y="82247"/>
                </a:cubicBezTo>
                <a:cubicBezTo>
                  <a:pt x="21538" y="82247"/>
                  <a:pt x="21538" y="86292"/>
                  <a:pt x="21538" y="86292"/>
                </a:cubicBezTo>
                <a:cubicBezTo>
                  <a:pt x="21538" y="86292"/>
                  <a:pt x="21538" y="87640"/>
                  <a:pt x="20000" y="86292"/>
                </a:cubicBezTo>
                <a:cubicBezTo>
                  <a:pt x="20000" y="86292"/>
                  <a:pt x="18461" y="84943"/>
                  <a:pt x="18461" y="84943"/>
                </a:cubicBezTo>
                <a:cubicBezTo>
                  <a:pt x="13846" y="83595"/>
                  <a:pt x="13846" y="83595"/>
                  <a:pt x="13846" y="83595"/>
                </a:cubicBezTo>
                <a:cubicBezTo>
                  <a:pt x="12307" y="84943"/>
                  <a:pt x="12307" y="84943"/>
                  <a:pt x="12307" y="84943"/>
                </a:cubicBezTo>
                <a:cubicBezTo>
                  <a:pt x="12307" y="84943"/>
                  <a:pt x="12307" y="86292"/>
                  <a:pt x="12307" y="87640"/>
                </a:cubicBezTo>
                <a:cubicBezTo>
                  <a:pt x="13846" y="87640"/>
                  <a:pt x="15384" y="87640"/>
                  <a:pt x="15384" y="87640"/>
                </a:cubicBezTo>
                <a:cubicBezTo>
                  <a:pt x="15384" y="87640"/>
                  <a:pt x="18461" y="87640"/>
                  <a:pt x="18461" y="87640"/>
                </a:cubicBezTo>
                <a:cubicBezTo>
                  <a:pt x="18461" y="87640"/>
                  <a:pt x="18461" y="87640"/>
                  <a:pt x="20000" y="87640"/>
                </a:cubicBezTo>
                <a:cubicBezTo>
                  <a:pt x="20000" y="87640"/>
                  <a:pt x="23076" y="87640"/>
                  <a:pt x="23076" y="87640"/>
                </a:cubicBezTo>
                <a:cubicBezTo>
                  <a:pt x="23076" y="90337"/>
                  <a:pt x="23076" y="90337"/>
                  <a:pt x="23076" y="90337"/>
                </a:cubicBezTo>
                <a:cubicBezTo>
                  <a:pt x="26153" y="93033"/>
                  <a:pt x="26153" y="93033"/>
                  <a:pt x="26153" y="93033"/>
                </a:cubicBezTo>
                <a:cubicBezTo>
                  <a:pt x="32307" y="93033"/>
                  <a:pt x="32307" y="93033"/>
                  <a:pt x="32307" y="93033"/>
                </a:cubicBezTo>
                <a:cubicBezTo>
                  <a:pt x="33846" y="93033"/>
                  <a:pt x="33846" y="93033"/>
                  <a:pt x="33846" y="93033"/>
                </a:cubicBezTo>
                <a:cubicBezTo>
                  <a:pt x="38461" y="95730"/>
                  <a:pt x="38461" y="95730"/>
                  <a:pt x="38461" y="95730"/>
                </a:cubicBezTo>
                <a:cubicBezTo>
                  <a:pt x="38461" y="95730"/>
                  <a:pt x="40000" y="98426"/>
                  <a:pt x="41538" y="98426"/>
                </a:cubicBezTo>
                <a:cubicBezTo>
                  <a:pt x="41538" y="98426"/>
                  <a:pt x="43076" y="101123"/>
                  <a:pt x="43076" y="101123"/>
                </a:cubicBezTo>
                <a:cubicBezTo>
                  <a:pt x="46153" y="101123"/>
                  <a:pt x="46153" y="101123"/>
                  <a:pt x="46153" y="101123"/>
                </a:cubicBezTo>
                <a:cubicBezTo>
                  <a:pt x="47692" y="101123"/>
                  <a:pt x="47692" y="101123"/>
                  <a:pt x="47692" y="101123"/>
                </a:cubicBezTo>
                <a:cubicBezTo>
                  <a:pt x="47692" y="101123"/>
                  <a:pt x="49230" y="102471"/>
                  <a:pt x="49230" y="102471"/>
                </a:cubicBezTo>
                <a:cubicBezTo>
                  <a:pt x="47692" y="103820"/>
                  <a:pt x="47692" y="103820"/>
                  <a:pt x="47692" y="103820"/>
                </a:cubicBezTo>
                <a:cubicBezTo>
                  <a:pt x="49230" y="106516"/>
                  <a:pt x="49230" y="106516"/>
                  <a:pt x="49230" y="106516"/>
                </a:cubicBezTo>
                <a:cubicBezTo>
                  <a:pt x="52307" y="106516"/>
                  <a:pt x="52307" y="106516"/>
                  <a:pt x="52307" y="106516"/>
                </a:cubicBezTo>
                <a:cubicBezTo>
                  <a:pt x="52307" y="106516"/>
                  <a:pt x="52307" y="106516"/>
                  <a:pt x="52307" y="107865"/>
                </a:cubicBezTo>
                <a:cubicBezTo>
                  <a:pt x="52307" y="107865"/>
                  <a:pt x="53846" y="110561"/>
                  <a:pt x="53846" y="110561"/>
                </a:cubicBezTo>
                <a:cubicBezTo>
                  <a:pt x="53846" y="111910"/>
                  <a:pt x="53846" y="111910"/>
                  <a:pt x="53846" y="111910"/>
                </a:cubicBezTo>
                <a:cubicBezTo>
                  <a:pt x="53846" y="111910"/>
                  <a:pt x="55384" y="111910"/>
                  <a:pt x="55384" y="113258"/>
                </a:cubicBezTo>
                <a:cubicBezTo>
                  <a:pt x="55384" y="113258"/>
                  <a:pt x="55384" y="113258"/>
                  <a:pt x="55384" y="114606"/>
                </a:cubicBezTo>
                <a:cubicBezTo>
                  <a:pt x="56923" y="114606"/>
                  <a:pt x="60000" y="114606"/>
                  <a:pt x="60000" y="114606"/>
                </a:cubicBezTo>
                <a:cubicBezTo>
                  <a:pt x="61538" y="115955"/>
                  <a:pt x="61538" y="115955"/>
                  <a:pt x="61538" y="115955"/>
                </a:cubicBezTo>
                <a:cubicBezTo>
                  <a:pt x="63076" y="117303"/>
                  <a:pt x="63076" y="117303"/>
                  <a:pt x="63076" y="117303"/>
                </a:cubicBezTo>
                <a:lnTo>
                  <a:pt x="64615" y="117303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" name="Google Shape;3015;p256">
            <a:extLst>
              <a:ext uri="{FF2B5EF4-FFF2-40B4-BE49-F238E27FC236}">
                <a16:creationId xmlns:a16="http://schemas.microsoft.com/office/drawing/2014/main" id="{28514E7A-50F8-F63C-195B-4A8BFD5A1A3B}"/>
              </a:ext>
            </a:extLst>
          </p:cNvPr>
          <p:cNvSpPr/>
          <p:nvPr/>
        </p:nvSpPr>
        <p:spPr>
          <a:xfrm>
            <a:off x="10230460" y="5099918"/>
            <a:ext cx="388428" cy="33011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3773" y="116129"/>
                </a:moveTo>
                <a:cubicBezTo>
                  <a:pt x="23773" y="116129"/>
                  <a:pt x="22641" y="116129"/>
                  <a:pt x="21509" y="116129"/>
                </a:cubicBezTo>
                <a:cubicBezTo>
                  <a:pt x="20377" y="116129"/>
                  <a:pt x="19245" y="118709"/>
                  <a:pt x="18113" y="118709"/>
                </a:cubicBezTo>
                <a:cubicBezTo>
                  <a:pt x="18113" y="118709"/>
                  <a:pt x="18113" y="118709"/>
                  <a:pt x="18113" y="117419"/>
                </a:cubicBezTo>
                <a:cubicBezTo>
                  <a:pt x="18113" y="116129"/>
                  <a:pt x="18113" y="116129"/>
                  <a:pt x="16981" y="114838"/>
                </a:cubicBezTo>
                <a:cubicBezTo>
                  <a:pt x="16981" y="113548"/>
                  <a:pt x="16981" y="110967"/>
                  <a:pt x="15849" y="109677"/>
                </a:cubicBezTo>
                <a:cubicBezTo>
                  <a:pt x="14716" y="108387"/>
                  <a:pt x="14716" y="107096"/>
                  <a:pt x="14716" y="107096"/>
                </a:cubicBezTo>
                <a:cubicBezTo>
                  <a:pt x="14716" y="107096"/>
                  <a:pt x="12452" y="107096"/>
                  <a:pt x="11320" y="107096"/>
                </a:cubicBezTo>
                <a:cubicBezTo>
                  <a:pt x="11320" y="107096"/>
                  <a:pt x="10188" y="107096"/>
                  <a:pt x="10188" y="107096"/>
                </a:cubicBezTo>
                <a:cubicBezTo>
                  <a:pt x="10188" y="107096"/>
                  <a:pt x="9056" y="104516"/>
                  <a:pt x="10188" y="104516"/>
                </a:cubicBezTo>
                <a:cubicBezTo>
                  <a:pt x="10188" y="103225"/>
                  <a:pt x="9056" y="101935"/>
                  <a:pt x="7924" y="100645"/>
                </a:cubicBezTo>
                <a:cubicBezTo>
                  <a:pt x="7924" y="100645"/>
                  <a:pt x="5660" y="96774"/>
                  <a:pt x="5660" y="96774"/>
                </a:cubicBezTo>
                <a:cubicBezTo>
                  <a:pt x="5660" y="96774"/>
                  <a:pt x="4528" y="96774"/>
                  <a:pt x="4528" y="95483"/>
                </a:cubicBezTo>
                <a:cubicBezTo>
                  <a:pt x="4528" y="94193"/>
                  <a:pt x="4528" y="92903"/>
                  <a:pt x="4528" y="92903"/>
                </a:cubicBezTo>
                <a:cubicBezTo>
                  <a:pt x="3396" y="90322"/>
                  <a:pt x="3396" y="90322"/>
                  <a:pt x="3396" y="90322"/>
                </a:cubicBezTo>
                <a:cubicBezTo>
                  <a:pt x="3396" y="90322"/>
                  <a:pt x="5660" y="89032"/>
                  <a:pt x="5660" y="87741"/>
                </a:cubicBezTo>
                <a:cubicBezTo>
                  <a:pt x="5660" y="87741"/>
                  <a:pt x="6792" y="86451"/>
                  <a:pt x="5660" y="85161"/>
                </a:cubicBezTo>
                <a:cubicBezTo>
                  <a:pt x="5660" y="83870"/>
                  <a:pt x="3396" y="82580"/>
                  <a:pt x="3396" y="82580"/>
                </a:cubicBezTo>
                <a:cubicBezTo>
                  <a:pt x="2264" y="81290"/>
                  <a:pt x="1132" y="80000"/>
                  <a:pt x="0" y="78709"/>
                </a:cubicBezTo>
                <a:cubicBezTo>
                  <a:pt x="0" y="77419"/>
                  <a:pt x="0" y="76129"/>
                  <a:pt x="0" y="76129"/>
                </a:cubicBezTo>
                <a:cubicBezTo>
                  <a:pt x="0" y="76129"/>
                  <a:pt x="0" y="74838"/>
                  <a:pt x="1132" y="74838"/>
                </a:cubicBezTo>
                <a:cubicBezTo>
                  <a:pt x="2264" y="73548"/>
                  <a:pt x="3396" y="73548"/>
                  <a:pt x="3396" y="72258"/>
                </a:cubicBezTo>
                <a:cubicBezTo>
                  <a:pt x="3396" y="72258"/>
                  <a:pt x="4528" y="72258"/>
                  <a:pt x="4528" y="70967"/>
                </a:cubicBezTo>
                <a:cubicBezTo>
                  <a:pt x="3396" y="69677"/>
                  <a:pt x="2264" y="68387"/>
                  <a:pt x="2264" y="68387"/>
                </a:cubicBezTo>
                <a:cubicBezTo>
                  <a:pt x="3396" y="64516"/>
                  <a:pt x="3396" y="64516"/>
                  <a:pt x="3396" y="64516"/>
                </a:cubicBezTo>
                <a:cubicBezTo>
                  <a:pt x="2264" y="63225"/>
                  <a:pt x="2264" y="63225"/>
                  <a:pt x="2264" y="63225"/>
                </a:cubicBezTo>
                <a:cubicBezTo>
                  <a:pt x="2264" y="58064"/>
                  <a:pt x="2264" y="58064"/>
                  <a:pt x="2264" y="58064"/>
                </a:cubicBezTo>
                <a:cubicBezTo>
                  <a:pt x="2264" y="56774"/>
                  <a:pt x="2264" y="56774"/>
                  <a:pt x="2264" y="56774"/>
                </a:cubicBezTo>
                <a:cubicBezTo>
                  <a:pt x="2264" y="56774"/>
                  <a:pt x="3396" y="54193"/>
                  <a:pt x="3396" y="54193"/>
                </a:cubicBezTo>
                <a:cubicBezTo>
                  <a:pt x="3396" y="52903"/>
                  <a:pt x="3396" y="50322"/>
                  <a:pt x="3396" y="50322"/>
                </a:cubicBezTo>
                <a:cubicBezTo>
                  <a:pt x="3396" y="50322"/>
                  <a:pt x="3396" y="50322"/>
                  <a:pt x="3396" y="50322"/>
                </a:cubicBezTo>
                <a:cubicBezTo>
                  <a:pt x="5660" y="51612"/>
                  <a:pt x="9056" y="50322"/>
                  <a:pt x="10188" y="50322"/>
                </a:cubicBezTo>
                <a:cubicBezTo>
                  <a:pt x="12452" y="50322"/>
                  <a:pt x="12452" y="46451"/>
                  <a:pt x="11320" y="42580"/>
                </a:cubicBezTo>
                <a:cubicBezTo>
                  <a:pt x="11320" y="40000"/>
                  <a:pt x="12452" y="37419"/>
                  <a:pt x="12452" y="34838"/>
                </a:cubicBezTo>
                <a:cubicBezTo>
                  <a:pt x="13584" y="32258"/>
                  <a:pt x="16981" y="30967"/>
                  <a:pt x="20377" y="28387"/>
                </a:cubicBezTo>
                <a:cubicBezTo>
                  <a:pt x="22641" y="25806"/>
                  <a:pt x="22641" y="23225"/>
                  <a:pt x="26037" y="23225"/>
                </a:cubicBezTo>
                <a:cubicBezTo>
                  <a:pt x="26037" y="23225"/>
                  <a:pt x="27169" y="23225"/>
                  <a:pt x="28301" y="24516"/>
                </a:cubicBezTo>
                <a:cubicBezTo>
                  <a:pt x="28301" y="24516"/>
                  <a:pt x="28301" y="25806"/>
                  <a:pt x="29433" y="27096"/>
                </a:cubicBezTo>
                <a:cubicBezTo>
                  <a:pt x="29433" y="27096"/>
                  <a:pt x="29433" y="27096"/>
                  <a:pt x="30566" y="27096"/>
                </a:cubicBezTo>
                <a:cubicBezTo>
                  <a:pt x="32830" y="30967"/>
                  <a:pt x="35094" y="33548"/>
                  <a:pt x="35094" y="23225"/>
                </a:cubicBezTo>
                <a:cubicBezTo>
                  <a:pt x="36226" y="14193"/>
                  <a:pt x="41886" y="16774"/>
                  <a:pt x="46415" y="14193"/>
                </a:cubicBezTo>
                <a:cubicBezTo>
                  <a:pt x="46415" y="14193"/>
                  <a:pt x="46415" y="14193"/>
                  <a:pt x="47547" y="12903"/>
                </a:cubicBezTo>
                <a:cubicBezTo>
                  <a:pt x="48679" y="14193"/>
                  <a:pt x="49811" y="14193"/>
                  <a:pt x="50943" y="14193"/>
                </a:cubicBezTo>
                <a:cubicBezTo>
                  <a:pt x="52075" y="14193"/>
                  <a:pt x="52075" y="14193"/>
                  <a:pt x="52075" y="14193"/>
                </a:cubicBezTo>
                <a:cubicBezTo>
                  <a:pt x="52075" y="14193"/>
                  <a:pt x="55471" y="9032"/>
                  <a:pt x="55471" y="9032"/>
                </a:cubicBezTo>
                <a:cubicBezTo>
                  <a:pt x="56603" y="9032"/>
                  <a:pt x="58867" y="7741"/>
                  <a:pt x="58867" y="7741"/>
                </a:cubicBezTo>
                <a:cubicBezTo>
                  <a:pt x="61132" y="3870"/>
                  <a:pt x="61132" y="3870"/>
                  <a:pt x="61132" y="3870"/>
                </a:cubicBezTo>
                <a:cubicBezTo>
                  <a:pt x="61132" y="3870"/>
                  <a:pt x="63396" y="5161"/>
                  <a:pt x="64528" y="5161"/>
                </a:cubicBezTo>
                <a:cubicBezTo>
                  <a:pt x="65660" y="5161"/>
                  <a:pt x="66792" y="5161"/>
                  <a:pt x="69056" y="5161"/>
                </a:cubicBezTo>
                <a:cubicBezTo>
                  <a:pt x="70188" y="3870"/>
                  <a:pt x="70188" y="3870"/>
                  <a:pt x="70188" y="3870"/>
                </a:cubicBezTo>
                <a:cubicBezTo>
                  <a:pt x="70188" y="3870"/>
                  <a:pt x="72452" y="1290"/>
                  <a:pt x="74716" y="1290"/>
                </a:cubicBezTo>
                <a:cubicBezTo>
                  <a:pt x="76981" y="0"/>
                  <a:pt x="76981" y="1290"/>
                  <a:pt x="76981" y="1290"/>
                </a:cubicBezTo>
                <a:cubicBezTo>
                  <a:pt x="76981" y="1290"/>
                  <a:pt x="80377" y="1290"/>
                  <a:pt x="82641" y="1290"/>
                </a:cubicBezTo>
                <a:cubicBezTo>
                  <a:pt x="82641" y="1290"/>
                  <a:pt x="82641" y="0"/>
                  <a:pt x="82641" y="0"/>
                </a:cubicBezTo>
                <a:cubicBezTo>
                  <a:pt x="86037" y="2580"/>
                  <a:pt x="86037" y="6451"/>
                  <a:pt x="89433" y="10322"/>
                </a:cubicBezTo>
                <a:cubicBezTo>
                  <a:pt x="93962" y="15483"/>
                  <a:pt x="98490" y="14193"/>
                  <a:pt x="106415" y="19354"/>
                </a:cubicBezTo>
                <a:cubicBezTo>
                  <a:pt x="106415" y="20645"/>
                  <a:pt x="110943" y="24516"/>
                  <a:pt x="112075" y="28387"/>
                </a:cubicBezTo>
                <a:cubicBezTo>
                  <a:pt x="113207" y="33548"/>
                  <a:pt x="117735" y="33548"/>
                  <a:pt x="118867" y="38709"/>
                </a:cubicBezTo>
                <a:cubicBezTo>
                  <a:pt x="118867" y="42580"/>
                  <a:pt x="116603" y="43870"/>
                  <a:pt x="116603" y="47741"/>
                </a:cubicBezTo>
                <a:cubicBezTo>
                  <a:pt x="116603" y="51612"/>
                  <a:pt x="118867" y="60645"/>
                  <a:pt x="120000" y="61935"/>
                </a:cubicBezTo>
                <a:cubicBezTo>
                  <a:pt x="120000" y="61935"/>
                  <a:pt x="120000" y="63225"/>
                  <a:pt x="120000" y="63225"/>
                </a:cubicBezTo>
                <a:cubicBezTo>
                  <a:pt x="109811" y="65806"/>
                  <a:pt x="109811" y="65806"/>
                  <a:pt x="109811" y="65806"/>
                </a:cubicBezTo>
                <a:cubicBezTo>
                  <a:pt x="110943" y="77419"/>
                  <a:pt x="110943" y="77419"/>
                  <a:pt x="110943" y="77419"/>
                </a:cubicBezTo>
                <a:cubicBezTo>
                  <a:pt x="105283" y="82580"/>
                  <a:pt x="105283" y="82580"/>
                  <a:pt x="105283" y="82580"/>
                </a:cubicBezTo>
                <a:cubicBezTo>
                  <a:pt x="105283" y="82580"/>
                  <a:pt x="91698" y="85161"/>
                  <a:pt x="90566" y="85161"/>
                </a:cubicBezTo>
                <a:cubicBezTo>
                  <a:pt x="89433" y="85161"/>
                  <a:pt x="83773" y="86451"/>
                  <a:pt x="81509" y="87741"/>
                </a:cubicBezTo>
                <a:cubicBezTo>
                  <a:pt x="79245" y="87741"/>
                  <a:pt x="75849" y="90322"/>
                  <a:pt x="74716" y="90322"/>
                </a:cubicBezTo>
                <a:cubicBezTo>
                  <a:pt x="72452" y="91612"/>
                  <a:pt x="71320" y="98064"/>
                  <a:pt x="71320" y="98064"/>
                </a:cubicBezTo>
                <a:cubicBezTo>
                  <a:pt x="71320" y="98064"/>
                  <a:pt x="67924" y="103225"/>
                  <a:pt x="66792" y="104516"/>
                </a:cubicBezTo>
                <a:cubicBezTo>
                  <a:pt x="65660" y="105806"/>
                  <a:pt x="60000" y="109677"/>
                  <a:pt x="60000" y="109677"/>
                </a:cubicBezTo>
                <a:cubicBezTo>
                  <a:pt x="60000" y="109677"/>
                  <a:pt x="54339" y="109677"/>
                  <a:pt x="53207" y="109677"/>
                </a:cubicBezTo>
                <a:cubicBezTo>
                  <a:pt x="50943" y="109677"/>
                  <a:pt x="48679" y="112258"/>
                  <a:pt x="46415" y="112258"/>
                </a:cubicBezTo>
                <a:cubicBezTo>
                  <a:pt x="43018" y="113548"/>
                  <a:pt x="40754" y="114838"/>
                  <a:pt x="39622" y="114838"/>
                </a:cubicBezTo>
                <a:cubicBezTo>
                  <a:pt x="38490" y="114838"/>
                  <a:pt x="32830" y="116129"/>
                  <a:pt x="32830" y="116129"/>
                </a:cubicBezTo>
                <a:cubicBezTo>
                  <a:pt x="32830" y="120000"/>
                  <a:pt x="32830" y="120000"/>
                  <a:pt x="32830" y="120000"/>
                </a:cubicBezTo>
                <a:cubicBezTo>
                  <a:pt x="32830" y="120000"/>
                  <a:pt x="31698" y="120000"/>
                  <a:pt x="31698" y="120000"/>
                </a:cubicBezTo>
                <a:cubicBezTo>
                  <a:pt x="31698" y="120000"/>
                  <a:pt x="31698" y="120000"/>
                  <a:pt x="30566" y="120000"/>
                </a:cubicBezTo>
                <a:cubicBezTo>
                  <a:pt x="30566" y="118709"/>
                  <a:pt x="30566" y="118709"/>
                  <a:pt x="30566" y="118709"/>
                </a:cubicBezTo>
                <a:cubicBezTo>
                  <a:pt x="28301" y="116129"/>
                  <a:pt x="28301" y="116129"/>
                  <a:pt x="28301" y="116129"/>
                </a:cubicBezTo>
                <a:cubicBezTo>
                  <a:pt x="28301" y="116129"/>
                  <a:pt x="27169" y="117419"/>
                  <a:pt x="26037" y="117419"/>
                </a:cubicBezTo>
                <a:cubicBezTo>
                  <a:pt x="24905" y="117419"/>
                  <a:pt x="24905" y="116129"/>
                  <a:pt x="23773" y="116129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3016;p256">
            <a:extLst>
              <a:ext uri="{FF2B5EF4-FFF2-40B4-BE49-F238E27FC236}">
                <a16:creationId xmlns:a16="http://schemas.microsoft.com/office/drawing/2014/main" id="{F93A7925-1418-E461-E804-030662633303}"/>
              </a:ext>
            </a:extLst>
          </p:cNvPr>
          <p:cNvSpPr/>
          <p:nvPr/>
        </p:nvSpPr>
        <p:spPr>
          <a:xfrm>
            <a:off x="9541671" y="3775229"/>
            <a:ext cx="715169" cy="38698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6000" y="59449"/>
                </a:moveTo>
                <a:cubicBezTo>
                  <a:pt x="17846" y="57247"/>
                  <a:pt x="17846" y="57247"/>
                  <a:pt x="17846" y="57247"/>
                </a:cubicBezTo>
                <a:cubicBezTo>
                  <a:pt x="17846" y="57247"/>
                  <a:pt x="17846" y="53944"/>
                  <a:pt x="18461" y="55045"/>
                </a:cubicBezTo>
                <a:cubicBezTo>
                  <a:pt x="18461" y="55045"/>
                  <a:pt x="19692" y="53944"/>
                  <a:pt x="19692" y="53944"/>
                </a:cubicBezTo>
                <a:cubicBezTo>
                  <a:pt x="20307" y="51743"/>
                  <a:pt x="20307" y="51743"/>
                  <a:pt x="20307" y="51743"/>
                </a:cubicBezTo>
                <a:cubicBezTo>
                  <a:pt x="20923" y="48440"/>
                  <a:pt x="20923" y="48440"/>
                  <a:pt x="20923" y="48440"/>
                </a:cubicBezTo>
                <a:cubicBezTo>
                  <a:pt x="24000" y="46238"/>
                  <a:pt x="24000" y="46238"/>
                  <a:pt x="24000" y="46238"/>
                </a:cubicBezTo>
                <a:cubicBezTo>
                  <a:pt x="24615" y="40733"/>
                  <a:pt x="24615" y="40733"/>
                  <a:pt x="24615" y="40733"/>
                </a:cubicBezTo>
                <a:cubicBezTo>
                  <a:pt x="24000" y="37431"/>
                  <a:pt x="24000" y="37431"/>
                  <a:pt x="24000" y="37431"/>
                </a:cubicBezTo>
                <a:cubicBezTo>
                  <a:pt x="24000" y="37431"/>
                  <a:pt x="24000" y="33027"/>
                  <a:pt x="24615" y="33027"/>
                </a:cubicBezTo>
                <a:cubicBezTo>
                  <a:pt x="25230" y="33027"/>
                  <a:pt x="27076" y="30825"/>
                  <a:pt x="27076" y="30825"/>
                </a:cubicBezTo>
                <a:cubicBezTo>
                  <a:pt x="28923" y="27522"/>
                  <a:pt x="28923" y="27522"/>
                  <a:pt x="28923" y="27522"/>
                </a:cubicBezTo>
                <a:cubicBezTo>
                  <a:pt x="28923" y="25321"/>
                  <a:pt x="28923" y="25321"/>
                  <a:pt x="28923" y="25321"/>
                </a:cubicBezTo>
                <a:cubicBezTo>
                  <a:pt x="30153" y="20917"/>
                  <a:pt x="30153" y="20917"/>
                  <a:pt x="30153" y="20917"/>
                </a:cubicBezTo>
                <a:cubicBezTo>
                  <a:pt x="31384" y="18715"/>
                  <a:pt x="31384" y="18715"/>
                  <a:pt x="31384" y="18715"/>
                </a:cubicBezTo>
                <a:cubicBezTo>
                  <a:pt x="32615" y="16513"/>
                  <a:pt x="32615" y="16513"/>
                  <a:pt x="32615" y="16513"/>
                </a:cubicBezTo>
                <a:cubicBezTo>
                  <a:pt x="34461" y="15412"/>
                  <a:pt x="34461" y="15412"/>
                  <a:pt x="34461" y="15412"/>
                </a:cubicBezTo>
                <a:cubicBezTo>
                  <a:pt x="34461" y="15412"/>
                  <a:pt x="35076" y="15412"/>
                  <a:pt x="35692" y="15412"/>
                </a:cubicBezTo>
                <a:cubicBezTo>
                  <a:pt x="36307" y="15412"/>
                  <a:pt x="36923" y="14311"/>
                  <a:pt x="36923" y="14311"/>
                </a:cubicBezTo>
                <a:cubicBezTo>
                  <a:pt x="37538" y="14311"/>
                  <a:pt x="39384" y="14311"/>
                  <a:pt x="39384" y="14311"/>
                </a:cubicBezTo>
                <a:cubicBezTo>
                  <a:pt x="39384" y="14311"/>
                  <a:pt x="40615" y="12110"/>
                  <a:pt x="40615" y="13211"/>
                </a:cubicBezTo>
                <a:cubicBezTo>
                  <a:pt x="40615" y="15412"/>
                  <a:pt x="40615" y="16513"/>
                  <a:pt x="40615" y="16513"/>
                </a:cubicBezTo>
                <a:cubicBezTo>
                  <a:pt x="41230" y="17614"/>
                  <a:pt x="41846" y="19816"/>
                  <a:pt x="41846" y="19816"/>
                </a:cubicBezTo>
                <a:cubicBezTo>
                  <a:pt x="41846" y="19816"/>
                  <a:pt x="43076" y="19816"/>
                  <a:pt x="43692" y="18715"/>
                </a:cubicBezTo>
                <a:cubicBezTo>
                  <a:pt x="44307" y="17614"/>
                  <a:pt x="45538" y="16513"/>
                  <a:pt x="45538" y="16513"/>
                </a:cubicBezTo>
                <a:cubicBezTo>
                  <a:pt x="45538" y="16513"/>
                  <a:pt x="46769" y="18715"/>
                  <a:pt x="46769" y="17614"/>
                </a:cubicBezTo>
                <a:cubicBezTo>
                  <a:pt x="46769" y="16513"/>
                  <a:pt x="46769" y="12110"/>
                  <a:pt x="46769" y="12110"/>
                </a:cubicBezTo>
                <a:cubicBezTo>
                  <a:pt x="48000" y="8807"/>
                  <a:pt x="48000" y="8807"/>
                  <a:pt x="48000" y="8807"/>
                </a:cubicBezTo>
                <a:cubicBezTo>
                  <a:pt x="48000" y="8807"/>
                  <a:pt x="49230" y="8807"/>
                  <a:pt x="49230" y="7706"/>
                </a:cubicBezTo>
                <a:cubicBezTo>
                  <a:pt x="49230" y="6605"/>
                  <a:pt x="50461" y="4403"/>
                  <a:pt x="50461" y="4403"/>
                </a:cubicBezTo>
                <a:cubicBezTo>
                  <a:pt x="52307" y="4403"/>
                  <a:pt x="52307" y="4403"/>
                  <a:pt x="52307" y="4403"/>
                </a:cubicBezTo>
                <a:cubicBezTo>
                  <a:pt x="53538" y="11009"/>
                  <a:pt x="53538" y="11009"/>
                  <a:pt x="53538" y="11009"/>
                </a:cubicBezTo>
                <a:cubicBezTo>
                  <a:pt x="55384" y="13211"/>
                  <a:pt x="55384" y="13211"/>
                  <a:pt x="55384" y="13211"/>
                </a:cubicBezTo>
                <a:cubicBezTo>
                  <a:pt x="56000" y="14311"/>
                  <a:pt x="56000" y="14311"/>
                  <a:pt x="56000" y="14311"/>
                </a:cubicBezTo>
                <a:cubicBezTo>
                  <a:pt x="57230" y="15412"/>
                  <a:pt x="57230" y="15412"/>
                  <a:pt x="57230" y="15412"/>
                </a:cubicBezTo>
                <a:cubicBezTo>
                  <a:pt x="59076" y="15412"/>
                  <a:pt x="59076" y="15412"/>
                  <a:pt x="59076" y="15412"/>
                </a:cubicBezTo>
                <a:cubicBezTo>
                  <a:pt x="59076" y="16513"/>
                  <a:pt x="59076" y="16513"/>
                  <a:pt x="59076" y="16513"/>
                </a:cubicBezTo>
                <a:cubicBezTo>
                  <a:pt x="60307" y="18715"/>
                  <a:pt x="60307" y="18715"/>
                  <a:pt x="60307" y="18715"/>
                </a:cubicBezTo>
                <a:cubicBezTo>
                  <a:pt x="60923" y="22018"/>
                  <a:pt x="60923" y="22018"/>
                  <a:pt x="60923" y="22018"/>
                </a:cubicBezTo>
                <a:cubicBezTo>
                  <a:pt x="59692" y="24220"/>
                  <a:pt x="59692" y="24220"/>
                  <a:pt x="59692" y="24220"/>
                </a:cubicBezTo>
                <a:cubicBezTo>
                  <a:pt x="59692" y="25321"/>
                  <a:pt x="59692" y="25321"/>
                  <a:pt x="59692" y="25321"/>
                </a:cubicBezTo>
                <a:cubicBezTo>
                  <a:pt x="60307" y="26422"/>
                  <a:pt x="60307" y="26422"/>
                  <a:pt x="60307" y="26422"/>
                </a:cubicBezTo>
                <a:cubicBezTo>
                  <a:pt x="60307" y="26422"/>
                  <a:pt x="60923" y="26422"/>
                  <a:pt x="60923" y="26422"/>
                </a:cubicBezTo>
                <a:cubicBezTo>
                  <a:pt x="60923" y="26422"/>
                  <a:pt x="62153" y="25321"/>
                  <a:pt x="62769" y="25321"/>
                </a:cubicBezTo>
                <a:cubicBezTo>
                  <a:pt x="62769" y="25321"/>
                  <a:pt x="62769" y="24220"/>
                  <a:pt x="62769" y="24220"/>
                </a:cubicBezTo>
                <a:cubicBezTo>
                  <a:pt x="62769" y="24220"/>
                  <a:pt x="64000" y="23119"/>
                  <a:pt x="64000" y="23119"/>
                </a:cubicBezTo>
                <a:cubicBezTo>
                  <a:pt x="64000" y="23119"/>
                  <a:pt x="64615" y="23119"/>
                  <a:pt x="64615" y="23119"/>
                </a:cubicBezTo>
                <a:cubicBezTo>
                  <a:pt x="64615" y="24220"/>
                  <a:pt x="65230" y="25321"/>
                  <a:pt x="65230" y="25321"/>
                </a:cubicBezTo>
                <a:cubicBezTo>
                  <a:pt x="65230" y="25321"/>
                  <a:pt x="65846" y="24220"/>
                  <a:pt x="65846" y="25321"/>
                </a:cubicBezTo>
                <a:cubicBezTo>
                  <a:pt x="65846" y="25321"/>
                  <a:pt x="66461" y="25321"/>
                  <a:pt x="66461" y="25321"/>
                </a:cubicBezTo>
                <a:cubicBezTo>
                  <a:pt x="66461" y="25321"/>
                  <a:pt x="66461" y="25321"/>
                  <a:pt x="66461" y="24220"/>
                </a:cubicBezTo>
                <a:cubicBezTo>
                  <a:pt x="66461" y="22018"/>
                  <a:pt x="66461" y="22018"/>
                  <a:pt x="66461" y="22018"/>
                </a:cubicBezTo>
                <a:cubicBezTo>
                  <a:pt x="66461" y="20917"/>
                  <a:pt x="66461" y="19816"/>
                  <a:pt x="66461" y="19816"/>
                </a:cubicBezTo>
                <a:cubicBezTo>
                  <a:pt x="67076" y="18715"/>
                  <a:pt x="67076" y="18715"/>
                  <a:pt x="67076" y="17614"/>
                </a:cubicBezTo>
                <a:cubicBezTo>
                  <a:pt x="67076" y="17614"/>
                  <a:pt x="66461" y="16513"/>
                  <a:pt x="67076" y="16513"/>
                </a:cubicBezTo>
                <a:cubicBezTo>
                  <a:pt x="67692" y="16513"/>
                  <a:pt x="68307" y="16513"/>
                  <a:pt x="68307" y="16513"/>
                </a:cubicBezTo>
                <a:cubicBezTo>
                  <a:pt x="68307" y="16513"/>
                  <a:pt x="68307" y="15412"/>
                  <a:pt x="68307" y="15412"/>
                </a:cubicBezTo>
                <a:cubicBezTo>
                  <a:pt x="68307" y="15412"/>
                  <a:pt x="68923" y="14311"/>
                  <a:pt x="69538" y="14311"/>
                </a:cubicBezTo>
                <a:cubicBezTo>
                  <a:pt x="69538" y="14311"/>
                  <a:pt x="69538" y="15412"/>
                  <a:pt x="70153" y="14311"/>
                </a:cubicBezTo>
                <a:cubicBezTo>
                  <a:pt x="70769" y="13211"/>
                  <a:pt x="70153" y="13211"/>
                  <a:pt x="70153" y="13211"/>
                </a:cubicBezTo>
                <a:cubicBezTo>
                  <a:pt x="70153" y="12110"/>
                  <a:pt x="70153" y="12110"/>
                  <a:pt x="70153" y="12110"/>
                </a:cubicBezTo>
                <a:cubicBezTo>
                  <a:pt x="70769" y="11009"/>
                  <a:pt x="70153" y="12110"/>
                  <a:pt x="71384" y="12110"/>
                </a:cubicBezTo>
                <a:cubicBezTo>
                  <a:pt x="72000" y="11009"/>
                  <a:pt x="72615" y="11009"/>
                  <a:pt x="72615" y="11009"/>
                </a:cubicBezTo>
                <a:cubicBezTo>
                  <a:pt x="72615" y="11009"/>
                  <a:pt x="72615" y="9908"/>
                  <a:pt x="72615" y="9908"/>
                </a:cubicBezTo>
                <a:cubicBezTo>
                  <a:pt x="73846" y="8807"/>
                  <a:pt x="73846" y="8807"/>
                  <a:pt x="73846" y="8807"/>
                </a:cubicBezTo>
                <a:cubicBezTo>
                  <a:pt x="73846" y="8807"/>
                  <a:pt x="73846" y="9908"/>
                  <a:pt x="73846" y="9908"/>
                </a:cubicBezTo>
                <a:cubicBezTo>
                  <a:pt x="73846" y="9908"/>
                  <a:pt x="74461" y="9908"/>
                  <a:pt x="75076" y="9908"/>
                </a:cubicBezTo>
                <a:cubicBezTo>
                  <a:pt x="75076" y="9908"/>
                  <a:pt x="75692" y="11009"/>
                  <a:pt x="75692" y="9908"/>
                </a:cubicBezTo>
                <a:cubicBezTo>
                  <a:pt x="75692" y="9908"/>
                  <a:pt x="76307" y="9908"/>
                  <a:pt x="76307" y="8807"/>
                </a:cubicBezTo>
                <a:cubicBezTo>
                  <a:pt x="76307" y="8807"/>
                  <a:pt x="76307" y="8807"/>
                  <a:pt x="76307" y="8807"/>
                </a:cubicBezTo>
                <a:cubicBezTo>
                  <a:pt x="76307" y="8807"/>
                  <a:pt x="76307" y="7706"/>
                  <a:pt x="76923" y="7706"/>
                </a:cubicBezTo>
                <a:cubicBezTo>
                  <a:pt x="77538" y="8807"/>
                  <a:pt x="76923" y="8807"/>
                  <a:pt x="77538" y="8807"/>
                </a:cubicBezTo>
                <a:cubicBezTo>
                  <a:pt x="77538" y="7706"/>
                  <a:pt x="78769" y="6605"/>
                  <a:pt x="78769" y="6605"/>
                </a:cubicBezTo>
                <a:cubicBezTo>
                  <a:pt x="78769" y="6605"/>
                  <a:pt x="78769" y="6605"/>
                  <a:pt x="79384" y="8807"/>
                </a:cubicBezTo>
                <a:cubicBezTo>
                  <a:pt x="79384" y="9908"/>
                  <a:pt x="80000" y="9908"/>
                  <a:pt x="80615" y="9908"/>
                </a:cubicBezTo>
                <a:cubicBezTo>
                  <a:pt x="80615" y="9908"/>
                  <a:pt x="80615" y="9908"/>
                  <a:pt x="80615" y="9908"/>
                </a:cubicBezTo>
                <a:cubicBezTo>
                  <a:pt x="80615" y="11009"/>
                  <a:pt x="81230" y="12110"/>
                  <a:pt x="81230" y="12110"/>
                </a:cubicBezTo>
                <a:cubicBezTo>
                  <a:pt x="81846" y="12110"/>
                  <a:pt x="81846" y="12110"/>
                  <a:pt x="81846" y="12110"/>
                </a:cubicBezTo>
                <a:cubicBezTo>
                  <a:pt x="82461" y="11009"/>
                  <a:pt x="82461" y="11009"/>
                  <a:pt x="82461" y="11009"/>
                </a:cubicBezTo>
                <a:cubicBezTo>
                  <a:pt x="82461" y="11009"/>
                  <a:pt x="82461" y="12110"/>
                  <a:pt x="83076" y="12110"/>
                </a:cubicBezTo>
                <a:cubicBezTo>
                  <a:pt x="83692" y="12110"/>
                  <a:pt x="84307" y="13211"/>
                  <a:pt x="84307" y="13211"/>
                </a:cubicBezTo>
                <a:cubicBezTo>
                  <a:pt x="84307" y="12110"/>
                  <a:pt x="84923" y="11009"/>
                  <a:pt x="84923" y="11009"/>
                </a:cubicBezTo>
                <a:cubicBezTo>
                  <a:pt x="84923" y="9908"/>
                  <a:pt x="84923" y="9908"/>
                  <a:pt x="85538" y="8807"/>
                </a:cubicBezTo>
                <a:cubicBezTo>
                  <a:pt x="85538" y="8807"/>
                  <a:pt x="87384" y="7706"/>
                  <a:pt x="87384" y="7706"/>
                </a:cubicBezTo>
                <a:cubicBezTo>
                  <a:pt x="87384" y="7706"/>
                  <a:pt x="86769" y="5504"/>
                  <a:pt x="86153" y="5504"/>
                </a:cubicBezTo>
                <a:cubicBezTo>
                  <a:pt x="86153" y="5504"/>
                  <a:pt x="85538" y="4403"/>
                  <a:pt x="86769" y="3302"/>
                </a:cubicBezTo>
                <a:cubicBezTo>
                  <a:pt x="87384" y="3302"/>
                  <a:pt x="88000" y="3302"/>
                  <a:pt x="88000" y="3302"/>
                </a:cubicBezTo>
                <a:cubicBezTo>
                  <a:pt x="89230" y="4403"/>
                  <a:pt x="89230" y="4403"/>
                  <a:pt x="89230" y="4403"/>
                </a:cubicBezTo>
                <a:cubicBezTo>
                  <a:pt x="89230" y="3302"/>
                  <a:pt x="89230" y="3302"/>
                  <a:pt x="89230" y="3302"/>
                </a:cubicBezTo>
                <a:cubicBezTo>
                  <a:pt x="89846" y="2201"/>
                  <a:pt x="89846" y="2201"/>
                  <a:pt x="89846" y="2201"/>
                </a:cubicBezTo>
                <a:cubicBezTo>
                  <a:pt x="89846" y="2201"/>
                  <a:pt x="90461" y="1100"/>
                  <a:pt x="90461" y="1100"/>
                </a:cubicBezTo>
                <a:cubicBezTo>
                  <a:pt x="90461" y="1100"/>
                  <a:pt x="91076" y="1100"/>
                  <a:pt x="91076" y="1100"/>
                </a:cubicBezTo>
                <a:cubicBezTo>
                  <a:pt x="91692" y="1100"/>
                  <a:pt x="92307" y="1100"/>
                  <a:pt x="92307" y="1100"/>
                </a:cubicBezTo>
                <a:cubicBezTo>
                  <a:pt x="92307" y="1100"/>
                  <a:pt x="92923" y="2201"/>
                  <a:pt x="92923" y="2201"/>
                </a:cubicBezTo>
                <a:cubicBezTo>
                  <a:pt x="93538" y="2201"/>
                  <a:pt x="94153" y="2201"/>
                  <a:pt x="94153" y="2201"/>
                </a:cubicBezTo>
                <a:cubicBezTo>
                  <a:pt x="94153" y="2201"/>
                  <a:pt x="94769" y="3302"/>
                  <a:pt x="94769" y="2201"/>
                </a:cubicBezTo>
                <a:cubicBezTo>
                  <a:pt x="95384" y="2201"/>
                  <a:pt x="95384" y="1100"/>
                  <a:pt x="95384" y="1100"/>
                </a:cubicBezTo>
                <a:cubicBezTo>
                  <a:pt x="95384" y="1100"/>
                  <a:pt x="97846" y="0"/>
                  <a:pt x="97846" y="0"/>
                </a:cubicBezTo>
                <a:cubicBezTo>
                  <a:pt x="97846" y="0"/>
                  <a:pt x="98461" y="0"/>
                  <a:pt x="98461" y="0"/>
                </a:cubicBezTo>
                <a:cubicBezTo>
                  <a:pt x="99076" y="1100"/>
                  <a:pt x="99692" y="1100"/>
                  <a:pt x="99692" y="1100"/>
                </a:cubicBezTo>
                <a:cubicBezTo>
                  <a:pt x="100307" y="1100"/>
                  <a:pt x="100923" y="2201"/>
                  <a:pt x="100923" y="2201"/>
                </a:cubicBezTo>
                <a:cubicBezTo>
                  <a:pt x="101538" y="3302"/>
                  <a:pt x="102153" y="3302"/>
                  <a:pt x="102153" y="3302"/>
                </a:cubicBezTo>
                <a:cubicBezTo>
                  <a:pt x="102153" y="3302"/>
                  <a:pt x="102153" y="1100"/>
                  <a:pt x="102153" y="1100"/>
                </a:cubicBezTo>
                <a:cubicBezTo>
                  <a:pt x="102769" y="1100"/>
                  <a:pt x="103384" y="1100"/>
                  <a:pt x="103384" y="1100"/>
                </a:cubicBezTo>
                <a:cubicBezTo>
                  <a:pt x="104000" y="2201"/>
                  <a:pt x="104000" y="2201"/>
                  <a:pt x="104000" y="2201"/>
                </a:cubicBezTo>
                <a:cubicBezTo>
                  <a:pt x="104000" y="2201"/>
                  <a:pt x="104615" y="3302"/>
                  <a:pt x="105230" y="3302"/>
                </a:cubicBezTo>
                <a:cubicBezTo>
                  <a:pt x="105230" y="3302"/>
                  <a:pt x="105846" y="2201"/>
                  <a:pt x="105846" y="2201"/>
                </a:cubicBezTo>
                <a:cubicBezTo>
                  <a:pt x="105846" y="3302"/>
                  <a:pt x="106461" y="3302"/>
                  <a:pt x="106461" y="4403"/>
                </a:cubicBezTo>
                <a:cubicBezTo>
                  <a:pt x="106461" y="4403"/>
                  <a:pt x="107076" y="5504"/>
                  <a:pt x="107076" y="5504"/>
                </a:cubicBezTo>
                <a:cubicBezTo>
                  <a:pt x="107076" y="6605"/>
                  <a:pt x="107692" y="6605"/>
                  <a:pt x="107692" y="6605"/>
                </a:cubicBezTo>
                <a:cubicBezTo>
                  <a:pt x="107692" y="7706"/>
                  <a:pt x="107692" y="8807"/>
                  <a:pt x="107692" y="8807"/>
                </a:cubicBezTo>
                <a:cubicBezTo>
                  <a:pt x="107692" y="8807"/>
                  <a:pt x="107692" y="8807"/>
                  <a:pt x="107692" y="9908"/>
                </a:cubicBezTo>
                <a:cubicBezTo>
                  <a:pt x="108307" y="9908"/>
                  <a:pt x="110153" y="9908"/>
                  <a:pt x="110153" y="9908"/>
                </a:cubicBezTo>
                <a:cubicBezTo>
                  <a:pt x="110153" y="9908"/>
                  <a:pt x="110769" y="9908"/>
                  <a:pt x="110769" y="11009"/>
                </a:cubicBezTo>
                <a:cubicBezTo>
                  <a:pt x="110769" y="11009"/>
                  <a:pt x="112000" y="11009"/>
                  <a:pt x="112000" y="11009"/>
                </a:cubicBezTo>
                <a:cubicBezTo>
                  <a:pt x="112000" y="11009"/>
                  <a:pt x="112615" y="9908"/>
                  <a:pt x="112615" y="11009"/>
                </a:cubicBezTo>
                <a:cubicBezTo>
                  <a:pt x="112615" y="11009"/>
                  <a:pt x="112615" y="12110"/>
                  <a:pt x="112615" y="12110"/>
                </a:cubicBezTo>
                <a:cubicBezTo>
                  <a:pt x="113846" y="12110"/>
                  <a:pt x="113846" y="12110"/>
                  <a:pt x="113846" y="12110"/>
                </a:cubicBezTo>
                <a:cubicBezTo>
                  <a:pt x="114461" y="12110"/>
                  <a:pt x="114461" y="12110"/>
                  <a:pt x="114461" y="12110"/>
                </a:cubicBezTo>
                <a:cubicBezTo>
                  <a:pt x="114461" y="12110"/>
                  <a:pt x="115076" y="11009"/>
                  <a:pt x="115076" y="12110"/>
                </a:cubicBezTo>
                <a:cubicBezTo>
                  <a:pt x="115076" y="12110"/>
                  <a:pt x="115692" y="12110"/>
                  <a:pt x="115692" y="12110"/>
                </a:cubicBezTo>
                <a:cubicBezTo>
                  <a:pt x="115692" y="12110"/>
                  <a:pt x="116923" y="13211"/>
                  <a:pt x="116923" y="13211"/>
                </a:cubicBezTo>
                <a:cubicBezTo>
                  <a:pt x="116923" y="13211"/>
                  <a:pt x="117538" y="13211"/>
                  <a:pt x="118153" y="13211"/>
                </a:cubicBezTo>
                <a:cubicBezTo>
                  <a:pt x="118153" y="13211"/>
                  <a:pt x="120000" y="13211"/>
                  <a:pt x="120000" y="13211"/>
                </a:cubicBezTo>
                <a:cubicBezTo>
                  <a:pt x="120000" y="13211"/>
                  <a:pt x="120000" y="14311"/>
                  <a:pt x="120000" y="15412"/>
                </a:cubicBezTo>
                <a:cubicBezTo>
                  <a:pt x="120000" y="15412"/>
                  <a:pt x="120000" y="17614"/>
                  <a:pt x="120000" y="17614"/>
                </a:cubicBezTo>
                <a:cubicBezTo>
                  <a:pt x="120000" y="17614"/>
                  <a:pt x="119384" y="18715"/>
                  <a:pt x="119384" y="19816"/>
                </a:cubicBezTo>
                <a:cubicBezTo>
                  <a:pt x="118769" y="19816"/>
                  <a:pt x="118769" y="22018"/>
                  <a:pt x="118769" y="22018"/>
                </a:cubicBezTo>
                <a:cubicBezTo>
                  <a:pt x="118769" y="22018"/>
                  <a:pt x="118769" y="23119"/>
                  <a:pt x="118769" y="23119"/>
                </a:cubicBezTo>
                <a:cubicBezTo>
                  <a:pt x="118769" y="23119"/>
                  <a:pt x="118769" y="25321"/>
                  <a:pt x="118769" y="25321"/>
                </a:cubicBezTo>
                <a:cubicBezTo>
                  <a:pt x="118153" y="27522"/>
                  <a:pt x="118153" y="27522"/>
                  <a:pt x="118153" y="27522"/>
                </a:cubicBezTo>
                <a:cubicBezTo>
                  <a:pt x="118153" y="27522"/>
                  <a:pt x="117538" y="28623"/>
                  <a:pt x="118153" y="29724"/>
                </a:cubicBezTo>
                <a:cubicBezTo>
                  <a:pt x="118153" y="29724"/>
                  <a:pt x="118153" y="30825"/>
                  <a:pt x="118153" y="30825"/>
                </a:cubicBezTo>
                <a:cubicBezTo>
                  <a:pt x="118769" y="31926"/>
                  <a:pt x="118769" y="31926"/>
                  <a:pt x="118769" y="31926"/>
                </a:cubicBezTo>
                <a:cubicBezTo>
                  <a:pt x="117538" y="34128"/>
                  <a:pt x="117538" y="34128"/>
                  <a:pt x="117538" y="34128"/>
                </a:cubicBezTo>
                <a:cubicBezTo>
                  <a:pt x="117538" y="36330"/>
                  <a:pt x="117538" y="36330"/>
                  <a:pt x="117538" y="36330"/>
                </a:cubicBezTo>
                <a:cubicBezTo>
                  <a:pt x="117538" y="36330"/>
                  <a:pt x="118153" y="37431"/>
                  <a:pt x="117538" y="38532"/>
                </a:cubicBezTo>
                <a:cubicBezTo>
                  <a:pt x="117538" y="38532"/>
                  <a:pt x="116923" y="39633"/>
                  <a:pt x="116923" y="39633"/>
                </a:cubicBezTo>
                <a:cubicBezTo>
                  <a:pt x="116923" y="39633"/>
                  <a:pt x="115692" y="41834"/>
                  <a:pt x="115692" y="41834"/>
                </a:cubicBezTo>
                <a:cubicBezTo>
                  <a:pt x="115692" y="41834"/>
                  <a:pt x="115692" y="42935"/>
                  <a:pt x="115692" y="42935"/>
                </a:cubicBezTo>
                <a:cubicBezTo>
                  <a:pt x="115692" y="42935"/>
                  <a:pt x="115076" y="45137"/>
                  <a:pt x="115076" y="45137"/>
                </a:cubicBezTo>
                <a:cubicBezTo>
                  <a:pt x="115076" y="45137"/>
                  <a:pt x="115076" y="48440"/>
                  <a:pt x="115076" y="48440"/>
                </a:cubicBezTo>
                <a:cubicBezTo>
                  <a:pt x="115076" y="48440"/>
                  <a:pt x="115692" y="49541"/>
                  <a:pt x="115692" y="49541"/>
                </a:cubicBezTo>
                <a:cubicBezTo>
                  <a:pt x="115692" y="49541"/>
                  <a:pt x="115692" y="50642"/>
                  <a:pt x="115692" y="51743"/>
                </a:cubicBezTo>
                <a:cubicBezTo>
                  <a:pt x="115076" y="51743"/>
                  <a:pt x="115692" y="52844"/>
                  <a:pt x="115692" y="53944"/>
                </a:cubicBezTo>
                <a:cubicBezTo>
                  <a:pt x="115692" y="53944"/>
                  <a:pt x="115692" y="55045"/>
                  <a:pt x="115692" y="55045"/>
                </a:cubicBezTo>
                <a:cubicBezTo>
                  <a:pt x="115076" y="57247"/>
                  <a:pt x="115076" y="57247"/>
                  <a:pt x="115076" y="57247"/>
                </a:cubicBezTo>
                <a:cubicBezTo>
                  <a:pt x="114461" y="57247"/>
                  <a:pt x="114461" y="57247"/>
                  <a:pt x="114461" y="57247"/>
                </a:cubicBezTo>
                <a:cubicBezTo>
                  <a:pt x="115076" y="60550"/>
                  <a:pt x="115076" y="60550"/>
                  <a:pt x="115076" y="60550"/>
                </a:cubicBezTo>
                <a:cubicBezTo>
                  <a:pt x="113846" y="62752"/>
                  <a:pt x="113846" y="62752"/>
                  <a:pt x="113846" y="62752"/>
                </a:cubicBezTo>
                <a:cubicBezTo>
                  <a:pt x="108923" y="62752"/>
                  <a:pt x="108923" y="62752"/>
                  <a:pt x="108923" y="62752"/>
                </a:cubicBezTo>
                <a:cubicBezTo>
                  <a:pt x="104000" y="53944"/>
                  <a:pt x="104000" y="53944"/>
                  <a:pt x="104000" y="53944"/>
                </a:cubicBezTo>
                <a:cubicBezTo>
                  <a:pt x="100307" y="52844"/>
                  <a:pt x="100307" y="52844"/>
                  <a:pt x="100307" y="52844"/>
                </a:cubicBezTo>
                <a:cubicBezTo>
                  <a:pt x="97230" y="57247"/>
                  <a:pt x="97230" y="57247"/>
                  <a:pt x="97230" y="57247"/>
                </a:cubicBezTo>
                <a:cubicBezTo>
                  <a:pt x="92923" y="58348"/>
                  <a:pt x="92923" y="58348"/>
                  <a:pt x="92923" y="58348"/>
                </a:cubicBezTo>
                <a:cubicBezTo>
                  <a:pt x="89846" y="55045"/>
                  <a:pt x="89846" y="55045"/>
                  <a:pt x="89846" y="55045"/>
                </a:cubicBezTo>
                <a:cubicBezTo>
                  <a:pt x="81230" y="59449"/>
                  <a:pt x="81230" y="59449"/>
                  <a:pt x="81230" y="59449"/>
                </a:cubicBezTo>
                <a:cubicBezTo>
                  <a:pt x="80615" y="62752"/>
                  <a:pt x="80615" y="62752"/>
                  <a:pt x="80615" y="62752"/>
                </a:cubicBezTo>
                <a:cubicBezTo>
                  <a:pt x="79384" y="70458"/>
                  <a:pt x="79384" y="70458"/>
                  <a:pt x="79384" y="70458"/>
                </a:cubicBezTo>
                <a:cubicBezTo>
                  <a:pt x="77538" y="77064"/>
                  <a:pt x="77538" y="77064"/>
                  <a:pt x="77538" y="77064"/>
                </a:cubicBezTo>
                <a:cubicBezTo>
                  <a:pt x="75076" y="79266"/>
                  <a:pt x="75076" y="79266"/>
                  <a:pt x="75076" y="79266"/>
                </a:cubicBezTo>
                <a:cubicBezTo>
                  <a:pt x="73230" y="81467"/>
                  <a:pt x="73230" y="81467"/>
                  <a:pt x="73230" y="81467"/>
                </a:cubicBezTo>
                <a:cubicBezTo>
                  <a:pt x="71384" y="85871"/>
                  <a:pt x="71384" y="85871"/>
                  <a:pt x="71384" y="85871"/>
                </a:cubicBezTo>
                <a:cubicBezTo>
                  <a:pt x="67692" y="85871"/>
                  <a:pt x="67692" y="85871"/>
                  <a:pt x="67692" y="85871"/>
                </a:cubicBezTo>
                <a:cubicBezTo>
                  <a:pt x="65230" y="84770"/>
                  <a:pt x="65230" y="84770"/>
                  <a:pt x="65230" y="84770"/>
                </a:cubicBezTo>
                <a:cubicBezTo>
                  <a:pt x="61538" y="85871"/>
                  <a:pt x="61538" y="85871"/>
                  <a:pt x="61538" y="85871"/>
                </a:cubicBezTo>
                <a:cubicBezTo>
                  <a:pt x="60307" y="92477"/>
                  <a:pt x="60307" y="92477"/>
                  <a:pt x="60307" y="92477"/>
                </a:cubicBezTo>
                <a:cubicBezTo>
                  <a:pt x="57846" y="93577"/>
                  <a:pt x="57846" y="93577"/>
                  <a:pt x="57846" y="93577"/>
                </a:cubicBezTo>
                <a:cubicBezTo>
                  <a:pt x="53538" y="94678"/>
                  <a:pt x="53538" y="94678"/>
                  <a:pt x="53538" y="94678"/>
                </a:cubicBezTo>
                <a:cubicBezTo>
                  <a:pt x="48000" y="97981"/>
                  <a:pt x="48000" y="97981"/>
                  <a:pt x="48000" y="97981"/>
                </a:cubicBezTo>
                <a:cubicBezTo>
                  <a:pt x="44923" y="103486"/>
                  <a:pt x="44923" y="103486"/>
                  <a:pt x="44923" y="103486"/>
                </a:cubicBezTo>
                <a:cubicBezTo>
                  <a:pt x="44923" y="105688"/>
                  <a:pt x="44923" y="105688"/>
                  <a:pt x="44923" y="105688"/>
                </a:cubicBezTo>
                <a:cubicBezTo>
                  <a:pt x="44923" y="105688"/>
                  <a:pt x="47384" y="108990"/>
                  <a:pt x="48615" y="110091"/>
                </a:cubicBezTo>
                <a:cubicBezTo>
                  <a:pt x="49846" y="112293"/>
                  <a:pt x="46153" y="113394"/>
                  <a:pt x="45538" y="114495"/>
                </a:cubicBezTo>
                <a:cubicBezTo>
                  <a:pt x="44923" y="115596"/>
                  <a:pt x="39384" y="116697"/>
                  <a:pt x="39384" y="116697"/>
                </a:cubicBezTo>
                <a:cubicBezTo>
                  <a:pt x="28923" y="117798"/>
                  <a:pt x="28923" y="117798"/>
                  <a:pt x="28923" y="117798"/>
                </a:cubicBezTo>
                <a:cubicBezTo>
                  <a:pt x="23384" y="120000"/>
                  <a:pt x="23384" y="120000"/>
                  <a:pt x="23384" y="120000"/>
                </a:cubicBezTo>
                <a:cubicBezTo>
                  <a:pt x="20923" y="117798"/>
                  <a:pt x="20923" y="117798"/>
                  <a:pt x="20923" y="117798"/>
                </a:cubicBezTo>
                <a:cubicBezTo>
                  <a:pt x="16615" y="113394"/>
                  <a:pt x="16615" y="113394"/>
                  <a:pt x="16615" y="113394"/>
                </a:cubicBezTo>
                <a:cubicBezTo>
                  <a:pt x="13538" y="107889"/>
                  <a:pt x="13538" y="107889"/>
                  <a:pt x="13538" y="107889"/>
                </a:cubicBezTo>
                <a:cubicBezTo>
                  <a:pt x="13538" y="107889"/>
                  <a:pt x="13538" y="107889"/>
                  <a:pt x="13538" y="107889"/>
                </a:cubicBezTo>
                <a:cubicBezTo>
                  <a:pt x="8615" y="106788"/>
                  <a:pt x="8615" y="106788"/>
                  <a:pt x="8615" y="106788"/>
                </a:cubicBezTo>
                <a:cubicBezTo>
                  <a:pt x="8615" y="107889"/>
                  <a:pt x="8615" y="107889"/>
                  <a:pt x="8615" y="107889"/>
                </a:cubicBezTo>
                <a:cubicBezTo>
                  <a:pt x="8615" y="112293"/>
                  <a:pt x="8615" y="112293"/>
                  <a:pt x="8615" y="112293"/>
                </a:cubicBezTo>
                <a:cubicBezTo>
                  <a:pt x="6769" y="116697"/>
                  <a:pt x="6769" y="116697"/>
                  <a:pt x="6769" y="116697"/>
                </a:cubicBezTo>
                <a:cubicBezTo>
                  <a:pt x="5538" y="113394"/>
                  <a:pt x="4923" y="107889"/>
                  <a:pt x="3692" y="102385"/>
                </a:cubicBezTo>
                <a:cubicBezTo>
                  <a:pt x="3692" y="102385"/>
                  <a:pt x="3692" y="101284"/>
                  <a:pt x="3076" y="100183"/>
                </a:cubicBezTo>
                <a:cubicBezTo>
                  <a:pt x="3076" y="99082"/>
                  <a:pt x="2461" y="96880"/>
                  <a:pt x="2461" y="96880"/>
                </a:cubicBezTo>
                <a:cubicBezTo>
                  <a:pt x="2461" y="96880"/>
                  <a:pt x="2461" y="96880"/>
                  <a:pt x="2461" y="96880"/>
                </a:cubicBezTo>
                <a:cubicBezTo>
                  <a:pt x="1846" y="95779"/>
                  <a:pt x="1230" y="94678"/>
                  <a:pt x="1230" y="94678"/>
                </a:cubicBezTo>
                <a:cubicBezTo>
                  <a:pt x="1230" y="94678"/>
                  <a:pt x="1230" y="93577"/>
                  <a:pt x="1230" y="93577"/>
                </a:cubicBezTo>
                <a:cubicBezTo>
                  <a:pt x="615" y="93577"/>
                  <a:pt x="0" y="92477"/>
                  <a:pt x="0" y="92477"/>
                </a:cubicBezTo>
                <a:cubicBezTo>
                  <a:pt x="0" y="92477"/>
                  <a:pt x="0" y="89174"/>
                  <a:pt x="0" y="89174"/>
                </a:cubicBezTo>
                <a:cubicBezTo>
                  <a:pt x="0" y="86972"/>
                  <a:pt x="0" y="86972"/>
                  <a:pt x="0" y="86972"/>
                </a:cubicBezTo>
                <a:cubicBezTo>
                  <a:pt x="1230" y="84770"/>
                  <a:pt x="1230" y="84770"/>
                  <a:pt x="1230" y="84770"/>
                </a:cubicBezTo>
                <a:cubicBezTo>
                  <a:pt x="1230" y="84770"/>
                  <a:pt x="1230" y="82568"/>
                  <a:pt x="1230" y="82568"/>
                </a:cubicBezTo>
                <a:cubicBezTo>
                  <a:pt x="1230" y="82568"/>
                  <a:pt x="1846" y="80366"/>
                  <a:pt x="1846" y="80366"/>
                </a:cubicBezTo>
                <a:cubicBezTo>
                  <a:pt x="1230" y="79266"/>
                  <a:pt x="1230" y="79266"/>
                  <a:pt x="1230" y="79266"/>
                </a:cubicBezTo>
                <a:cubicBezTo>
                  <a:pt x="1230" y="75963"/>
                  <a:pt x="1230" y="75963"/>
                  <a:pt x="1230" y="75963"/>
                </a:cubicBezTo>
                <a:cubicBezTo>
                  <a:pt x="1846" y="74862"/>
                  <a:pt x="1846" y="74862"/>
                  <a:pt x="1846" y="74862"/>
                </a:cubicBezTo>
                <a:cubicBezTo>
                  <a:pt x="1846" y="72660"/>
                  <a:pt x="1846" y="72660"/>
                  <a:pt x="1846" y="72660"/>
                </a:cubicBezTo>
                <a:cubicBezTo>
                  <a:pt x="1846" y="72660"/>
                  <a:pt x="1846" y="71559"/>
                  <a:pt x="1846" y="71559"/>
                </a:cubicBezTo>
                <a:cubicBezTo>
                  <a:pt x="2461" y="71559"/>
                  <a:pt x="2461" y="68256"/>
                  <a:pt x="2461" y="68256"/>
                </a:cubicBezTo>
                <a:cubicBezTo>
                  <a:pt x="2461" y="68256"/>
                  <a:pt x="3076" y="66055"/>
                  <a:pt x="3076" y="66055"/>
                </a:cubicBezTo>
                <a:cubicBezTo>
                  <a:pt x="3692" y="66055"/>
                  <a:pt x="3692" y="64954"/>
                  <a:pt x="3692" y="64954"/>
                </a:cubicBezTo>
                <a:cubicBezTo>
                  <a:pt x="3692" y="63853"/>
                  <a:pt x="3692" y="62752"/>
                  <a:pt x="3692" y="62752"/>
                </a:cubicBezTo>
                <a:cubicBezTo>
                  <a:pt x="4923" y="61651"/>
                  <a:pt x="4923" y="61651"/>
                  <a:pt x="4923" y="61651"/>
                </a:cubicBezTo>
                <a:cubicBezTo>
                  <a:pt x="4923" y="61651"/>
                  <a:pt x="5538" y="60550"/>
                  <a:pt x="5538" y="60550"/>
                </a:cubicBezTo>
                <a:cubicBezTo>
                  <a:pt x="5538" y="60550"/>
                  <a:pt x="6153" y="60550"/>
                  <a:pt x="6769" y="60550"/>
                </a:cubicBezTo>
                <a:cubicBezTo>
                  <a:pt x="6769" y="60550"/>
                  <a:pt x="7384" y="60550"/>
                  <a:pt x="8000" y="60550"/>
                </a:cubicBezTo>
                <a:cubicBezTo>
                  <a:pt x="8000" y="60550"/>
                  <a:pt x="8000" y="61651"/>
                  <a:pt x="8615" y="61651"/>
                </a:cubicBezTo>
                <a:cubicBezTo>
                  <a:pt x="9230" y="61651"/>
                  <a:pt x="9846" y="62752"/>
                  <a:pt x="9846" y="62752"/>
                </a:cubicBezTo>
                <a:cubicBezTo>
                  <a:pt x="10461" y="61651"/>
                  <a:pt x="10461" y="61651"/>
                  <a:pt x="10461" y="61651"/>
                </a:cubicBezTo>
                <a:cubicBezTo>
                  <a:pt x="11076" y="61651"/>
                  <a:pt x="11076" y="60550"/>
                  <a:pt x="11076" y="60550"/>
                </a:cubicBezTo>
                <a:cubicBezTo>
                  <a:pt x="11692" y="60550"/>
                  <a:pt x="12923" y="61651"/>
                  <a:pt x="12923" y="61651"/>
                </a:cubicBezTo>
                <a:cubicBezTo>
                  <a:pt x="12923" y="61651"/>
                  <a:pt x="13538" y="62752"/>
                  <a:pt x="13538" y="61651"/>
                </a:cubicBezTo>
                <a:cubicBezTo>
                  <a:pt x="14153" y="61651"/>
                  <a:pt x="14769" y="60550"/>
                  <a:pt x="14769" y="60550"/>
                </a:cubicBezTo>
                <a:cubicBezTo>
                  <a:pt x="16000" y="59449"/>
                  <a:pt x="16000" y="59449"/>
                  <a:pt x="16000" y="59449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BFBFB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3017;p256">
            <a:extLst>
              <a:ext uri="{FF2B5EF4-FFF2-40B4-BE49-F238E27FC236}">
                <a16:creationId xmlns:a16="http://schemas.microsoft.com/office/drawing/2014/main" id="{C230D980-2715-57A1-022D-0EBCE4467D4A}"/>
              </a:ext>
            </a:extLst>
          </p:cNvPr>
          <p:cNvSpPr/>
          <p:nvPr/>
        </p:nvSpPr>
        <p:spPr>
          <a:xfrm>
            <a:off x="9110737" y="4353710"/>
            <a:ext cx="427463" cy="31324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230" y="65454"/>
                </a:moveTo>
                <a:cubicBezTo>
                  <a:pt x="7179" y="64090"/>
                  <a:pt x="7179" y="64090"/>
                  <a:pt x="7179" y="64090"/>
                </a:cubicBezTo>
                <a:cubicBezTo>
                  <a:pt x="5128" y="62727"/>
                  <a:pt x="5128" y="62727"/>
                  <a:pt x="5128" y="62727"/>
                </a:cubicBezTo>
                <a:cubicBezTo>
                  <a:pt x="2051" y="62727"/>
                  <a:pt x="2051" y="62727"/>
                  <a:pt x="2051" y="62727"/>
                </a:cubicBezTo>
                <a:cubicBezTo>
                  <a:pt x="0" y="60000"/>
                  <a:pt x="0" y="60000"/>
                  <a:pt x="0" y="60000"/>
                </a:cubicBezTo>
                <a:cubicBezTo>
                  <a:pt x="1025" y="57272"/>
                  <a:pt x="1025" y="57272"/>
                  <a:pt x="1025" y="57272"/>
                </a:cubicBezTo>
                <a:cubicBezTo>
                  <a:pt x="1025" y="54545"/>
                  <a:pt x="1025" y="54545"/>
                  <a:pt x="1025" y="54545"/>
                </a:cubicBezTo>
                <a:cubicBezTo>
                  <a:pt x="1025" y="54545"/>
                  <a:pt x="3076" y="51818"/>
                  <a:pt x="3076" y="51818"/>
                </a:cubicBezTo>
                <a:cubicBezTo>
                  <a:pt x="4102" y="50454"/>
                  <a:pt x="6153" y="49090"/>
                  <a:pt x="6153" y="49090"/>
                </a:cubicBezTo>
                <a:cubicBezTo>
                  <a:pt x="7179" y="46363"/>
                  <a:pt x="7179" y="46363"/>
                  <a:pt x="7179" y="46363"/>
                </a:cubicBezTo>
                <a:cubicBezTo>
                  <a:pt x="7179" y="46363"/>
                  <a:pt x="8205" y="45000"/>
                  <a:pt x="9230" y="45000"/>
                </a:cubicBezTo>
                <a:cubicBezTo>
                  <a:pt x="10256" y="45000"/>
                  <a:pt x="10256" y="46363"/>
                  <a:pt x="10256" y="45000"/>
                </a:cubicBezTo>
                <a:cubicBezTo>
                  <a:pt x="11282" y="45000"/>
                  <a:pt x="11282" y="39545"/>
                  <a:pt x="11282" y="39545"/>
                </a:cubicBezTo>
                <a:cubicBezTo>
                  <a:pt x="11282" y="36818"/>
                  <a:pt x="11282" y="36818"/>
                  <a:pt x="11282" y="36818"/>
                </a:cubicBezTo>
                <a:cubicBezTo>
                  <a:pt x="13333" y="36818"/>
                  <a:pt x="13333" y="36818"/>
                  <a:pt x="13333" y="36818"/>
                </a:cubicBezTo>
                <a:cubicBezTo>
                  <a:pt x="22564" y="40909"/>
                  <a:pt x="22564" y="40909"/>
                  <a:pt x="22564" y="40909"/>
                </a:cubicBezTo>
                <a:cubicBezTo>
                  <a:pt x="32820" y="42272"/>
                  <a:pt x="32820" y="42272"/>
                  <a:pt x="32820" y="42272"/>
                </a:cubicBezTo>
                <a:cubicBezTo>
                  <a:pt x="42051" y="42272"/>
                  <a:pt x="42051" y="42272"/>
                  <a:pt x="42051" y="42272"/>
                </a:cubicBezTo>
                <a:cubicBezTo>
                  <a:pt x="44102" y="42272"/>
                  <a:pt x="44102" y="42272"/>
                  <a:pt x="44102" y="42272"/>
                </a:cubicBezTo>
                <a:cubicBezTo>
                  <a:pt x="47179" y="39545"/>
                  <a:pt x="47179" y="39545"/>
                  <a:pt x="47179" y="39545"/>
                </a:cubicBezTo>
                <a:cubicBezTo>
                  <a:pt x="49230" y="35454"/>
                  <a:pt x="49230" y="35454"/>
                  <a:pt x="49230" y="35454"/>
                </a:cubicBezTo>
                <a:cubicBezTo>
                  <a:pt x="53333" y="34090"/>
                  <a:pt x="53333" y="34090"/>
                  <a:pt x="53333" y="34090"/>
                </a:cubicBezTo>
                <a:cubicBezTo>
                  <a:pt x="54358" y="31363"/>
                  <a:pt x="54358" y="31363"/>
                  <a:pt x="54358" y="31363"/>
                </a:cubicBezTo>
                <a:cubicBezTo>
                  <a:pt x="56410" y="25909"/>
                  <a:pt x="56410" y="25909"/>
                  <a:pt x="56410" y="25909"/>
                </a:cubicBezTo>
                <a:cubicBezTo>
                  <a:pt x="59487" y="23181"/>
                  <a:pt x="59487" y="23181"/>
                  <a:pt x="59487" y="23181"/>
                </a:cubicBezTo>
                <a:cubicBezTo>
                  <a:pt x="65641" y="23181"/>
                  <a:pt x="65641" y="23181"/>
                  <a:pt x="65641" y="23181"/>
                </a:cubicBezTo>
                <a:cubicBezTo>
                  <a:pt x="72820" y="20454"/>
                  <a:pt x="72820" y="20454"/>
                  <a:pt x="72820" y="20454"/>
                </a:cubicBezTo>
                <a:cubicBezTo>
                  <a:pt x="77948" y="23181"/>
                  <a:pt x="77948" y="23181"/>
                  <a:pt x="77948" y="23181"/>
                </a:cubicBezTo>
                <a:cubicBezTo>
                  <a:pt x="84102" y="17727"/>
                  <a:pt x="84102" y="17727"/>
                  <a:pt x="84102" y="17727"/>
                </a:cubicBezTo>
                <a:cubicBezTo>
                  <a:pt x="87179" y="16363"/>
                  <a:pt x="87179" y="16363"/>
                  <a:pt x="87179" y="16363"/>
                </a:cubicBezTo>
                <a:cubicBezTo>
                  <a:pt x="92307" y="13636"/>
                  <a:pt x="92307" y="13636"/>
                  <a:pt x="92307" y="13636"/>
                </a:cubicBezTo>
                <a:cubicBezTo>
                  <a:pt x="98461" y="19090"/>
                  <a:pt x="98461" y="19090"/>
                  <a:pt x="98461" y="19090"/>
                </a:cubicBezTo>
                <a:cubicBezTo>
                  <a:pt x="97435" y="10909"/>
                  <a:pt x="97435" y="10909"/>
                  <a:pt x="97435" y="10909"/>
                </a:cubicBezTo>
                <a:cubicBezTo>
                  <a:pt x="98461" y="5454"/>
                  <a:pt x="98461" y="5454"/>
                  <a:pt x="98461" y="5454"/>
                </a:cubicBezTo>
                <a:cubicBezTo>
                  <a:pt x="102564" y="2727"/>
                  <a:pt x="102564" y="2727"/>
                  <a:pt x="102564" y="2727"/>
                </a:cubicBezTo>
                <a:cubicBezTo>
                  <a:pt x="103589" y="2727"/>
                  <a:pt x="103589" y="2727"/>
                  <a:pt x="103589" y="2727"/>
                </a:cubicBezTo>
                <a:cubicBezTo>
                  <a:pt x="103589" y="2727"/>
                  <a:pt x="103589" y="2727"/>
                  <a:pt x="103589" y="2727"/>
                </a:cubicBezTo>
                <a:cubicBezTo>
                  <a:pt x="107692" y="0"/>
                  <a:pt x="107692" y="0"/>
                  <a:pt x="107692" y="0"/>
                </a:cubicBezTo>
                <a:cubicBezTo>
                  <a:pt x="109743" y="2727"/>
                  <a:pt x="109743" y="2727"/>
                  <a:pt x="109743" y="2727"/>
                </a:cubicBezTo>
                <a:cubicBezTo>
                  <a:pt x="110769" y="5454"/>
                  <a:pt x="110769" y="5454"/>
                  <a:pt x="110769" y="5454"/>
                </a:cubicBezTo>
                <a:cubicBezTo>
                  <a:pt x="110769" y="5454"/>
                  <a:pt x="110769" y="5454"/>
                  <a:pt x="110769" y="5454"/>
                </a:cubicBezTo>
                <a:cubicBezTo>
                  <a:pt x="110769" y="5454"/>
                  <a:pt x="110769" y="5454"/>
                  <a:pt x="110769" y="6818"/>
                </a:cubicBezTo>
                <a:cubicBezTo>
                  <a:pt x="110769" y="6818"/>
                  <a:pt x="110769" y="6818"/>
                  <a:pt x="110769" y="6818"/>
                </a:cubicBezTo>
                <a:cubicBezTo>
                  <a:pt x="110769" y="8181"/>
                  <a:pt x="110769" y="8181"/>
                  <a:pt x="110769" y="8181"/>
                </a:cubicBezTo>
                <a:cubicBezTo>
                  <a:pt x="111794" y="9545"/>
                  <a:pt x="111794" y="9545"/>
                  <a:pt x="111794" y="9545"/>
                </a:cubicBezTo>
                <a:cubicBezTo>
                  <a:pt x="112820" y="10909"/>
                  <a:pt x="112820" y="10909"/>
                  <a:pt x="112820" y="10909"/>
                </a:cubicBezTo>
                <a:cubicBezTo>
                  <a:pt x="112820" y="10909"/>
                  <a:pt x="112820" y="10909"/>
                  <a:pt x="112820" y="10909"/>
                </a:cubicBezTo>
                <a:cubicBezTo>
                  <a:pt x="113846" y="13636"/>
                  <a:pt x="113846" y="13636"/>
                  <a:pt x="113846" y="13636"/>
                </a:cubicBezTo>
                <a:cubicBezTo>
                  <a:pt x="113846" y="16363"/>
                  <a:pt x="113846" y="16363"/>
                  <a:pt x="113846" y="16363"/>
                </a:cubicBezTo>
                <a:cubicBezTo>
                  <a:pt x="120000" y="25909"/>
                  <a:pt x="120000" y="25909"/>
                  <a:pt x="120000" y="25909"/>
                </a:cubicBezTo>
                <a:cubicBezTo>
                  <a:pt x="120000" y="25909"/>
                  <a:pt x="117948" y="25909"/>
                  <a:pt x="117948" y="25909"/>
                </a:cubicBezTo>
                <a:cubicBezTo>
                  <a:pt x="116923" y="25909"/>
                  <a:pt x="114871" y="25909"/>
                  <a:pt x="114871" y="25909"/>
                </a:cubicBezTo>
                <a:cubicBezTo>
                  <a:pt x="114871" y="25909"/>
                  <a:pt x="113846" y="27272"/>
                  <a:pt x="112820" y="27272"/>
                </a:cubicBezTo>
                <a:cubicBezTo>
                  <a:pt x="112820" y="27272"/>
                  <a:pt x="111794" y="30000"/>
                  <a:pt x="111794" y="30000"/>
                </a:cubicBezTo>
                <a:cubicBezTo>
                  <a:pt x="110769" y="31363"/>
                  <a:pt x="110769" y="31363"/>
                  <a:pt x="110769" y="31363"/>
                </a:cubicBezTo>
                <a:cubicBezTo>
                  <a:pt x="111794" y="32727"/>
                  <a:pt x="111794" y="32727"/>
                  <a:pt x="111794" y="32727"/>
                </a:cubicBezTo>
                <a:cubicBezTo>
                  <a:pt x="113846" y="38181"/>
                  <a:pt x="114871" y="38181"/>
                  <a:pt x="109743" y="36818"/>
                </a:cubicBezTo>
                <a:cubicBezTo>
                  <a:pt x="107692" y="35454"/>
                  <a:pt x="107692" y="35454"/>
                  <a:pt x="107692" y="35454"/>
                </a:cubicBezTo>
                <a:cubicBezTo>
                  <a:pt x="106666" y="36818"/>
                  <a:pt x="106666" y="36818"/>
                  <a:pt x="106666" y="36818"/>
                </a:cubicBezTo>
                <a:cubicBezTo>
                  <a:pt x="104615" y="38181"/>
                  <a:pt x="104615" y="38181"/>
                  <a:pt x="104615" y="38181"/>
                </a:cubicBezTo>
                <a:cubicBezTo>
                  <a:pt x="104615" y="38181"/>
                  <a:pt x="104615" y="38181"/>
                  <a:pt x="104615" y="38181"/>
                </a:cubicBezTo>
                <a:cubicBezTo>
                  <a:pt x="104615" y="38181"/>
                  <a:pt x="104615" y="40909"/>
                  <a:pt x="104615" y="40909"/>
                </a:cubicBezTo>
                <a:cubicBezTo>
                  <a:pt x="103589" y="43636"/>
                  <a:pt x="103589" y="43636"/>
                  <a:pt x="103589" y="43636"/>
                </a:cubicBezTo>
                <a:cubicBezTo>
                  <a:pt x="101538" y="45000"/>
                  <a:pt x="101538" y="45000"/>
                  <a:pt x="101538" y="45000"/>
                </a:cubicBezTo>
                <a:cubicBezTo>
                  <a:pt x="99487" y="46363"/>
                  <a:pt x="99487" y="46363"/>
                  <a:pt x="99487" y="46363"/>
                </a:cubicBezTo>
                <a:cubicBezTo>
                  <a:pt x="98461" y="47727"/>
                  <a:pt x="98461" y="47727"/>
                  <a:pt x="98461" y="47727"/>
                </a:cubicBezTo>
                <a:cubicBezTo>
                  <a:pt x="96410" y="47727"/>
                  <a:pt x="96410" y="47727"/>
                  <a:pt x="96410" y="47727"/>
                </a:cubicBezTo>
                <a:cubicBezTo>
                  <a:pt x="94358" y="49090"/>
                  <a:pt x="94358" y="49090"/>
                  <a:pt x="94358" y="49090"/>
                </a:cubicBezTo>
                <a:cubicBezTo>
                  <a:pt x="93333" y="51818"/>
                  <a:pt x="93333" y="51818"/>
                  <a:pt x="93333" y="51818"/>
                </a:cubicBezTo>
                <a:cubicBezTo>
                  <a:pt x="93333" y="51818"/>
                  <a:pt x="91282" y="51818"/>
                  <a:pt x="91282" y="51818"/>
                </a:cubicBezTo>
                <a:cubicBezTo>
                  <a:pt x="91282" y="51818"/>
                  <a:pt x="88205" y="53181"/>
                  <a:pt x="88205" y="53181"/>
                </a:cubicBezTo>
                <a:cubicBezTo>
                  <a:pt x="88205" y="55909"/>
                  <a:pt x="88205" y="55909"/>
                  <a:pt x="88205" y="55909"/>
                </a:cubicBezTo>
                <a:cubicBezTo>
                  <a:pt x="88205" y="55909"/>
                  <a:pt x="87179" y="57272"/>
                  <a:pt x="87179" y="57272"/>
                </a:cubicBezTo>
                <a:cubicBezTo>
                  <a:pt x="87179" y="57272"/>
                  <a:pt x="87179" y="61363"/>
                  <a:pt x="87179" y="61363"/>
                </a:cubicBezTo>
                <a:cubicBezTo>
                  <a:pt x="87179" y="61363"/>
                  <a:pt x="89230" y="62727"/>
                  <a:pt x="89230" y="62727"/>
                </a:cubicBezTo>
                <a:cubicBezTo>
                  <a:pt x="90256" y="64090"/>
                  <a:pt x="90256" y="64090"/>
                  <a:pt x="90256" y="64090"/>
                </a:cubicBezTo>
                <a:cubicBezTo>
                  <a:pt x="91282" y="65454"/>
                  <a:pt x="91282" y="65454"/>
                  <a:pt x="91282" y="65454"/>
                </a:cubicBezTo>
                <a:cubicBezTo>
                  <a:pt x="91282" y="65454"/>
                  <a:pt x="92307" y="66818"/>
                  <a:pt x="92307" y="66818"/>
                </a:cubicBezTo>
                <a:cubicBezTo>
                  <a:pt x="91282" y="66818"/>
                  <a:pt x="91282" y="70909"/>
                  <a:pt x="91282" y="70909"/>
                </a:cubicBezTo>
                <a:cubicBezTo>
                  <a:pt x="92307" y="75000"/>
                  <a:pt x="92307" y="75000"/>
                  <a:pt x="92307" y="75000"/>
                </a:cubicBezTo>
                <a:cubicBezTo>
                  <a:pt x="91282" y="76363"/>
                  <a:pt x="91282" y="76363"/>
                  <a:pt x="91282" y="76363"/>
                </a:cubicBezTo>
                <a:cubicBezTo>
                  <a:pt x="92307" y="79090"/>
                  <a:pt x="92307" y="79090"/>
                  <a:pt x="92307" y="79090"/>
                </a:cubicBezTo>
                <a:cubicBezTo>
                  <a:pt x="92307" y="79090"/>
                  <a:pt x="93333" y="79090"/>
                  <a:pt x="92307" y="80454"/>
                </a:cubicBezTo>
                <a:cubicBezTo>
                  <a:pt x="91282" y="80454"/>
                  <a:pt x="90256" y="81818"/>
                  <a:pt x="90256" y="81818"/>
                </a:cubicBezTo>
                <a:cubicBezTo>
                  <a:pt x="90256" y="81818"/>
                  <a:pt x="88205" y="81818"/>
                  <a:pt x="88205" y="81818"/>
                </a:cubicBezTo>
                <a:cubicBezTo>
                  <a:pt x="88205" y="81818"/>
                  <a:pt x="86153" y="81818"/>
                  <a:pt x="86153" y="81818"/>
                </a:cubicBezTo>
                <a:cubicBezTo>
                  <a:pt x="85128" y="84545"/>
                  <a:pt x="85128" y="84545"/>
                  <a:pt x="85128" y="84545"/>
                </a:cubicBezTo>
                <a:cubicBezTo>
                  <a:pt x="83076" y="83181"/>
                  <a:pt x="83076" y="83181"/>
                  <a:pt x="83076" y="83181"/>
                </a:cubicBezTo>
                <a:cubicBezTo>
                  <a:pt x="83076" y="85909"/>
                  <a:pt x="83076" y="85909"/>
                  <a:pt x="83076" y="85909"/>
                </a:cubicBezTo>
                <a:cubicBezTo>
                  <a:pt x="80000" y="87272"/>
                  <a:pt x="80000" y="87272"/>
                  <a:pt x="80000" y="87272"/>
                </a:cubicBezTo>
                <a:cubicBezTo>
                  <a:pt x="77948" y="88636"/>
                  <a:pt x="77948" y="88636"/>
                  <a:pt x="77948" y="88636"/>
                </a:cubicBezTo>
                <a:cubicBezTo>
                  <a:pt x="76923" y="91363"/>
                  <a:pt x="76923" y="91363"/>
                  <a:pt x="76923" y="91363"/>
                </a:cubicBezTo>
                <a:cubicBezTo>
                  <a:pt x="77948" y="92727"/>
                  <a:pt x="77948" y="92727"/>
                  <a:pt x="77948" y="92727"/>
                </a:cubicBezTo>
                <a:cubicBezTo>
                  <a:pt x="77948" y="92727"/>
                  <a:pt x="78974" y="94090"/>
                  <a:pt x="78974" y="92727"/>
                </a:cubicBezTo>
                <a:cubicBezTo>
                  <a:pt x="78974" y="92727"/>
                  <a:pt x="78974" y="91363"/>
                  <a:pt x="78974" y="91363"/>
                </a:cubicBezTo>
                <a:cubicBezTo>
                  <a:pt x="80000" y="92727"/>
                  <a:pt x="81025" y="94090"/>
                  <a:pt x="81025" y="94090"/>
                </a:cubicBezTo>
                <a:cubicBezTo>
                  <a:pt x="82051" y="96818"/>
                  <a:pt x="82051" y="96818"/>
                  <a:pt x="82051" y="96818"/>
                </a:cubicBezTo>
                <a:cubicBezTo>
                  <a:pt x="82051" y="96818"/>
                  <a:pt x="80000" y="96818"/>
                  <a:pt x="80000" y="96818"/>
                </a:cubicBezTo>
                <a:cubicBezTo>
                  <a:pt x="80000" y="96818"/>
                  <a:pt x="78974" y="98181"/>
                  <a:pt x="78974" y="98181"/>
                </a:cubicBezTo>
                <a:cubicBezTo>
                  <a:pt x="77948" y="99545"/>
                  <a:pt x="77948" y="99545"/>
                  <a:pt x="77948" y="99545"/>
                </a:cubicBezTo>
                <a:cubicBezTo>
                  <a:pt x="77948" y="100909"/>
                  <a:pt x="77948" y="100909"/>
                  <a:pt x="77948" y="102272"/>
                </a:cubicBezTo>
                <a:cubicBezTo>
                  <a:pt x="77948" y="102272"/>
                  <a:pt x="77948" y="103636"/>
                  <a:pt x="77948" y="103636"/>
                </a:cubicBezTo>
                <a:cubicBezTo>
                  <a:pt x="78974" y="103636"/>
                  <a:pt x="80000" y="106363"/>
                  <a:pt x="80000" y="106363"/>
                </a:cubicBezTo>
                <a:cubicBezTo>
                  <a:pt x="80000" y="106363"/>
                  <a:pt x="81025" y="107727"/>
                  <a:pt x="81025" y="107727"/>
                </a:cubicBezTo>
                <a:cubicBezTo>
                  <a:pt x="81025" y="107727"/>
                  <a:pt x="81025" y="109090"/>
                  <a:pt x="81025" y="109090"/>
                </a:cubicBezTo>
                <a:cubicBezTo>
                  <a:pt x="81025" y="109090"/>
                  <a:pt x="80000" y="110454"/>
                  <a:pt x="78974" y="110454"/>
                </a:cubicBezTo>
                <a:cubicBezTo>
                  <a:pt x="78974" y="110454"/>
                  <a:pt x="76923" y="110454"/>
                  <a:pt x="76923" y="110454"/>
                </a:cubicBezTo>
                <a:cubicBezTo>
                  <a:pt x="76923" y="110454"/>
                  <a:pt x="75897" y="113181"/>
                  <a:pt x="75897" y="113181"/>
                </a:cubicBezTo>
                <a:cubicBezTo>
                  <a:pt x="75897" y="113181"/>
                  <a:pt x="74871" y="113181"/>
                  <a:pt x="73846" y="113181"/>
                </a:cubicBezTo>
                <a:cubicBezTo>
                  <a:pt x="73846" y="113181"/>
                  <a:pt x="75897" y="114545"/>
                  <a:pt x="73846" y="113181"/>
                </a:cubicBezTo>
                <a:cubicBezTo>
                  <a:pt x="70769" y="111818"/>
                  <a:pt x="70769" y="110454"/>
                  <a:pt x="70769" y="110454"/>
                </a:cubicBezTo>
                <a:cubicBezTo>
                  <a:pt x="70769" y="110454"/>
                  <a:pt x="69743" y="109090"/>
                  <a:pt x="69743" y="109090"/>
                </a:cubicBezTo>
                <a:cubicBezTo>
                  <a:pt x="68717" y="109090"/>
                  <a:pt x="67692" y="109090"/>
                  <a:pt x="67692" y="109090"/>
                </a:cubicBezTo>
                <a:cubicBezTo>
                  <a:pt x="65641" y="109090"/>
                  <a:pt x="65641" y="109090"/>
                  <a:pt x="65641" y="109090"/>
                </a:cubicBezTo>
                <a:cubicBezTo>
                  <a:pt x="64615" y="107727"/>
                  <a:pt x="64615" y="107727"/>
                  <a:pt x="64615" y="107727"/>
                </a:cubicBezTo>
                <a:cubicBezTo>
                  <a:pt x="63589" y="110454"/>
                  <a:pt x="63589" y="110454"/>
                  <a:pt x="63589" y="110454"/>
                </a:cubicBezTo>
                <a:cubicBezTo>
                  <a:pt x="63589" y="110454"/>
                  <a:pt x="63589" y="111818"/>
                  <a:pt x="62564" y="111818"/>
                </a:cubicBezTo>
                <a:cubicBezTo>
                  <a:pt x="61538" y="113181"/>
                  <a:pt x="62564" y="113181"/>
                  <a:pt x="61538" y="113181"/>
                </a:cubicBezTo>
                <a:cubicBezTo>
                  <a:pt x="59487" y="113181"/>
                  <a:pt x="58461" y="110454"/>
                  <a:pt x="58461" y="110454"/>
                </a:cubicBezTo>
                <a:cubicBezTo>
                  <a:pt x="58461" y="110454"/>
                  <a:pt x="56410" y="109090"/>
                  <a:pt x="56410" y="109090"/>
                </a:cubicBezTo>
                <a:cubicBezTo>
                  <a:pt x="55384" y="107727"/>
                  <a:pt x="55384" y="107727"/>
                  <a:pt x="55384" y="107727"/>
                </a:cubicBezTo>
                <a:cubicBezTo>
                  <a:pt x="54358" y="107727"/>
                  <a:pt x="54358" y="109090"/>
                  <a:pt x="54358" y="106363"/>
                </a:cubicBezTo>
                <a:cubicBezTo>
                  <a:pt x="54358" y="105000"/>
                  <a:pt x="54358" y="105000"/>
                  <a:pt x="54358" y="105000"/>
                </a:cubicBezTo>
                <a:cubicBezTo>
                  <a:pt x="53333" y="103636"/>
                  <a:pt x="53333" y="105000"/>
                  <a:pt x="52307" y="103636"/>
                </a:cubicBezTo>
                <a:cubicBezTo>
                  <a:pt x="52307" y="102272"/>
                  <a:pt x="51282" y="100909"/>
                  <a:pt x="51282" y="100909"/>
                </a:cubicBezTo>
                <a:cubicBezTo>
                  <a:pt x="50256" y="98181"/>
                  <a:pt x="50256" y="98181"/>
                  <a:pt x="50256" y="98181"/>
                </a:cubicBezTo>
                <a:cubicBezTo>
                  <a:pt x="50256" y="98181"/>
                  <a:pt x="50256" y="98181"/>
                  <a:pt x="50256" y="99545"/>
                </a:cubicBezTo>
                <a:cubicBezTo>
                  <a:pt x="49230" y="100909"/>
                  <a:pt x="48205" y="100909"/>
                  <a:pt x="48205" y="100909"/>
                </a:cubicBezTo>
                <a:cubicBezTo>
                  <a:pt x="48205" y="102272"/>
                  <a:pt x="47179" y="103636"/>
                  <a:pt x="47179" y="103636"/>
                </a:cubicBezTo>
                <a:cubicBezTo>
                  <a:pt x="47179" y="103636"/>
                  <a:pt x="46153" y="105000"/>
                  <a:pt x="46153" y="106363"/>
                </a:cubicBezTo>
                <a:cubicBezTo>
                  <a:pt x="47179" y="106363"/>
                  <a:pt x="47179" y="106363"/>
                  <a:pt x="47179" y="107727"/>
                </a:cubicBezTo>
                <a:cubicBezTo>
                  <a:pt x="47179" y="107727"/>
                  <a:pt x="46153" y="109090"/>
                  <a:pt x="46153" y="109090"/>
                </a:cubicBezTo>
                <a:cubicBezTo>
                  <a:pt x="45128" y="110454"/>
                  <a:pt x="45128" y="110454"/>
                  <a:pt x="44102" y="110454"/>
                </a:cubicBezTo>
                <a:cubicBezTo>
                  <a:pt x="44102" y="111818"/>
                  <a:pt x="42051" y="113181"/>
                  <a:pt x="42051" y="113181"/>
                </a:cubicBezTo>
                <a:cubicBezTo>
                  <a:pt x="40000" y="113181"/>
                  <a:pt x="40000" y="113181"/>
                  <a:pt x="40000" y="113181"/>
                </a:cubicBezTo>
                <a:cubicBezTo>
                  <a:pt x="36923" y="111818"/>
                  <a:pt x="36923" y="111818"/>
                  <a:pt x="36923" y="111818"/>
                </a:cubicBezTo>
                <a:cubicBezTo>
                  <a:pt x="34871" y="114545"/>
                  <a:pt x="34871" y="114545"/>
                  <a:pt x="34871" y="114545"/>
                </a:cubicBezTo>
                <a:cubicBezTo>
                  <a:pt x="34871" y="114545"/>
                  <a:pt x="33846" y="114545"/>
                  <a:pt x="33846" y="114545"/>
                </a:cubicBezTo>
                <a:cubicBezTo>
                  <a:pt x="32820" y="114545"/>
                  <a:pt x="31794" y="114545"/>
                  <a:pt x="31794" y="114545"/>
                </a:cubicBezTo>
                <a:cubicBezTo>
                  <a:pt x="31794" y="114545"/>
                  <a:pt x="30769" y="113181"/>
                  <a:pt x="29743" y="113181"/>
                </a:cubicBezTo>
                <a:cubicBezTo>
                  <a:pt x="29743" y="113181"/>
                  <a:pt x="28717" y="113181"/>
                  <a:pt x="28717" y="113181"/>
                </a:cubicBezTo>
                <a:cubicBezTo>
                  <a:pt x="27692" y="113181"/>
                  <a:pt x="26666" y="113181"/>
                  <a:pt x="26666" y="113181"/>
                </a:cubicBezTo>
                <a:cubicBezTo>
                  <a:pt x="26666" y="114545"/>
                  <a:pt x="26666" y="114545"/>
                  <a:pt x="26666" y="114545"/>
                </a:cubicBezTo>
                <a:cubicBezTo>
                  <a:pt x="26666" y="114545"/>
                  <a:pt x="27692" y="114545"/>
                  <a:pt x="27692" y="114545"/>
                </a:cubicBezTo>
                <a:cubicBezTo>
                  <a:pt x="27692" y="115909"/>
                  <a:pt x="27692" y="117272"/>
                  <a:pt x="27692" y="117272"/>
                </a:cubicBezTo>
                <a:cubicBezTo>
                  <a:pt x="27692" y="117272"/>
                  <a:pt x="26666" y="117272"/>
                  <a:pt x="26666" y="117272"/>
                </a:cubicBezTo>
                <a:cubicBezTo>
                  <a:pt x="26666" y="118636"/>
                  <a:pt x="24615" y="118636"/>
                  <a:pt x="24615" y="118636"/>
                </a:cubicBezTo>
                <a:cubicBezTo>
                  <a:pt x="24615" y="118636"/>
                  <a:pt x="24615" y="120000"/>
                  <a:pt x="24615" y="120000"/>
                </a:cubicBezTo>
                <a:cubicBezTo>
                  <a:pt x="24615" y="120000"/>
                  <a:pt x="24615" y="120000"/>
                  <a:pt x="23589" y="120000"/>
                </a:cubicBezTo>
                <a:cubicBezTo>
                  <a:pt x="22564" y="120000"/>
                  <a:pt x="22564" y="120000"/>
                  <a:pt x="21538" y="120000"/>
                </a:cubicBezTo>
                <a:cubicBezTo>
                  <a:pt x="21538" y="118636"/>
                  <a:pt x="20512" y="118636"/>
                  <a:pt x="19487" y="118636"/>
                </a:cubicBezTo>
                <a:cubicBezTo>
                  <a:pt x="19487" y="118636"/>
                  <a:pt x="16410" y="117272"/>
                  <a:pt x="16410" y="117272"/>
                </a:cubicBezTo>
                <a:cubicBezTo>
                  <a:pt x="16410" y="117272"/>
                  <a:pt x="15384" y="118636"/>
                  <a:pt x="15384" y="118636"/>
                </a:cubicBezTo>
                <a:cubicBezTo>
                  <a:pt x="14358" y="118636"/>
                  <a:pt x="13333" y="118636"/>
                  <a:pt x="12307" y="117272"/>
                </a:cubicBezTo>
                <a:cubicBezTo>
                  <a:pt x="12307" y="117272"/>
                  <a:pt x="11282" y="117272"/>
                  <a:pt x="11282" y="117272"/>
                </a:cubicBezTo>
                <a:cubicBezTo>
                  <a:pt x="11282" y="115909"/>
                  <a:pt x="11282" y="114545"/>
                  <a:pt x="11282" y="114545"/>
                </a:cubicBezTo>
                <a:cubicBezTo>
                  <a:pt x="11282" y="114545"/>
                  <a:pt x="10256" y="113181"/>
                  <a:pt x="11282" y="113181"/>
                </a:cubicBezTo>
                <a:cubicBezTo>
                  <a:pt x="11282" y="113181"/>
                  <a:pt x="12307" y="113181"/>
                  <a:pt x="13333" y="113181"/>
                </a:cubicBezTo>
                <a:cubicBezTo>
                  <a:pt x="14358" y="113181"/>
                  <a:pt x="15384" y="113181"/>
                  <a:pt x="15384" y="111818"/>
                </a:cubicBezTo>
                <a:cubicBezTo>
                  <a:pt x="15384" y="111818"/>
                  <a:pt x="15384" y="111818"/>
                  <a:pt x="16410" y="111818"/>
                </a:cubicBezTo>
                <a:cubicBezTo>
                  <a:pt x="16410" y="111818"/>
                  <a:pt x="17435" y="113181"/>
                  <a:pt x="17435" y="111818"/>
                </a:cubicBezTo>
                <a:cubicBezTo>
                  <a:pt x="17435" y="110454"/>
                  <a:pt x="17435" y="110454"/>
                  <a:pt x="17435" y="110454"/>
                </a:cubicBezTo>
                <a:cubicBezTo>
                  <a:pt x="16410" y="109090"/>
                  <a:pt x="16410" y="109090"/>
                  <a:pt x="16410" y="109090"/>
                </a:cubicBezTo>
                <a:cubicBezTo>
                  <a:pt x="16410" y="109090"/>
                  <a:pt x="17435" y="107727"/>
                  <a:pt x="17435" y="107727"/>
                </a:cubicBezTo>
                <a:cubicBezTo>
                  <a:pt x="18461" y="107727"/>
                  <a:pt x="19487" y="107727"/>
                  <a:pt x="19487" y="107727"/>
                </a:cubicBezTo>
                <a:cubicBezTo>
                  <a:pt x="20512" y="107727"/>
                  <a:pt x="21538" y="107727"/>
                  <a:pt x="21538" y="107727"/>
                </a:cubicBezTo>
                <a:cubicBezTo>
                  <a:pt x="21538" y="107727"/>
                  <a:pt x="21538" y="107727"/>
                  <a:pt x="22564" y="106363"/>
                </a:cubicBezTo>
                <a:cubicBezTo>
                  <a:pt x="22564" y="106363"/>
                  <a:pt x="18461" y="106363"/>
                  <a:pt x="17435" y="105000"/>
                </a:cubicBezTo>
                <a:cubicBezTo>
                  <a:pt x="15384" y="102272"/>
                  <a:pt x="13333" y="100909"/>
                  <a:pt x="13333" y="95454"/>
                </a:cubicBezTo>
                <a:cubicBezTo>
                  <a:pt x="12307" y="95454"/>
                  <a:pt x="12307" y="92727"/>
                  <a:pt x="11282" y="92727"/>
                </a:cubicBezTo>
                <a:cubicBezTo>
                  <a:pt x="11282" y="92727"/>
                  <a:pt x="9230" y="91363"/>
                  <a:pt x="9230" y="91363"/>
                </a:cubicBezTo>
                <a:cubicBezTo>
                  <a:pt x="9230" y="90000"/>
                  <a:pt x="9230" y="90000"/>
                  <a:pt x="10256" y="88636"/>
                </a:cubicBezTo>
                <a:cubicBezTo>
                  <a:pt x="10256" y="87272"/>
                  <a:pt x="10256" y="87272"/>
                  <a:pt x="11282" y="85909"/>
                </a:cubicBezTo>
                <a:cubicBezTo>
                  <a:pt x="11282" y="85909"/>
                  <a:pt x="11282" y="83181"/>
                  <a:pt x="11282" y="83181"/>
                </a:cubicBezTo>
                <a:cubicBezTo>
                  <a:pt x="11282" y="83181"/>
                  <a:pt x="12307" y="81818"/>
                  <a:pt x="11282" y="81818"/>
                </a:cubicBezTo>
                <a:cubicBezTo>
                  <a:pt x="11282" y="80454"/>
                  <a:pt x="10256" y="79090"/>
                  <a:pt x="10256" y="79090"/>
                </a:cubicBezTo>
                <a:cubicBezTo>
                  <a:pt x="10256" y="79090"/>
                  <a:pt x="10256" y="79090"/>
                  <a:pt x="9230" y="79090"/>
                </a:cubicBezTo>
                <a:cubicBezTo>
                  <a:pt x="9230" y="80454"/>
                  <a:pt x="9230" y="80454"/>
                  <a:pt x="9230" y="80454"/>
                </a:cubicBezTo>
                <a:cubicBezTo>
                  <a:pt x="7179" y="81818"/>
                  <a:pt x="7179" y="81818"/>
                  <a:pt x="7179" y="81818"/>
                </a:cubicBezTo>
                <a:cubicBezTo>
                  <a:pt x="7179" y="81818"/>
                  <a:pt x="6153" y="79090"/>
                  <a:pt x="6153" y="79090"/>
                </a:cubicBezTo>
                <a:cubicBezTo>
                  <a:pt x="5128" y="79090"/>
                  <a:pt x="5128" y="79090"/>
                  <a:pt x="5128" y="77727"/>
                </a:cubicBezTo>
                <a:cubicBezTo>
                  <a:pt x="5128" y="77727"/>
                  <a:pt x="6153" y="76363"/>
                  <a:pt x="6153" y="76363"/>
                </a:cubicBezTo>
                <a:cubicBezTo>
                  <a:pt x="6153" y="76363"/>
                  <a:pt x="5128" y="75000"/>
                  <a:pt x="5128" y="75000"/>
                </a:cubicBezTo>
                <a:cubicBezTo>
                  <a:pt x="5128" y="75000"/>
                  <a:pt x="6153" y="72272"/>
                  <a:pt x="7179" y="72272"/>
                </a:cubicBezTo>
                <a:cubicBezTo>
                  <a:pt x="8205" y="70909"/>
                  <a:pt x="10256" y="68181"/>
                  <a:pt x="10256" y="68181"/>
                </a:cubicBezTo>
                <a:cubicBezTo>
                  <a:pt x="11282" y="65454"/>
                  <a:pt x="11282" y="65454"/>
                  <a:pt x="11282" y="65454"/>
                </a:cubicBezTo>
                <a:cubicBezTo>
                  <a:pt x="10256" y="64090"/>
                  <a:pt x="10256" y="64090"/>
                  <a:pt x="10256" y="64090"/>
                </a:cubicBezTo>
                <a:cubicBezTo>
                  <a:pt x="10256" y="64090"/>
                  <a:pt x="9230" y="65454"/>
                  <a:pt x="9230" y="65454"/>
                </a:cubicBez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3018;p256">
            <a:extLst>
              <a:ext uri="{FF2B5EF4-FFF2-40B4-BE49-F238E27FC236}">
                <a16:creationId xmlns:a16="http://schemas.microsoft.com/office/drawing/2014/main" id="{D28CCCA4-8C0E-6E70-C2B0-F78B88A5F2BF}"/>
              </a:ext>
            </a:extLst>
          </p:cNvPr>
          <p:cNvSpPr/>
          <p:nvPr/>
        </p:nvSpPr>
        <p:spPr>
          <a:xfrm>
            <a:off x="9138995" y="4420457"/>
            <a:ext cx="831794" cy="74986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3656" y="46635"/>
                </a:moveTo>
                <a:cubicBezTo>
                  <a:pt x="113656" y="45497"/>
                  <a:pt x="113127" y="44928"/>
                  <a:pt x="114185" y="44360"/>
                </a:cubicBezTo>
                <a:cubicBezTo>
                  <a:pt x="114713" y="44360"/>
                  <a:pt x="115242" y="45497"/>
                  <a:pt x="115242" y="44360"/>
                </a:cubicBezTo>
                <a:cubicBezTo>
                  <a:pt x="115242" y="43222"/>
                  <a:pt x="115770" y="43791"/>
                  <a:pt x="115242" y="42654"/>
                </a:cubicBezTo>
                <a:cubicBezTo>
                  <a:pt x="115242" y="42654"/>
                  <a:pt x="115242" y="42654"/>
                  <a:pt x="115242" y="42654"/>
                </a:cubicBezTo>
                <a:cubicBezTo>
                  <a:pt x="115242" y="42654"/>
                  <a:pt x="115242" y="42654"/>
                  <a:pt x="115242" y="42654"/>
                </a:cubicBezTo>
                <a:cubicBezTo>
                  <a:pt x="115242" y="42654"/>
                  <a:pt x="115242" y="43791"/>
                  <a:pt x="114713" y="43791"/>
                </a:cubicBezTo>
                <a:cubicBezTo>
                  <a:pt x="114713" y="43791"/>
                  <a:pt x="114185" y="44360"/>
                  <a:pt x="113656" y="44360"/>
                </a:cubicBezTo>
                <a:cubicBezTo>
                  <a:pt x="113127" y="43791"/>
                  <a:pt x="113127" y="43791"/>
                  <a:pt x="113127" y="43791"/>
                </a:cubicBezTo>
                <a:cubicBezTo>
                  <a:pt x="114185" y="42654"/>
                  <a:pt x="114185" y="42654"/>
                  <a:pt x="114185" y="42654"/>
                </a:cubicBezTo>
                <a:cubicBezTo>
                  <a:pt x="114185" y="40379"/>
                  <a:pt x="114185" y="40379"/>
                  <a:pt x="114185" y="40379"/>
                </a:cubicBezTo>
                <a:cubicBezTo>
                  <a:pt x="114185" y="40379"/>
                  <a:pt x="113656" y="39241"/>
                  <a:pt x="113127" y="38104"/>
                </a:cubicBezTo>
                <a:cubicBezTo>
                  <a:pt x="112599" y="37535"/>
                  <a:pt x="112070" y="36966"/>
                  <a:pt x="112070" y="36966"/>
                </a:cubicBezTo>
                <a:cubicBezTo>
                  <a:pt x="113656" y="35829"/>
                  <a:pt x="113656" y="35829"/>
                  <a:pt x="113656" y="35829"/>
                </a:cubicBezTo>
                <a:cubicBezTo>
                  <a:pt x="114185" y="35260"/>
                  <a:pt x="114185" y="35260"/>
                  <a:pt x="114185" y="35260"/>
                </a:cubicBezTo>
                <a:cubicBezTo>
                  <a:pt x="114185" y="34691"/>
                  <a:pt x="114185" y="34691"/>
                  <a:pt x="114185" y="34691"/>
                </a:cubicBezTo>
                <a:cubicBezTo>
                  <a:pt x="114185" y="34691"/>
                  <a:pt x="115242" y="35829"/>
                  <a:pt x="116299" y="35829"/>
                </a:cubicBezTo>
                <a:cubicBezTo>
                  <a:pt x="116828" y="35829"/>
                  <a:pt x="116299" y="35829"/>
                  <a:pt x="117356" y="35260"/>
                </a:cubicBezTo>
                <a:cubicBezTo>
                  <a:pt x="118414" y="35260"/>
                  <a:pt x="120000" y="33554"/>
                  <a:pt x="120000" y="33554"/>
                </a:cubicBezTo>
                <a:cubicBezTo>
                  <a:pt x="120000" y="33554"/>
                  <a:pt x="118942" y="32417"/>
                  <a:pt x="118414" y="32417"/>
                </a:cubicBezTo>
                <a:cubicBezTo>
                  <a:pt x="117885" y="32985"/>
                  <a:pt x="118414" y="32985"/>
                  <a:pt x="116828" y="32985"/>
                </a:cubicBezTo>
                <a:cubicBezTo>
                  <a:pt x="115242" y="32417"/>
                  <a:pt x="114713" y="31848"/>
                  <a:pt x="114713" y="31848"/>
                </a:cubicBezTo>
                <a:cubicBezTo>
                  <a:pt x="114713" y="31848"/>
                  <a:pt x="114185" y="31848"/>
                  <a:pt x="113656" y="31848"/>
                </a:cubicBezTo>
                <a:cubicBezTo>
                  <a:pt x="113127" y="31848"/>
                  <a:pt x="113127" y="31848"/>
                  <a:pt x="112599" y="31279"/>
                </a:cubicBezTo>
                <a:cubicBezTo>
                  <a:pt x="111541" y="30142"/>
                  <a:pt x="110484" y="29004"/>
                  <a:pt x="110484" y="29004"/>
                </a:cubicBezTo>
                <a:cubicBezTo>
                  <a:pt x="110484" y="29004"/>
                  <a:pt x="109427" y="29573"/>
                  <a:pt x="109427" y="29004"/>
                </a:cubicBezTo>
                <a:cubicBezTo>
                  <a:pt x="109427" y="29004"/>
                  <a:pt x="109955" y="27867"/>
                  <a:pt x="109955" y="27867"/>
                </a:cubicBezTo>
                <a:cubicBezTo>
                  <a:pt x="109955" y="27298"/>
                  <a:pt x="109955" y="27298"/>
                  <a:pt x="109955" y="27298"/>
                </a:cubicBezTo>
                <a:cubicBezTo>
                  <a:pt x="109427" y="26729"/>
                  <a:pt x="109427" y="26729"/>
                  <a:pt x="109427" y="26729"/>
                </a:cubicBezTo>
                <a:cubicBezTo>
                  <a:pt x="109427" y="26729"/>
                  <a:pt x="110484" y="26729"/>
                  <a:pt x="110484" y="26729"/>
                </a:cubicBezTo>
                <a:cubicBezTo>
                  <a:pt x="111013" y="26161"/>
                  <a:pt x="111013" y="26161"/>
                  <a:pt x="111013" y="26161"/>
                </a:cubicBezTo>
                <a:cubicBezTo>
                  <a:pt x="112070" y="25023"/>
                  <a:pt x="111013" y="23886"/>
                  <a:pt x="109427" y="24454"/>
                </a:cubicBezTo>
                <a:cubicBezTo>
                  <a:pt x="108898" y="24454"/>
                  <a:pt x="108370" y="25023"/>
                  <a:pt x="108370" y="25023"/>
                </a:cubicBezTo>
                <a:cubicBezTo>
                  <a:pt x="107841" y="25023"/>
                  <a:pt x="106784" y="24454"/>
                  <a:pt x="106784" y="23886"/>
                </a:cubicBezTo>
                <a:cubicBezTo>
                  <a:pt x="106784" y="23317"/>
                  <a:pt x="106255" y="23317"/>
                  <a:pt x="107312" y="22748"/>
                </a:cubicBezTo>
                <a:cubicBezTo>
                  <a:pt x="107841" y="22748"/>
                  <a:pt x="108370" y="21611"/>
                  <a:pt x="108370" y="21611"/>
                </a:cubicBezTo>
                <a:cubicBezTo>
                  <a:pt x="107312" y="19905"/>
                  <a:pt x="107312" y="19905"/>
                  <a:pt x="107312" y="19905"/>
                </a:cubicBezTo>
                <a:cubicBezTo>
                  <a:pt x="107841" y="16492"/>
                  <a:pt x="107841" y="16492"/>
                  <a:pt x="107841" y="16492"/>
                </a:cubicBezTo>
                <a:cubicBezTo>
                  <a:pt x="105726" y="15924"/>
                  <a:pt x="105726" y="15924"/>
                  <a:pt x="105726" y="15924"/>
                </a:cubicBezTo>
                <a:cubicBezTo>
                  <a:pt x="105726" y="14786"/>
                  <a:pt x="105726" y="14786"/>
                  <a:pt x="105726" y="14786"/>
                </a:cubicBezTo>
                <a:cubicBezTo>
                  <a:pt x="104669" y="14218"/>
                  <a:pt x="104669" y="14218"/>
                  <a:pt x="104669" y="14218"/>
                </a:cubicBezTo>
                <a:cubicBezTo>
                  <a:pt x="103612" y="17061"/>
                  <a:pt x="103612" y="17061"/>
                  <a:pt x="103612" y="17061"/>
                </a:cubicBezTo>
                <a:cubicBezTo>
                  <a:pt x="103612" y="17061"/>
                  <a:pt x="102026" y="17630"/>
                  <a:pt x="102026" y="18199"/>
                </a:cubicBezTo>
                <a:cubicBezTo>
                  <a:pt x="101497" y="18767"/>
                  <a:pt x="98854" y="18767"/>
                  <a:pt x="98854" y="18767"/>
                </a:cubicBezTo>
                <a:cubicBezTo>
                  <a:pt x="96740" y="18767"/>
                  <a:pt x="96740" y="18767"/>
                  <a:pt x="96740" y="18767"/>
                </a:cubicBezTo>
                <a:cubicBezTo>
                  <a:pt x="93039" y="19905"/>
                  <a:pt x="93039" y="19905"/>
                  <a:pt x="93039" y="19905"/>
                </a:cubicBezTo>
                <a:cubicBezTo>
                  <a:pt x="93039" y="19905"/>
                  <a:pt x="91982" y="20473"/>
                  <a:pt x="91453" y="20473"/>
                </a:cubicBezTo>
                <a:cubicBezTo>
                  <a:pt x="90925" y="20473"/>
                  <a:pt x="88281" y="19905"/>
                  <a:pt x="88281" y="19905"/>
                </a:cubicBezTo>
                <a:cubicBezTo>
                  <a:pt x="86696" y="20473"/>
                  <a:pt x="86696" y="20473"/>
                  <a:pt x="86696" y="20473"/>
                </a:cubicBezTo>
                <a:cubicBezTo>
                  <a:pt x="82995" y="19336"/>
                  <a:pt x="82995" y="19336"/>
                  <a:pt x="82995" y="19336"/>
                </a:cubicBezTo>
                <a:cubicBezTo>
                  <a:pt x="81938" y="18199"/>
                  <a:pt x="81938" y="18199"/>
                  <a:pt x="81938" y="18199"/>
                </a:cubicBezTo>
                <a:cubicBezTo>
                  <a:pt x="81409" y="17630"/>
                  <a:pt x="81409" y="17630"/>
                  <a:pt x="81409" y="17630"/>
                </a:cubicBezTo>
                <a:cubicBezTo>
                  <a:pt x="78766" y="17061"/>
                  <a:pt x="78766" y="17061"/>
                  <a:pt x="78766" y="17061"/>
                </a:cubicBezTo>
                <a:cubicBezTo>
                  <a:pt x="78237" y="15924"/>
                  <a:pt x="78237" y="15924"/>
                  <a:pt x="78237" y="15924"/>
                </a:cubicBezTo>
                <a:cubicBezTo>
                  <a:pt x="76123" y="15924"/>
                  <a:pt x="76123" y="15924"/>
                  <a:pt x="76123" y="15924"/>
                </a:cubicBezTo>
                <a:cubicBezTo>
                  <a:pt x="76123" y="15924"/>
                  <a:pt x="76123" y="15924"/>
                  <a:pt x="76123" y="15924"/>
                </a:cubicBezTo>
                <a:cubicBezTo>
                  <a:pt x="76123" y="15924"/>
                  <a:pt x="76123" y="15924"/>
                  <a:pt x="76123" y="15924"/>
                </a:cubicBezTo>
                <a:cubicBezTo>
                  <a:pt x="75066" y="15355"/>
                  <a:pt x="75066" y="15355"/>
                  <a:pt x="75066" y="15355"/>
                </a:cubicBezTo>
                <a:cubicBezTo>
                  <a:pt x="75066" y="14786"/>
                  <a:pt x="75066" y="14786"/>
                  <a:pt x="75066" y="14786"/>
                </a:cubicBezTo>
                <a:cubicBezTo>
                  <a:pt x="74537" y="14786"/>
                  <a:pt x="74537" y="14786"/>
                  <a:pt x="74537" y="14218"/>
                </a:cubicBezTo>
                <a:cubicBezTo>
                  <a:pt x="74008" y="13649"/>
                  <a:pt x="74008" y="13649"/>
                  <a:pt x="74008" y="13649"/>
                </a:cubicBezTo>
                <a:cubicBezTo>
                  <a:pt x="71365" y="10236"/>
                  <a:pt x="71365" y="10236"/>
                  <a:pt x="71365" y="10236"/>
                </a:cubicBezTo>
                <a:cubicBezTo>
                  <a:pt x="70837" y="10236"/>
                  <a:pt x="70837" y="10236"/>
                  <a:pt x="70837" y="10236"/>
                </a:cubicBezTo>
                <a:cubicBezTo>
                  <a:pt x="70837" y="10236"/>
                  <a:pt x="70837" y="10236"/>
                  <a:pt x="70837" y="10236"/>
                </a:cubicBezTo>
                <a:cubicBezTo>
                  <a:pt x="66079" y="8530"/>
                  <a:pt x="66079" y="8530"/>
                  <a:pt x="66079" y="8530"/>
                </a:cubicBezTo>
                <a:cubicBezTo>
                  <a:pt x="64493" y="6255"/>
                  <a:pt x="64493" y="6255"/>
                  <a:pt x="64493" y="6255"/>
                </a:cubicBezTo>
                <a:cubicBezTo>
                  <a:pt x="62907" y="5118"/>
                  <a:pt x="62907" y="5118"/>
                  <a:pt x="62907" y="5118"/>
                </a:cubicBezTo>
                <a:cubicBezTo>
                  <a:pt x="60792" y="3412"/>
                  <a:pt x="60792" y="3412"/>
                  <a:pt x="60792" y="3412"/>
                </a:cubicBezTo>
                <a:cubicBezTo>
                  <a:pt x="58678" y="1706"/>
                  <a:pt x="58678" y="1706"/>
                  <a:pt x="58678" y="1706"/>
                </a:cubicBezTo>
                <a:cubicBezTo>
                  <a:pt x="57621" y="568"/>
                  <a:pt x="57621" y="568"/>
                  <a:pt x="57621" y="568"/>
                </a:cubicBezTo>
                <a:cubicBezTo>
                  <a:pt x="57621" y="568"/>
                  <a:pt x="57621" y="568"/>
                  <a:pt x="57621" y="568"/>
                </a:cubicBezTo>
                <a:cubicBezTo>
                  <a:pt x="57621" y="568"/>
                  <a:pt x="57092" y="0"/>
                  <a:pt x="57092" y="0"/>
                </a:cubicBezTo>
                <a:cubicBezTo>
                  <a:pt x="57092" y="0"/>
                  <a:pt x="56563" y="0"/>
                  <a:pt x="56563" y="0"/>
                </a:cubicBezTo>
                <a:cubicBezTo>
                  <a:pt x="56035" y="0"/>
                  <a:pt x="54977" y="0"/>
                  <a:pt x="54977" y="0"/>
                </a:cubicBezTo>
                <a:cubicBezTo>
                  <a:pt x="54977" y="0"/>
                  <a:pt x="54449" y="568"/>
                  <a:pt x="53920" y="568"/>
                </a:cubicBezTo>
                <a:cubicBezTo>
                  <a:pt x="53920" y="568"/>
                  <a:pt x="53392" y="1706"/>
                  <a:pt x="53392" y="1706"/>
                </a:cubicBezTo>
                <a:cubicBezTo>
                  <a:pt x="52863" y="2274"/>
                  <a:pt x="52863" y="2274"/>
                  <a:pt x="52863" y="2274"/>
                </a:cubicBezTo>
                <a:cubicBezTo>
                  <a:pt x="53392" y="2843"/>
                  <a:pt x="53392" y="2843"/>
                  <a:pt x="53392" y="2843"/>
                </a:cubicBezTo>
                <a:cubicBezTo>
                  <a:pt x="54449" y="5118"/>
                  <a:pt x="54977" y="5118"/>
                  <a:pt x="52334" y="4549"/>
                </a:cubicBezTo>
                <a:cubicBezTo>
                  <a:pt x="51277" y="3981"/>
                  <a:pt x="51277" y="3981"/>
                  <a:pt x="51277" y="3981"/>
                </a:cubicBezTo>
                <a:cubicBezTo>
                  <a:pt x="50748" y="4549"/>
                  <a:pt x="50748" y="4549"/>
                  <a:pt x="50748" y="4549"/>
                </a:cubicBezTo>
                <a:cubicBezTo>
                  <a:pt x="49691" y="5118"/>
                  <a:pt x="49691" y="5118"/>
                  <a:pt x="49691" y="5118"/>
                </a:cubicBezTo>
                <a:cubicBezTo>
                  <a:pt x="49691" y="5118"/>
                  <a:pt x="49691" y="5118"/>
                  <a:pt x="49691" y="5118"/>
                </a:cubicBezTo>
                <a:cubicBezTo>
                  <a:pt x="49691" y="5118"/>
                  <a:pt x="49691" y="6255"/>
                  <a:pt x="49691" y="6255"/>
                </a:cubicBezTo>
                <a:cubicBezTo>
                  <a:pt x="49162" y="7393"/>
                  <a:pt x="49162" y="7393"/>
                  <a:pt x="49162" y="7393"/>
                </a:cubicBezTo>
                <a:cubicBezTo>
                  <a:pt x="48105" y="7962"/>
                  <a:pt x="48105" y="7962"/>
                  <a:pt x="48105" y="7962"/>
                </a:cubicBezTo>
                <a:cubicBezTo>
                  <a:pt x="47048" y="8530"/>
                  <a:pt x="47048" y="8530"/>
                  <a:pt x="47048" y="8530"/>
                </a:cubicBezTo>
                <a:cubicBezTo>
                  <a:pt x="46519" y="9099"/>
                  <a:pt x="46519" y="9099"/>
                  <a:pt x="46519" y="9099"/>
                </a:cubicBezTo>
                <a:cubicBezTo>
                  <a:pt x="45462" y="9099"/>
                  <a:pt x="45462" y="9099"/>
                  <a:pt x="45462" y="9099"/>
                </a:cubicBezTo>
                <a:cubicBezTo>
                  <a:pt x="44405" y="9668"/>
                  <a:pt x="44405" y="9668"/>
                  <a:pt x="44405" y="9668"/>
                </a:cubicBezTo>
                <a:cubicBezTo>
                  <a:pt x="43876" y="10805"/>
                  <a:pt x="43876" y="10805"/>
                  <a:pt x="43876" y="10805"/>
                </a:cubicBezTo>
                <a:cubicBezTo>
                  <a:pt x="43876" y="10805"/>
                  <a:pt x="42819" y="10805"/>
                  <a:pt x="42819" y="10805"/>
                </a:cubicBezTo>
                <a:cubicBezTo>
                  <a:pt x="42819" y="10805"/>
                  <a:pt x="41233" y="11374"/>
                  <a:pt x="41233" y="11374"/>
                </a:cubicBezTo>
                <a:cubicBezTo>
                  <a:pt x="41233" y="12511"/>
                  <a:pt x="41233" y="12511"/>
                  <a:pt x="41233" y="12511"/>
                </a:cubicBezTo>
                <a:cubicBezTo>
                  <a:pt x="41233" y="12511"/>
                  <a:pt x="40704" y="13080"/>
                  <a:pt x="40704" y="13080"/>
                </a:cubicBezTo>
                <a:cubicBezTo>
                  <a:pt x="40704" y="13080"/>
                  <a:pt x="40704" y="14786"/>
                  <a:pt x="40704" y="14786"/>
                </a:cubicBezTo>
                <a:cubicBezTo>
                  <a:pt x="40704" y="14786"/>
                  <a:pt x="41762" y="15355"/>
                  <a:pt x="41762" y="15355"/>
                </a:cubicBezTo>
                <a:cubicBezTo>
                  <a:pt x="42290" y="15924"/>
                  <a:pt x="42290" y="15924"/>
                  <a:pt x="42290" y="15924"/>
                </a:cubicBezTo>
                <a:cubicBezTo>
                  <a:pt x="42819" y="16492"/>
                  <a:pt x="42819" y="16492"/>
                  <a:pt x="42819" y="16492"/>
                </a:cubicBezTo>
                <a:cubicBezTo>
                  <a:pt x="42819" y="16492"/>
                  <a:pt x="43348" y="17061"/>
                  <a:pt x="43348" y="17061"/>
                </a:cubicBezTo>
                <a:cubicBezTo>
                  <a:pt x="42819" y="17061"/>
                  <a:pt x="42819" y="18767"/>
                  <a:pt x="42819" y="18767"/>
                </a:cubicBezTo>
                <a:cubicBezTo>
                  <a:pt x="43348" y="20473"/>
                  <a:pt x="43348" y="20473"/>
                  <a:pt x="43348" y="20473"/>
                </a:cubicBezTo>
                <a:cubicBezTo>
                  <a:pt x="42819" y="21042"/>
                  <a:pt x="42819" y="21042"/>
                  <a:pt x="42819" y="21042"/>
                </a:cubicBezTo>
                <a:cubicBezTo>
                  <a:pt x="43348" y="22180"/>
                  <a:pt x="43348" y="22180"/>
                  <a:pt x="43348" y="22180"/>
                </a:cubicBezTo>
                <a:cubicBezTo>
                  <a:pt x="43348" y="22180"/>
                  <a:pt x="43876" y="22180"/>
                  <a:pt x="43348" y="22748"/>
                </a:cubicBezTo>
                <a:cubicBezTo>
                  <a:pt x="42819" y="22748"/>
                  <a:pt x="42290" y="23317"/>
                  <a:pt x="42290" y="23317"/>
                </a:cubicBezTo>
                <a:cubicBezTo>
                  <a:pt x="42290" y="23317"/>
                  <a:pt x="41233" y="23317"/>
                  <a:pt x="41233" y="23317"/>
                </a:cubicBezTo>
                <a:cubicBezTo>
                  <a:pt x="41233" y="23317"/>
                  <a:pt x="40176" y="23317"/>
                  <a:pt x="40176" y="23317"/>
                </a:cubicBezTo>
                <a:cubicBezTo>
                  <a:pt x="39647" y="24454"/>
                  <a:pt x="39647" y="24454"/>
                  <a:pt x="39647" y="24454"/>
                </a:cubicBezTo>
                <a:cubicBezTo>
                  <a:pt x="38590" y="23886"/>
                  <a:pt x="38590" y="23886"/>
                  <a:pt x="38590" y="23886"/>
                </a:cubicBezTo>
                <a:cubicBezTo>
                  <a:pt x="38590" y="25023"/>
                  <a:pt x="38590" y="25023"/>
                  <a:pt x="38590" y="25023"/>
                </a:cubicBezTo>
                <a:cubicBezTo>
                  <a:pt x="37004" y="25592"/>
                  <a:pt x="37004" y="25592"/>
                  <a:pt x="37004" y="25592"/>
                </a:cubicBezTo>
                <a:cubicBezTo>
                  <a:pt x="35947" y="26161"/>
                  <a:pt x="35947" y="26161"/>
                  <a:pt x="35947" y="26161"/>
                </a:cubicBezTo>
                <a:cubicBezTo>
                  <a:pt x="35418" y="27298"/>
                  <a:pt x="35418" y="27298"/>
                  <a:pt x="35418" y="27298"/>
                </a:cubicBezTo>
                <a:cubicBezTo>
                  <a:pt x="35947" y="27867"/>
                  <a:pt x="35947" y="27867"/>
                  <a:pt x="35947" y="27867"/>
                </a:cubicBezTo>
                <a:cubicBezTo>
                  <a:pt x="35947" y="27867"/>
                  <a:pt x="36475" y="28436"/>
                  <a:pt x="36475" y="27867"/>
                </a:cubicBezTo>
                <a:cubicBezTo>
                  <a:pt x="36475" y="27867"/>
                  <a:pt x="36475" y="27298"/>
                  <a:pt x="36475" y="27298"/>
                </a:cubicBezTo>
                <a:cubicBezTo>
                  <a:pt x="37004" y="27867"/>
                  <a:pt x="37533" y="28436"/>
                  <a:pt x="37533" y="28436"/>
                </a:cubicBezTo>
                <a:cubicBezTo>
                  <a:pt x="38061" y="29573"/>
                  <a:pt x="38061" y="29573"/>
                  <a:pt x="38061" y="29573"/>
                </a:cubicBezTo>
                <a:cubicBezTo>
                  <a:pt x="38061" y="29573"/>
                  <a:pt x="37004" y="29573"/>
                  <a:pt x="37004" y="29573"/>
                </a:cubicBezTo>
                <a:cubicBezTo>
                  <a:pt x="37004" y="29573"/>
                  <a:pt x="36475" y="30142"/>
                  <a:pt x="36475" y="30142"/>
                </a:cubicBezTo>
                <a:cubicBezTo>
                  <a:pt x="35947" y="30710"/>
                  <a:pt x="35947" y="30710"/>
                  <a:pt x="35947" y="30710"/>
                </a:cubicBezTo>
                <a:cubicBezTo>
                  <a:pt x="35947" y="31279"/>
                  <a:pt x="35947" y="31279"/>
                  <a:pt x="35947" y="31848"/>
                </a:cubicBezTo>
                <a:cubicBezTo>
                  <a:pt x="35947" y="31848"/>
                  <a:pt x="35947" y="32417"/>
                  <a:pt x="35947" y="32417"/>
                </a:cubicBezTo>
                <a:cubicBezTo>
                  <a:pt x="36475" y="32417"/>
                  <a:pt x="37004" y="33554"/>
                  <a:pt x="37004" y="33554"/>
                </a:cubicBezTo>
                <a:cubicBezTo>
                  <a:pt x="37004" y="33554"/>
                  <a:pt x="37533" y="34123"/>
                  <a:pt x="37533" y="34123"/>
                </a:cubicBezTo>
                <a:cubicBezTo>
                  <a:pt x="37533" y="34123"/>
                  <a:pt x="37533" y="34691"/>
                  <a:pt x="37533" y="34691"/>
                </a:cubicBezTo>
                <a:cubicBezTo>
                  <a:pt x="37533" y="34691"/>
                  <a:pt x="37004" y="35260"/>
                  <a:pt x="36475" y="35260"/>
                </a:cubicBezTo>
                <a:cubicBezTo>
                  <a:pt x="36475" y="35260"/>
                  <a:pt x="35418" y="35260"/>
                  <a:pt x="35418" y="35260"/>
                </a:cubicBezTo>
                <a:cubicBezTo>
                  <a:pt x="35418" y="35260"/>
                  <a:pt x="34889" y="36398"/>
                  <a:pt x="34889" y="36398"/>
                </a:cubicBezTo>
                <a:cubicBezTo>
                  <a:pt x="34889" y="36398"/>
                  <a:pt x="34361" y="36398"/>
                  <a:pt x="33832" y="36398"/>
                </a:cubicBezTo>
                <a:cubicBezTo>
                  <a:pt x="33832" y="36398"/>
                  <a:pt x="34889" y="36966"/>
                  <a:pt x="33832" y="36398"/>
                </a:cubicBezTo>
                <a:cubicBezTo>
                  <a:pt x="32246" y="35829"/>
                  <a:pt x="32246" y="35260"/>
                  <a:pt x="32246" y="35260"/>
                </a:cubicBezTo>
                <a:cubicBezTo>
                  <a:pt x="32246" y="35260"/>
                  <a:pt x="31718" y="34691"/>
                  <a:pt x="31718" y="34691"/>
                </a:cubicBezTo>
                <a:cubicBezTo>
                  <a:pt x="31189" y="34691"/>
                  <a:pt x="30660" y="34691"/>
                  <a:pt x="30660" y="34691"/>
                </a:cubicBezTo>
                <a:cubicBezTo>
                  <a:pt x="29603" y="34691"/>
                  <a:pt x="29603" y="34691"/>
                  <a:pt x="29603" y="34691"/>
                </a:cubicBezTo>
                <a:cubicBezTo>
                  <a:pt x="29074" y="34123"/>
                  <a:pt x="29074" y="34123"/>
                  <a:pt x="29074" y="34123"/>
                </a:cubicBezTo>
                <a:cubicBezTo>
                  <a:pt x="28546" y="35260"/>
                  <a:pt x="28546" y="35260"/>
                  <a:pt x="28546" y="35260"/>
                </a:cubicBezTo>
                <a:cubicBezTo>
                  <a:pt x="28546" y="35260"/>
                  <a:pt x="28546" y="35829"/>
                  <a:pt x="28017" y="35829"/>
                </a:cubicBezTo>
                <a:cubicBezTo>
                  <a:pt x="27488" y="36398"/>
                  <a:pt x="28017" y="36398"/>
                  <a:pt x="27488" y="36398"/>
                </a:cubicBezTo>
                <a:cubicBezTo>
                  <a:pt x="26431" y="36398"/>
                  <a:pt x="25903" y="35260"/>
                  <a:pt x="25903" y="35260"/>
                </a:cubicBezTo>
                <a:cubicBezTo>
                  <a:pt x="25903" y="35260"/>
                  <a:pt x="24845" y="34691"/>
                  <a:pt x="24845" y="34691"/>
                </a:cubicBezTo>
                <a:cubicBezTo>
                  <a:pt x="24317" y="34123"/>
                  <a:pt x="24317" y="34123"/>
                  <a:pt x="24317" y="34123"/>
                </a:cubicBezTo>
                <a:cubicBezTo>
                  <a:pt x="23788" y="34123"/>
                  <a:pt x="23788" y="34691"/>
                  <a:pt x="23788" y="33554"/>
                </a:cubicBezTo>
                <a:cubicBezTo>
                  <a:pt x="23788" y="32985"/>
                  <a:pt x="23788" y="32985"/>
                  <a:pt x="23788" y="32985"/>
                </a:cubicBezTo>
                <a:cubicBezTo>
                  <a:pt x="23259" y="32417"/>
                  <a:pt x="23259" y="32985"/>
                  <a:pt x="22731" y="32417"/>
                </a:cubicBezTo>
                <a:cubicBezTo>
                  <a:pt x="22731" y="31848"/>
                  <a:pt x="22202" y="31279"/>
                  <a:pt x="22202" y="31279"/>
                </a:cubicBezTo>
                <a:cubicBezTo>
                  <a:pt x="21674" y="30142"/>
                  <a:pt x="21674" y="30142"/>
                  <a:pt x="21674" y="30142"/>
                </a:cubicBezTo>
                <a:cubicBezTo>
                  <a:pt x="21674" y="30142"/>
                  <a:pt x="21674" y="30142"/>
                  <a:pt x="21674" y="30710"/>
                </a:cubicBezTo>
                <a:cubicBezTo>
                  <a:pt x="21145" y="31279"/>
                  <a:pt x="20616" y="31279"/>
                  <a:pt x="20616" y="31279"/>
                </a:cubicBezTo>
                <a:cubicBezTo>
                  <a:pt x="20616" y="31848"/>
                  <a:pt x="20088" y="32417"/>
                  <a:pt x="20088" y="32417"/>
                </a:cubicBezTo>
                <a:cubicBezTo>
                  <a:pt x="20088" y="32417"/>
                  <a:pt x="19559" y="32985"/>
                  <a:pt x="19559" y="33554"/>
                </a:cubicBezTo>
                <a:cubicBezTo>
                  <a:pt x="20088" y="33554"/>
                  <a:pt x="20088" y="33554"/>
                  <a:pt x="20088" y="34123"/>
                </a:cubicBezTo>
                <a:cubicBezTo>
                  <a:pt x="20088" y="34123"/>
                  <a:pt x="19559" y="34691"/>
                  <a:pt x="19559" y="34691"/>
                </a:cubicBezTo>
                <a:cubicBezTo>
                  <a:pt x="19030" y="35260"/>
                  <a:pt x="19030" y="35260"/>
                  <a:pt x="18502" y="35260"/>
                </a:cubicBezTo>
                <a:cubicBezTo>
                  <a:pt x="18502" y="35829"/>
                  <a:pt x="17444" y="36398"/>
                  <a:pt x="17444" y="36398"/>
                </a:cubicBezTo>
                <a:cubicBezTo>
                  <a:pt x="16387" y="36398"/>
                  <a:pt x="16387" y="36398"/>
                  <a:pt x="16387" y="36398"/>
                </a:cubicBezTo>
                <a:cubicBezTo>
                  <a:pt x="14801" y="35829"/>
                  <a:pt x="14801" y="35829"/>
                  <a:pt x="14801" y="35829"/>
                </a:cubicBezTo>
                <a:cubicBezTo>
                  <a:pt x="13744" y="36966"/>
                  <a:pt x="13744" y="36966"/>
                  <a:pt x="13744" y="36966"/>
                </a:cubicBezTo>
                <a:cubicBezTo>
                  <a:pt x="13744" y="36966"/>
                  <a:pt x="13215" y="36966"/>
                  <a:pt x="13215" y="36966"/>
                </a:cubicBezTo>
                <a:cubicBezTo>
                  <a:pt x="12687" y="36966"/>
                  <a:pt x="12158" y="36966"/>
                  <a:pt x="12158" y="36966"/>
                </a:cubicBezTo>
                <a:cubicBezTo>
                  <a:pt x="12158" y="36966"/>
                  <a:pt x="11629" y="36398"/>
                  <a:pt x="11101" y="36398"/>
                </a:cubicBezTo>
                <a:cubicBezTo>
                  <a:pt x="11101" y="36398"/>
                  <a:pt x="10572" y="36398"/>
                  <a:pt x="10572" y="36398"/>
                </a:cubicBezTo>
                <a:cubicBezTo>
                  <a:pt x="10044" y="36398"/>
                  <a:pt x="9515" y="36398"/>
                  <a:pt x="9515" y="36398"/>
                </a:cubicBezTo>
                <a:cubicBezTo>
                  <a:pt x="9515" y="36966"/>
                  <a:pt x="9515" y="36966"/>
                  <a:pt x="9515" y="36966"/>
                </a:cubicBezTo>
                <a:cubicBezTo>
                  <a:pt x="9515" y="36966"/>
                  <a:pt x="10044" y="36966"/>
                  <a:pt x="10044" y="36966"/>
                </a:cubicBezTo>
                <a:cubicBezTo>
                  <a:pt x="10044" y="37535"/>
                  <a:pt x="10044" y="38104"/>
                  <a:pt x="10044" y="38104"/>
                </a:cubicBezTo>
                <a:cubicBezTo>
                  <a:pt x="10044" y="38104"/>
                  <a:pt x="9515" y="38104"/>
                  <a:pt x="9515" y="38104"/>
                </a:cubicBezTo>
                <a:cubicBezTo>
                  <a:pt x="9515" y="38672"/>
                  <a:pt x="8458" y="38672"/>
                  <a:pt x="8458" y="38672"/>
                </a:cubicBezTo>
                <a:cubicBezTo>
                  <a:pt x="8458" y="38672"/>
                  <a:pt x="8458" y="39241"/>
                  <a:pt x="8458" y="39241"/>
                </a:cubicBezTo>
                <a:cubicBezTo>
                  <a:pt x="8458" y="39241"/>
                  <a:pt x="8458" y="39241"/>
                  <a:pt x="7929" y="39241"/>
                </a:cubicBezTo>
                <a:cubicBezTo>
                  <a:pt x="7400" y="39241"/>
                  <a:pt x="7400" y="39241"/>
                  <a:pt x="6872" y="39241"/>
                </a:cubicBezTo>
                <a:cubicBezTo>
                  <a:pt x="6872" y="38672"/>
                  <a:pt x="6343" y="38672"/>
                  <a:pt x="5814" y="38672"/>
                </a:cubicBezTo>
                <a:cubicBezTo>
                  <a:pt x="5814" y="38672"/>
                  <a:pt x="4229" y="38104"/>
                  <a:pt x="4229" y="38104"/>
                </a:cubicBezTo>
                <a:cubicBezTo>
                  <a:pt x="4229" y="38104"/>
                  <a:pt x="3700" y="38672"/>
                  <a:pt x="3700" y="38672"/>
                </a:cubicBezTo>
                <a:cubicBezTo>
                  <a:pt x="3171" y="38672"/>
                  <a:pt x="2643" y="38672"/>
                  <a:pt x="2114" y="38104"/>
                </a:cubicBezTo>
                <a:cubicBezTo>
                  <a:pt x="2114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8104"/>
                  <a:pt x="1585" y="38104"/>
                  <a:pt x="1585" y="38104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7535"/>
                  <a:pt x="1585" y="37535"/>
                  <a:pt x="1585" y="37535"/>
                </a:cubicBezTo>
                <a:cubicBezTo>
                  <a:pt x="1585" y="36966"/>
                  <a:pt x="1585" y="36966"/>
                  <a:pt x="1585" y="36966"/>
                </a:cubicBezTo>
                <a:cubicBezTo>
                  <a:pt x="0" y="38104"/>
                  <a:pt x="0" y="38104"/>
                  <a:pt x="0" y="38104"/>
                </a:cubicBezTo>
                <a:cubicBezTo>
                  <a:pt x="1057" y="40379"/>
                  <a:pt x="1057" y="40379"/>
                  <a:pt x="1057" y="40379"/>
                </a:cubicBezTo>
                <a:cubicBezTo>
                  <a:pt x="528" y="40947"/>
                  <a:pt x="528" y="40947"/>
                  <a:pt x="528" y="40947"/>
                </a:cubicBezTo>
                <a:cubicBezTo>
                  <a:pt x="528" y="40947"/>
                  <a:pt x="1057" y="41516"/>
                  <a:pt x="1057" y="41516"/>
                </a:cubicBezTo>
                <a:cubicBezTo>
                  <a:pt x="1057" y="42085"/>
                  <a:pt x="1585" y="42085"/>
                  <a:pt x="1585" y="42654"/>
                </a:cubicBezTo>
                <a:cubicBezTo>
                  <a:pt x="1585" y="43222"/>
                  <a:pt x="1585" y="43791"/>
                  <a:pt x="1585" y="43791"/>
                </a:cubicBezTo>
                <a:cubicBezTo>
                  <a:pt x="2114" y="43791"/>
                  <a:pt x="2114" y="43791"/>
                  <a:pt x="2114" y="43791"/>
                </a:cubicBezTo>
                <a:cubicBezTo>
                  <a:pt x="2643" y="44928"/>
                  <a:pt x="2643" y="44928"/>
                  <a:pt x="2643" y="44928"/>
                </a:cubicBezTo>
                <a:cubicBezTo>
                  <a:pt x="2643" y="45497"/>
                  <a:pt x="2643" y="45497"/>
                  <a:pt x="2643" y="45497"/>
                </a:cubicBezTo>
                <a:cubicBezTo>
                  <a:pt x="2643" y="46635"/>
                  <a:pt x="2643" y="46635"/>
                  <a:pt x="2643" y="46635"/>
                </a:cubicBezTo>
                <a:cubicBezTo>
                  <a:pt x="2643" y="46635"/>
                  <a:pt x="3171" y="47203"/>
                  <a:pt x="3171" y="47772"/>
                </a:cubicBezTo>
                <a:cubicBezTo>
                  <a:pt x="3171" y="47772"/>
                  <a:pt x="3171" y="48341"/>
                  <a:pt x="3171" y="48909"/>
                </a:cubicBezTo>
                <a:cubicBezTo>
                  <a:pt x="3171" y="48909"/>
                  <a:pt x="4229" y="50047"/>
                  <a:pt x="4229" y="50047"/>
                </a:cubicBezTo>
                <a:cubicBezTo>
                  <a:pt x="4229" y="51184"/>
                  <a:pt x="4229" y="51184"/>
                  <a:pt x="4229" y="51184"/>
                </a:cubicBezTo>
                <a:cubicBezTo>
                  <a:pt x="4229" y="51184"/>
                  <a:pt x="4757" y="51753"/>
                  <a:pt x="5286" y="52322"/>
                </a:cubicBezTo>
                <a:cubicBezTo>
                  <a:pt x="5286" y="52322"/>
                  <a:pt x="5814" y="52890"/>
                  <a:pt x="5814" y="52890"/>
                </a:cubicBezTo>
                <a:cubicBezTo>
                  <a:pt x="6343" y="54028"/>
                  <a:pt x="6343" y="54028"/>
                  <a:pt x="6343" y="54028"/>
                </a:cubicBezTo>
                <a:cubicBezTo>
                  <a:pt x="6872" y="55165"/>
                  <a:pt x="6872" y="55165"/>
                  <a:pt x="6872" y="55165"/>
                </a:cubicBezTo>
                <a:cubicBezTo>
                  <a:pt x="7400" y="55734"/>
                  <a:pt x="7400" y="55734"/>
                  <a:pt x="7400" y="55734"/>
                </a:cubicBezTo>
                <a:cubicBezTo>
                  <a:pt x="7929" y="56872"/>
                  <a:pt x="7929" y="56872"/>
                  <a:pt x="7929" y="56872"/>
                </a:cubicBezTo>
                <a:cubicBezTo>
                  <a:pt x="8458" y="57440"/>
                  <a:pt x="8458" y="57440"/>
                  <a:pt x="8458" y="57440"/>
                </a:cubicBezTo>
                <a:cubicBezTo>
                  <a:pt x="8986" y="58009"/>
                  <a:pt x="8986" y="58009"/>
                  <a:pt x="8986" y="58009"/>
                </a:cubicBezTo>
                <a:cubicBezTo>
                  <a:pt x="8986" y="58009"/>
                  <a:pt x="8986" y="58578"/>
                  <a:pt x="9515" y="58578"/>
                </a:cubicBezTo>
                <a:cubicBezTo>
                  <a:pt x="10044" y="58578"/>
                  <a:pt x="10572" y="58578"/>
                  <a:pt x="10572" y="58578"/>
                </a:cubicBezTo>
                <a:cubicBezTo>
                  <a:pt x="11101" y="58578"/>
                  <a:pt x="11101" y="59146"/>
                  <a:pt x="11629" y="57440"/>
                </a:cubicBezTo>
                <a:cubicBezTo>
                  <a:pt x="11629" y="56303"/>
                  <a:pt x="11629" y="55734"/>
                  <a:pt x="11629" y="55734"/>
                </a:cubicBezTo>
                <a:cubicBezTo>
                  <a:pt x="11629" y="55734"/>
                  <a:pt x="12158" y="55734"/>
                  <a:pt x="12158" y="55165"/>
                </a:cubicBezTo>
                <a:cubicBezTo>
                  <a:pt x="12687" y="55165"/>
                  <a:pt x="13215" y="55165"/>
                  <a:pt x="13215" y="54597"/>
                </a:cubicBezTo>
                <a:cubicBezTo>
                  <a:pt x="13215" y="53459"/>
                  <a:pt x="12158" y="52890"/>
                  <a:pt x="12158" y="52890"/>
                </a:cubicBezTo>
                <a:cubicBezTo>
                  <a:pt x="12158" y="52890"/>
                  <a:pt x="13215" y="52322"/>
                  <a:pt x="13744" y="52890"/>
                </a:cubicBezTo>
                <a:cubicBezTo>
                  <a:pt x="13744" y="53459"/>
                  <a:pt x="13744" y="54028"/>
                  <a:pt x="14273" y="53459"/>
                </a:cubicBezTo>
                <a:cubicBezTo>
                  <a:pt x="14801" y="52322"/>
                  <a:pt x="14801" y="52322"/>
                  <a:pt x="14801" y="52322"/>
                </a:cubicBezTo>
                <a:cubicBezTo>
                  <a:pt x="14273" y="51753"/>
                  <a:pt x="14273" y="51184"/>
                  <a:pt x="14273" y="50616"/>
                </a:cubicBezTo>
                <a:cubicBezTo>
                  <a:pt x="14273" y="50616"/>
                  <a:pt x="14801" y="50047"/>
                  <a:pt x="14801" y="49478"/>
                </a:cubicBezTo>
                <a:cubicBezTo>
                  <a:pt x="15330" y="48909"/>
                  <a:pt x="15330" y="48341"/>
                  <a:pt x="15330" y="47772"/>
                </a:cubicBezTo>
                <a:cubicBezTo>
                  <a:pt x="15330" y="46635"/>
                  <a:pt x="15330" y="47203"/>
                  <a:pt x="15859" y="46066"/>
                </a:cubicBezTo>
                <a:cubicBezTo>
                  <a:pt x="15859" y="45497"/>
                  <a:pt x="15859" y="46066"/>
                  <a:pt x="15859" y="43791"/>
                </a:cubicBezTo>
                <a:cubicBezTo>
                  <a:pt x="16387" y="42085"/>
                  <a:pt x="16387" y="41516"/>
                  <a:pt x="16916" y="41516"/>
                </a:cubicBezTo>
                <a:cubicBezTo>
                  <a:pt x="16916" y="41516"/>
                  <a:pt x="21145" y="43222"/>
                  <a:pt x="21145" y="43222"/>
                </a:cubicBezTo>
                <a:cubicBezTo>
                  <a:pt x="21145" y="43222"/>
                  <a:pt x="21674" y="44360"/>
                  <a:pt x="21674" y="44360"/>
                </a:cubicBezTo>
                <a:cubicBezTo>
                  <a:pt x="21674" y="44928"/>
                  <a:pt x="21674" y="45497"/>
                  <a:pt x="21674" y="45497"/>
                </a:cubicBezTo>
                <a:cubicBezTo>
                  <a:pt x="21674" y="46066"/>
                  <a:pt x="21145" y="47203"/>
                  <a:pt x="21145" y="47203"/>
                </a:cubicBezTo>
                <a:cubicBezTo>
                  <a:pt x="21145" y="47772"/>
                  <a:pt x="21145" y="47772"/>
                  <a:pt x="21145" y="47772"/>
                </a:cubicBezTo>
                <a:cubicBezTo>
                  <a:pt x="21145" y="47772"/>
                  <a:pt x="20088" y="47772"/>
                  <a:pt x="20088" y="48909"/>
                </a:cubicBezTo>
                <a:cubicBezTo>
                  <a:pt x="19559" y="49478"/>
                  <a:pt x="19559" y="49478"/>
                  <a:pt x="20088" y="50047"/>
                </a:cubicBezTo>
                <a:cubicBezTo>
                  <a:pt x="20616" y="50616"/>
                  <a:pt x="21145" y="51184"/>
                  <a:pt x="21145" y="51184"/>
                </a:cubicBezTo>
                <a:cubicBezTo>
                  <a:pt x="21674" y="51184"/>
                  <a:pt x="22202" y="50616"/>
                  <a:pt x="22731" y="50616"/>
                </a:cubicBezTo>
                <a:cubicBezTo>
                  <a:pt x="22731" y="50616"/>
                  <a:pt x="23259" y="50616"/>
                  <a:pt x="23259" y="50616"/>
                </a:cubicBezTo>
                <a:cubicBezTo>
                  <a:pt x="23259" y="51184"/>
                  <a:pt x="23259" y="51753"/>
                  <a:pt x="23788" y="52322"/>
                </a:cubicBezTo>
                <a:cubicBezTo>
                  <a:pt x="24317" y="52322"/>
                  <a:pt x="24845" y="52890"/>
                  <a:pt x="24845" y="52890"/>
                </a:cubicBezTo>
                <a:cubicBezTo>
                  <a:pt x="25374" y="52890"/>
                  <a:pt x="25903" y="52890"/>
                  <a:pt x="25903" y="52890"/>
                </a:cubicBezTo>
                <a:cubicBezTo>
                  <a:pt x="25903" y="52890"/>
                  <a:pt x="26431" y="52322"/>
                  <a:pt x="26960" y="52322"/>
                </a:cubicBezTo>
                <a:cubicBezTo>
                  <a:pt x="26960" y="52322"/>
                  <a:pt x="28546" y="54028"/>
                  <a:pt x="27488" y="51753"/>
                </a:cubicBezTo>
                <a:cubicBezTo>
                  <a:pt x="25903" y="50047"/>
                  <a:pt x="25903" y="50047"/>
                  <a:pt x="25903" y="49478"/>
                </a:cubicBezTo>
                <a:cubicBezTo>
                  <a:pt x="25374" y="49478"/>
                  <a:pt x="24845" y="48909"/>
                  <a:pt x="24845" y="48909"/>
                </a:cubicBezTo>
                <a:cubicBezTo>
                  <a:pt x="24317" y="48909"/>
                  <a:pt x="24317" y="48909"/>
                  <a:pt x="24317" y="48909"/>
                </a:cubicBezTo>
                <a:cubicBezTo>
                  <a:pt x="24317" y="48909"/>
                  <a:pt x="24317" y="48341"/>
                  <a:pt x="24317" y="47772"/>
                </a:cubicBezTo>
                <a:cubicBezTo>
                  <a:pt x="24845" y="47203"/>
                  <a:pt x="24845" y="47203"/>
                  <a:pt x="25374" y="47203"/>
                </a:cubicBezTo>
                <a:cubicBezTo>
                  <a:pt x="25903" y="47203"/>
                  <a:pt x="25903" y="46635"/>
                  <a:pt x="26960" y="47772"/>
                </a:cubicBezTo>
                <a:cubicBezTo>
                  <a:pt x="27488" y="48341"/>
                  <a:pt x="27488" y="48341"/>
                  <a:pt x="27488" y="48909"/>
                </a:cubicBezTo>
                <a:cubicBezTo>
                  <a:pt x="28017" y="50047"/>
                  <a:pt x="28546" y="50616"/>
                  <a:pt x="29074" y="51184"/>
                </a:cubicBezTo>
                <a:cubicBezTo>
                  <a:pt x="29074" y="51184"/>
                  <a:pt x="29603" y="51184"/>
                  <a:pt x="29603" y="52322"/>
                </a:cubicBezTo>
                <a:cubicBezTo>
                  <a:pt x="29603" y="53459"/>
                  <a:pt x="29603" y="54597"/>
                  <a:pt x="29603" y="55165"/>
                </a:cubicBezTo>
                <a:cubicBezTo>
                  <a:pt x="29603" y="55165"/>
                  <a:pt x="29603" y="57440"/>
                  <a:pt x="29603" y="57440"/>
                </a:cubicBezTo>
                <a:cubicBezTo>
                  <a:pt x="29603" y="57440"/>
                  <a:pt x="29603" y="58578"/>
                  <a:pt x="29603" y="59146"/>
                </a:cubicBezTo>
                <a:cubicBezTo>
                  <a:pt x="29603" y="59715"/>
                  <a:pt x="32246" y="63696"/>
                  <a:pt x="32246" y="63696"/>
                </a:cubicBezTo>
                <a:cubicBezTo>
                  <a:pt x="32246" y="63696"/>
                  <a:pt x="33303" y="65402"/>
                  <a:pt x="33832" y="65402"/>
                </a:cubicBezTo>
                <a:cubicBezTo>
                  <a:pt x="33832" y="65402"/>
                  <a:pt x="34361" y="67109"/>
                  <a:pt x="34889" y="67677"/>
                </a:cubicBezTo>
                <a:cubicBezTo>
                  <a:pt x="35947" y="67677"/>
                  <a:pt x="38061" y="68815"/>
                  <a:pt x="38061" y="68815"/>
                </a:cubicBezTo>
                <a:cubicBezTo>
                  <a:pt x="41762" y="71090"/>
                  <a:pt x="41762" y="71090"/>
                  <a:pt x="41762" y="71090"/>
                </a:cubicBezTo>
                <a:cubicBezTo>
                  <a:pt x="41762" y="71090"/>
                  <a:pt x="42819" y="72796"/>
                  <a:pt x="43348" y="72796"/>
                </a:cubicBezTo>
                <a:cubicBezTo>
                  <a:pt x="43348" y="72796"/>
                  <a:pt x="45991" y="72796"/>
                  <a:pt x="43876" y="72796"/>
                </a:cubicBezTo>
                <a:cubicBezTo>
                  <a:pt x="42290" y="72796"/>
                  <a:pt x="40176" y="71658"/>
                  <a:pt x="40176" y="71658"/>
                </a:cubicBezTo>
                <a:cubicBezTo>
                  <a:pt x="40176" y="71658"/>
                  <a:pt x="39647" y="70521"/>
                  <a:pt x="39647" y="70521"/>
                </a:cubicBezTo>
                <a:cubicBezTo>
                  <a:pt x="39118" y="70521"/>
                  <a:pt x="37004" y="69952"/>
                  <a:pt x="36475" y="69383"/>
                </a:cubicBezTo>
                <a:cubicBezTo>
                  <a:pt x="36475" y="69383"/>
                  <a:pt x="35947" y="68815"/>
                  <a:pt x="35418" y="68246"/>
                </a:cubicBezTo>
                <a:cubicBezTo>
                  <a:pt x="34889" y="67109"/>
                  <a:pt x="33832" y="66540"/>
                  <a:pt x="33832" y="66540"/>
                </a:cubicBezTo>
                <a:cubicBezTo>
                  <a:pt x="33832" y="66540"/>
                  <a:pt x="33303" y="65971"/>
                  <a:pt x="32775" y="64834"/>
                </a:cubicBezTo>
                <a:cubicBezTo>
                  <a:pt x="32246" y="64265"/>
                  <a:pt x="32246" y="64265"/>
                  <a:pt x="32246" y="63696"/>
                </a:cubicBezTo>
                <a:cubicBezTo>
                  <a:pt x="31718" y="63696"/>
                  <a:pt x="32246" y="63696"/>
                  <a:pt x="31189" y="63127"/>
                </a:cubicBezTo>
                <a:cubicBezTo>
                  <a:pt x="30132" y="62559"/>
                  <a:pt x="29603" y="61990"/>
                  <a:pt x="29603" y="61990"/>
                </a:cubicBezTo>
                <a:cubicBezTo>
                  <a:pt x="29074" y="61990"/>
                  <a:pt x="28017" y="61421"/>
                  <a:pt x="28017" y="61421"/>
                </a:cubicBezTo>
                <a:cubicBezTo>
                  <a:pt x="28017" y="61421"/>
                  <a:pt x="26960" y="60284"/>
                  <a:pt x="26960" y="60284"/>
                </a:cubicBezTo>
                <a:cubicBezTo>
                  <a:pt x="26960" y="60284"/>
                  <a:pt x="26431" y="61421"/>
                  <a:pt x="27488" y="61990"/>
                </a:cubicBezTo>
                <a:cubicBezTo>
                  <a:pt x="28017" y="61990"/>
                  <a:pt x="29074" y="63127"/>
                  <a:pt x="29074" y="63127"/>
                </a:cubicBezTo>
                <a:cubicBezTo>
                  <a:pt x="29074" y="63127"/>
                  <a:pt x="30132" y="63696"/>
                  <a:pt x="30132" y="63696"/>
                </a:cubicBezTo>
                <a:cubicBezTo>
                  <a:pt x="30132" y="63696"/>
                  <a:pt x="30132" y="64834"/>
                  <a:pt x="30132" y="64834"/>
                </a:cubicBezTo>
                <a:cubicBezTo>
                  <a:pt x="30132" y="64834"/>
                  <a:pt x="28546" y="64265"/>
                  <a:pt x="30132" y="64834"/>
                </a:cubicBezTo>
                <a:cubicBezTo>
                  <a:pt x="31189" y="65402"/>
                  <a:pt x="32246" y="65402"/>
                  <a:pt x="32246" y="65402"/>
                </a:cubicBezTo>
                <a:cubicBezTo>
                  <a:pt x="32246" y="65402"/>
                  <a:pt x="31189" y="65971"/>
                  <a:pt x="30660" y="65971"/>
                </a:cubicBezTo>
                <a:cubicBezTo>
                  <a:pt x="30660" y="66540"/>
                  <a:pt x="31718" y="68246"/>
                  <a:pt x="31718" y="67677"/>
                </a:cubicBezTo>
                <a:cubicBezTo>
                  <a:pt x="32246" y="67677"/>
                  <a:pt x="32775" y="68246"/>
                  <a:pt x="33303" y="68246"/>
                </a:cubicBezTo>
                <a:cubicBezTo>
                  <a:pt x="33303" y="68246"/>
                  <a:pt x="34361" y="68246"/>
                  <a:pt x="34361" y="68815"/>
                </a:cubicBezTo>
                <a:cubicBezTo>
                  <a:pt x="34889" y="68815"/>
                  <a:pt x="34889" y="68815"/>
                  <a:pt x="34889" y="69383"/>
                </a:cubicBezTo>
                <a:cubicBezTo>
                  <a:pt x="34361" y="69383"/>
                  <a:pt x="34889" y="70521"/>
                  <a:pt x="34889" y="70521"/>
                </a:cubicBezTo>
                <a:cubicBezTo>
                  <a:pt x="35947" y="71090"/>
                  <a:pt x="35947" y="71090"/>
                  <a:pt x="35947" y="71090"/>
                </a:cubicBezTo>
                <a:cubicBezTo>
                  <a:pt x="35947" y="71090"/>
                  <a:pt x="34361" y="71090"/>
                  <a:pt x="34361" y="70521"/>
                </a:cubicBezTo>
                <a:cubicBezTo>
                  <a:pt x="33832" y="70521"/>
                  <a:pt x="33832" y="69952"/>
                  <a:pt x="33303" y="70521"/>
                </a:cubicBezTo>
                <a:cubicBezTo>
                  <a:pt x="32775" y="71090"/>
                  <a:pt x="32775" y="71090"/>
                  <a:pt x="32775" y="71658"/>
                </a:cubicBezTo>
                <a:cubicBezTo>
                  <a:pt x="33303" y="72227"/>
                  <a:pt x="33832" y="72796"/>
                  <a:pt x="34361" y="72227"/>
                </a:cubicBezTo>
                <a:cubicBezTo>
                  <a:pt x="34361" y="72227"/>
                  <a:pt x="34361" y="72227"/>
                  <a:pt x="34889" y="71658"/>
                </a:cubicBezTo>
                <a:cubicBezTo>
                  <a:pt x="34889" y="71658"/>
                  <a:pt x="34889" y="71658"/>
                  <a:pt x="35418" y="71658"/>
                </a:cubicBezTo>
                <a:cubicBezTo>
                  <a:pt x="35418" y="71658"/>
                  <a:pt x="35947" y="71658"/>
                  <a:pt x="35947" y="71658"/>
                </a:cubicBezTo>
                <a:cubicBezTo>
                  <a:pt x="36475" y="71090"/>
                  <a:pt x="36475" y="71090"/>
                  <a:pt x="36475" y="71090"/>
                </a:cubicBezTo>
                <a:cubicBezTo>
                  <a:pt x="36475" y="71090"/>
                  <a:pt x="36475" y="71090"/>
                  <a:pt x="36475" y="71658"/>
                </a:cubicBezTo>
                <a:cubicBezTo>
                  <a:pt x="36475" y="71658"/>
                  <a:pt x="37004" y="71658"/>
                  <a:pt x="36475" y="72227"/>
                </a:cubicBezTo>
                <a:cubicBezTo>
                  <a:pt x="36475" y="72796"/>
                  <a:pt x="35947" y="72796"/>
                  <a:pt x="35947" y="72796"/>
                </a:cubicBezTo>
                <a:cubicBezTo>
                  <a:pt x="35947" y="73364"/>
                  <a:pt x="35418" y="72796"/>
                  <a:pt x="35947" y="73933"/>
                </a:cubicBezTo>
                <a:cubicBezTo>
                  <a:pt x="35947" y="74502"/>
                  <a:pt x="35947" y="75071"/>
                  <a:pt x="35947" y="75071"/>
                </a:cubicBezTo>
                <a:cubicBezTo>
                  <a:pt x="35947" y="75071"/>
                  <a:pt x="36475" y="75071"/>
                  <a:pt x="36475" y="75071"/>
                </a:cubicBezTo>
                <a:cubicBezTo>
                  <a:pt x="37004" y="75639"/>
                  <a:pt x="37004" y="76208"/>
                  <a:pt x="37004" y="76777"/>
                </a:cubicBezTo>
                <a:cubicBezTo>
                  <a:pt x="37533" y="76777"/>
                  <a:pt x="38590" y="78483"/>
                  <a:pt x="38590" y="78483"/>
                </a:cubicBezTo>
                <a:cubicBezTo>
                  <a:pt x="38590" y="78483"/>
                  <a:pt x="40176" y="79620"/>
                  <a:pt x="40176" y="79620"/>
                </a:cubicBezTo>
                <a:cubicBezTo>
                  <a:pt x="40176" y="79620"/>
                  <a:pt x="40704" y="80189"/>
                  <a:pt x="40704" y="80189"/>
                </a:cubicBezTo>
                <a:cubicBezTo>
                  <a:pt x="40704" y="80189"/>
                  <a:pt x="40704" y="80758"/>
                  <a:pt x="40176" y="80189"/>
                </a:cubicBezTo>
                <a:cubicBezTo>
                  <a:pt x="39647" y="79620"/>
                  <a:pt x="38590" y="79052"/>
                  <a:pt x="38590" y="79052"/>
                </a:cubicBezTo>
                <a:cubicBezTo>
                  <a:pt x="38590" y="80189"/>
                  <a:pt x="38590" y="80189"/>
                  <a:pt x="38590" y="80189"/>
                </a:cubicBezTo>
                <a:cubicBezTo>
                  <a:pt x="38590" y="80189"/>
                  <a:pt x="39118" y="80758"/>
                  <a:pt x="39647" y="80758"/>
                </a:cubicBezTo>
                <a:cubicBezTo>
                  <a:pt x="39647" y="81327"/>
                  <a:pt x="39647" y="81327"/>
                  <a:pt x="40176" y="81895"/>
                </a:cubicBezTo>
                <a:cubicBezTo>
                  <a:pt x="40704" y="81895"/>
                  <a:pt x="41233" y="81895"/>
                  <a:pt x="41762" y="81895"/>
                </a:cubicBezTo>
                <a:cubicBezTo>
                  <a:pt x="41762" y="82464"/>
                  <a:pt x="41762" y="81327"/>
                  <a:pt x="41762" y="81327"/>
                </a:cubicBezTo>
                <a:cubicBezTo>
                  <a:pt x="41762" y="81327"/>
                  <a:pt x="42290" y="81327"/>
                  <a:pt x="42290" y="81327"/>
                </a:cubicBezTo>
                <a:cubicBezTo>
                  <a:pt x="42290" y="81895"/>
                  <a:pt x="42819" y="82464"/>
                  <a:pt x="42290" y="83033"/>
                </a:cubicBezTo>
                <a:cubicBezTo>
                  <a:pt x="42290" y="83033"/>
                  <a:pt x="42290" y="83601"/>
                  <a:pt x="41762" y="83033"/>
                </a:cubicBezTo>
                <a:cubicBezTo>
                  <a:pt x="41233" y="83033"/>
                  <a:pt x="40704" y="82464"/>
                  <a:pt x="40176" y="82464"/>
                </a:cubicBezTo>
                <a:cubicBezTo>
                  <a:pt x="40176" y="82464"/>
                  <a:pt x="39647" y="81895"/>
                  <a:pt x="39118" y="82464"/>
                </a:cubicBezTo>
                <a:cubicBezTo>
                  <a:pt x="39118" y="82464"/>
                  <a:pt x="38061" y="81895"/>
                  <a:pt x="38061" y="82464"/>
                </a:cubicBezTo>
                <a:cubicBezTo>
                  <a:pt x="38061" y="83033"/>
                  <a:pt x="38061" y="83601"/>
                  <a:pt x="38061" y="83601"/>
                </a:cubicBezTo>
                <a:cubicBezTo>
                  <a:pt x="38061" y="83601"/>
                  <a:pt x="37533" y="81327"/>
                  <a:pt x="37004" y="81327"/>
                </a:cubicBezTo>
                <a:cubicBezTo>
                  <a:pt x="36475" y="81327"/>
                  <a:pt x="35418" y="80758"/>
                  <a:pt x="35418" y="80758"/>
                </a:cubicBezTo>
                <a:cubicBezTo>
                  <a:pt x="34889" y="79620"/>
                  <a:pt x="34889" y="79620"/>
                  <a:pt x="34889" y="79620"/>
                </a:cubicBezTo>
                <a:cubicBezTo>
                  <a:pt x="34889" y="79620"/>
                  <a:pt x="35418" y="79620"/>
                  <a:pt x="35418" y="79620"/>
                </a:cubicBezTo>
                <a:cubicBezTo>
                  <a:pt x="35947" y="80189"/>
                  <a:pt x="35418" y="80189"/>
                  <a:pt x="35947" y="80189"/>
                </a:cubicBezTo>
                <a:cubicBezTo>
                  <a:pt x="36475" y="80189"/>
                  <a:pt x="35418" y="79052"/>
                  <a:pt x="36475" y="79052"/>
                </a:cubicBezTo>
                <a:cubicBezTo>
                  <a:pt x="37533" y="79052"/>
                  <a:pt x="37533" y="79052"/>
                  <a:pt x="37533" y="79052"/>
                </a:cubicBezTo>
                <a:cubicBezTo>
                  <a:pt x="37533" y="78483"/>
                  <a:pt x="38590" y="78483"/>
                  <a:pt x="37533" y="77914"/>
                </a:cubicBezTo>
                <a:cubicBezTo>
                  <a:pt x="36475" y="77345"/>
                  <a:pt x="36475" y="77345"/>
                  <a:pt x="36475" y="77345"/>
                </a:cubicBezTo>
                <a:cubicBezTo>
                  <a:pt x="35947" y="77345"/>
                  <a:pt x="35947" y="77345"/>
                  <a:pt x="35947" y="76777"/>
                </a:cubicBezTo>
                <a:cubicBezTo>
                  <a:pt x="35418" y="76208"/>
                  <a:pt x="35418" y="75639"/>
                  <a:pt x="34889" y="75639"/>
                </a:cubicBezTo>
                <a:cubicBezTo>
                  <a:pt x="34889" y="75639"/>
                  <a:pt x="33303" y="75639"/>
                  <a:pt x="33303" y="75639"/>
                </a:cubicBezTo>
                <a:cubicBezTo>
                  <a:pt x="33303" y="75639"/>
                  <a:pt x="32775" y="75071"/>
                  <a:pt x="32246" y="75071"/>
                </a:cubicBezTo>
                <a:cubicBezTo>
                  <a:pt x="31718" y="75071"/>
                  <a:pt x="30660" y="73933"/>
                  <a:pt x="30660" y="73933"/>
                </a:cubicBezTo>
                <a:cubicBezTo>
                  <a:pt x="30132" y="73364"/>
                  <a:pt x="28546" y="72796"/>
                  <a:pt x="28546" y="72796"/>
                </a:cubicBezTo>
                <a:cubicBezTo>
                  <a:pt x="28546" y="72796"/>
                  <a:pt x="28017" y="72227"/>
                  <a:pt x="27488" y="72227"/>
                </a:cubicBezTo>
                <a:cubicBezTo>
                  <a:pt x="26960" y="72227"/>
                  <a:pt x="26960" y="72227"/>
                  <a:pt x="26431" y="72227"/>
                </a:cubicBezTo>
                <a:cubicBezTo>
                  <a:pt x="25903" y="71658"/>
                  <a:pt x="25374" y="71090"/>
                  <a:pt x="25374" y="71090"/>
                </a:cubicBezTo>
                <a:cubicBezTo>
                  <a:pt x="24845" y="70521"/>
                  <a:pt x="24317" y="70521"/>
                  <a:pt x="24317" y="70521"/>
                </a:cubicBezTo>
                <a:cubicBezTo>
                  <a:pt x="24845" y="71090"/>
                  <a:pt x="24317" y="71090"/>
                  <a:pt x="25374" y="71658"/>
                </a:cubicBezTo>
                <a:cubicBezTo>
                  <a:pt x="25903" y="72227"/>
                  <a:pt x="26431" y="72227"/>
                  <a:pt x="26431" y="72227"/>
                </a:cubicBezTo>
                <a:cubicBezTo>
                  <a:pt x="26431" y="72227"/>
                  <a:pt x="26960" y="72796"/>
                  <a:pt x="26960" y="72796"/>
                </a:cubicBezTo>
                <a:cubicBezTo>
                  <a:pt x="26960" y="73364"/>
                  <a:pt x="27488" y="72796"/>
                  <a:pt x="28017" y="72796"/>
                </a:cubicBezTo>
                <a:cubicBezTo>
                  <a:pt x="28017" y="73364"/>
                  <a:pt x="28546" y="73364"/>
                  <a:pt x="28546" y="73933"/>
                </a:cubicBezTo>
                <a:cubicBezTo>
                  <a:pt x="28546" y="73933"/>
                  <a:pt x="30132" y="73933"/>
                  <a:pt x="30132" y="74502"/>
                </a:cubicBezTo>
                <a:cubicBezTo>
                  <a:pt x="30132" y="75071"/>
                  <a:pt x="30660" y="75639"/>
                  <a:pt x="30132" y="75639"/>
                </a:cubicBezTo>
                <a:cubicBezTo>
                  <a:pt x="30132" y="75639"/>
                  <a:pt x="29603" y="76208"/>
                  <a:pt x="29603" y="76208"/>
                </a:cubicBezTo>
                <a:cubicBezTo>
                  <a:pt x="30132" y="76208"/>
                  <a:pt x="30660" y="76777"/>
                  <a:pt x="31189" y="76777"/>
                </a:cubicBezTo>
                <a:cubicBezTo>
                  <a:pt x="31718" y="76777"/>
                  <a:pt x="31189" y="76777"/>
                  <a:pt x="32246" y="77345"/>
                </a:cubicBezTo>
                <a:cubicBezTo>
                  <a:pt x="33303" y="77345"/>
                  <a:pt x="33303" y="78483"/>
                  <a:pt x="33303" y="78483"/>
                </a:cubicBezTo>
                <a:cubicBezTo>
                  <a:pt x="33303" y="79052"/>
                  <a:pt x="34361" y="79620"/>
                  <a:pt x="34361" y="79620"/>
                </a:cubicBezTo>
                <a:cubicBezTo>
                  <a:pt x="34361" y="79620"/>
                  <a:pt x="33832" y="79620"/>
                  <a:pt x="34361" y="80189"/>
                </a:cubicBezTo>
                <a:cubicBezTo>
                  <a:pt x="34361" y="80189"/>
                  <a:pt x="33832" y="80189"/>
                  <a:pt x="34361" y="80758"/>
                </a:cubicBezTo>
                <a:cubicBezTo>
                  <a:pt x="34889" y="80758"/>
                  <a:pt x="35418" y="80758"/>
                  <a:pt x="35418" y="80758"/>
                </a:cubicBezTo>
                <a:cubicBezTo>
                  <a:pt x="35418" y="81327"/>
                  <a:pt x="35418" y="81327"/>
                  <a:pt x="35418" y="81895"/>
                </a:cubicBezTo>
                <a:cubicBezTo>
                  <a:pt x="35418" y="81895"/>
                  <a:pt x="34361" y="83033"/>
                  <a:pt x="35947" y="83033"/>
                </a:cubicBezTo>
                <a:cubicBezTo>
                  <a:pt x="37004" y="83033"/>
                  <a:pt x="37004" y="83033"/>
                  <a:pt x="37004" y="83033"/>
                </a:cubicBezTo>
                <a:cubicBezTo>
                  <a:pt x="37533" y="83601"/>
                  <a:pt x="37533" y="83601"/>
                  <a:pt x="37533" y="83601"/>
                </a:cubicBezTo>
                <a:cubicBezTo>
                  <a:pt x="37533" y="83601"/>
                  <a:pt x="37004" y="84170"/>
                  <a:pt x="37533" y="84739"/>
                </a:cubicBezTo>
                <a:cubicBezTo>
                  <a:pt x="37533" y="85308"/>
                  <a:pt x="39647" y="85308"/>
                  <a:pt x="39647" y="85308"/>
                </a:cubicBezTo>
                <a:cubicBezTo>
                  <a:pt x="39647" y="84739"/>
                  <a:pt x="39647" y="84739"/>
                  <a:pt x="39647" y="84739"/>
                </a:cubicBezTo>
                <a:cubicBezTo>
                  <a:pt x="39647" y="84739"/>
                  <a:pt x="40704" y="85308"/>
                  <a:pt x="40176" y="85308"/>
                </a:cubicBezTo>
                <a:cubicBezTo>
                  <a:pt x="40176" y="85876"/>
                  <a:pt x="39647" y="85876"/>
                  <a:pt x="39647" y="85876"/>
                </a:cubicBezTo>
                <a:cubicBezTo>
                  <a:pt x="39647" y="85876"/>
                  <a:pt x="39647" y="87014"/>
                  <a:pt x="40176" y="87014"/>
                </a:cubicBezTo>
                <a:cubicBezTo>
                  <a:pt x="40704" y="87014"/>
                  <a:pt x="41233" y="87582"/>
                  <a:pt x="41233" y="87582"/>
                </a:cubicBezTo>
                <a:cubicBezTo>
                  <a:pt x="41233" y="87582"/>
                  <a:pt x="41762" y="87582"/>
                  <a:pt x="41762" y="88151"/>
                </a:cubicBezTo>
                <a:cubicBezTo>
                  <a:pt x="42290" y="88151"/>
                  <a:pt x="42290" y="88720"/>
                  <a:pt x="42290" y="88720"/>
                </a:cubicBezTo>
                <a:cubicBezTo>
                  <a:pt x="42819" y="88720"/>
                  <a:pt x="43348" y="88720"/>
                  <a:pt x="43348" y="89289"/>
                </a:cubicBezTo>
                <a:cubicBezTo>
                  <a:pt x="43876" y="89289"/>
                  <a:pt x="44405" y="89857"/>
                  <a:pt x="44405" y="89289"/>
                </a:cubicBezTo>
                <a:cubicBezTo>
                  <a:pt x="44405" y="88720"/>
                  <a:pt x="44933" y="88720"/>
                  <a:pt x="44405" y="88151"/>
                </a:cubicBezTo>
                <a:cubicBezTo>
                  <a:pt x="43876" y="87582"/>
                  <a:pt x="43348" y="87582"/>
                  <a:pt x="42819" y="87582"/>
                </a:cubicBezTo>
                <a:cubicBezTo>
                  <a:pt x="42819" y="87582"/>
                  <a:pt x="42290" y="87582"/>
                  <a:pt x="42290" y="87014"/>
                </a:cubicBezTo>
                <a:cubicBezTo>
                  <a:pt x="41762" y="87014"/>
                  <a:pt x="41762" y="87014"/>
                  <a:pt x="41762" y="86445"/>
                </a:cubicBezTo>
                <a:cubicBezTo>
                  <a:pt x="41762" y="85876"/>
                  <a:pt x="41233" y="85308"/>
                  <a:pt x="41233" y="85308"/>
                </a:cubicBezTo>
                <a:cubicBezTo>
                  <a:pt x="41233" y="85308"/>
                  <a:pt x="41233" y="84170"/>
                  <a:pt x="41233" y="84170"/>
                </a:cubicBezTo>
                <a:cubicBezTo>
                  <a:pt x="40704" y="84170"/>
                  <a:pt x="40704" y="84170"/>
                  <a:pt x="40176" y="84170"/>
                </a:cubicBezTo>
                <a:cubicBezTo>
                  <a:pt x="40176" y="84170"/>
                  <a:pt x="39647" y="83601"/>
                  <a:pt x="39647" y="83601"/>
                </a:cubicBezTo>
                <a:cubicBezTo>
                  <a:pt x="39118" y="83601"/>
                  <a:pt x="38590" y="83601"/>
                  <a:pt x="38590" y="83601"/>
                </a:cubicBezTo>
                <a:cubicBezTo>
                  <a:pt x="38590" y="83033"/>
                  <a:pt x="39118" y="83033"/>
                  <a:pt x="39118" y="83033"/>
                </a:cubicBezTo>
                <a:cubicBezTo>
                  <a:pt x="39118" y="83033"/>
                  <a:pt x="39647" y="83033"/>
                  <a:pt x="40176" y="83033"/>
                </a:cubicBezTo>
                <a:cubicBezTo>
                  <a:pt x="40704" y="83601"/>
                  <a:pt x="40704" y="83033"/>
                  <a:pt x="41233" y="83601"/>
                </a:cubicBezTo>
                <a:cubicBezTo>
                  <a:pt x="41762" y="83601"/>
                  <a:pt x="41233" y="84170"/>
                  <a:pt x="41762" y="84170"/>
                </a:cubicBezTo>
                <a:cubicBezTo>
                  <a:pt x="42819" y="84170"/>
                  <a:pt x="42819" y="83601"/>
                  <a:pt x="42819" y="83601"/>
                </a:cubicBezTo>
                <a:cubicBezTo>
                  <a:pt x="43876" y="83033"/>
                  <a:pt x="43876" y="83033"/>
                  <a:pt x="43876" y="83033"/>
                </a:cubicBezTo>
                <a:cubicBezTo>
                  <a:pt x="43876" y="83033"/>
                  <a:pt x="43876" y="83033"/>
                  <a:pt x="44405" y="83601"/>
                </a:cubicBezTo>
                <a:cubicBezTo>
                  <a:pt x="44933" y="83601"/>
                  <a:pt x="43876" y="84170"/>
                  <a:pt x="44933" y="84170"/>
                </a:cubicBezTo>
                <a:cubicBezTo>
                  <a:pt x="45991" y="84170"/>
                  <a:pt x="46519" y="84170"/>
                  <a:pt x="46519" y="84170"/>
                </a:cubicBezTo>
                <a:cubicBezTo>
                  <a:pt x="46519" y="84739"/>
                  <a:pt x="46519" y="85308"/>
                  <a:pt x="46519" y="85308"/>
                </a:cubicBezTo>
                <a:cubicBezTo>
                  <a:pt x="46519" y="85308"/>
                  <a:pt x="46519" y="85876"/>
                  <a:pt x="46519" y="85876"/>
                </a:cubicBezTo>
                <a:cubicBezTo>
                  <a:pt x="47048" y="85876"/>
                  <a:pt x="48105" y="85876"/>
                  <a:pt x="48105" y="85876"/>
                </a:cubicBezTo>
                <a:cubicBezTo>
                  <a:pt x="48105" y="85876"/>
                  <a:pt x="48634" y="85876"/>
                  <a:pt x="48634" y="86445"/>
                </a:cubicBezTo>
                <a:cubicBezTo>
                  <a:pt x="49162" y="87014"/>
                  <a:pt x="47577" y="87582"/>
                  <a:pt x="47577" y="87582"/>
                </a:cubicBezTo>
                <a:cubicBezTo>
                  <a:pt x="47577" y="87582"/>
                  <a:pt x="47048" y="87014"/>
                  <a:pt x="47048" y="87582"/>
                </a:cubicBezTo>
                <a:cubicBezTo>
                  <a:pt x="47048" y="88151"/>
                  <a:pt x="46519" y="88151"/>
                  <a:pt x="47048" y="88720"/>
                </a:cubicBezTo>
                <a:cubicBezTo>
                  <a:pt x="47577" y="88720"/>
                  <a:pt x="47048" y="88720"/>
                  <a:pt x="47048" y="88720"/>
                </a:cubicBezTo>
                <a:cubicBezTo>
                  <a:pt x="46519" y="88720"/>
                  <a:pt x="45991" y="88151"/>
                  <a:pt x="46519" y="89289"/>
                </a:cubicBezTo>
                <a:cubicBezTo>
                  <a:pt x="46519" y="89857"/>
                  <a:pt x="47048" y="90426"/>
                  <a:pt x="47048" y="90426"/>
                </a:cubicBezTo>
                <a:cubicBezTo>
                  <a:pt x="47577" y="90426"/>
                  <a:pt x="48634" y="90426"/>
                  <a:pt x="48634" y="90426"/>
                </a:cubicBezTo>
                <a:cubicBezTo>
                  <a:pt x="49162" y="90426"/>
                  <a:pt x="49691" y="90426"/>
                  <a:pt x="49162" y="90426"/>
                </a:cubicBezTo>
                <a:cubicBezTo>
                  <a:pt x="48634" y="89857"/>
                  <a:pt x="48105" y="89857"/>
                  <a:pt x="48105" y="89857"/>
                </a:cubicBezTo>
                <a:cubicBezTo>
                  <a:pt x="48105" y="89857"/>
                  <a:pt x="48105" y="89857"/>
                  <a:pt x="48105" y="89289"/>
                </a:cubicBezTo>
                <a:cubicBezTo>
                  <a:pt x="48105" y="89289"/>
                  <a:pt x="48634" y="89289"/>
                  <a:pt x="48634" y="89289"/>
                </a:cubicBezTo>
                <a:cubicBezTo>
                  <a:pt x="48634" y="88720"/>
                  <a:pt x="49162" y="88151"/>
                  <a:pt x="49162" y="88151"/>
                </a:cubicBezTo>
                <a:cubicBezTo>
                  <a:pt x="49162" y="88151"/>
                  <a:pt x="49691" y="87014"/>
                  <a:pt x="50220" y="87582"/>
                </a:cubicBezTo>
                <a:cubicBezTo>
                  <a:pt x="50220" y="88151"/>
                  <a:pt x="50220" y="88151"/>
                  <a:pt x="50748" y="88151"/>
                </a:cubicBezTo>
                <a:cubicBezTo>
                  <a:pt x="50748" y="88151"/>
                  <a:pt x="52334" y="86445"/>
                  <a:pt x="52334" y="86445"/>
                </a:cubicBezTo>
                <a:cubicBezTo>
                  <a:pt x="52334" y="86445"/>
                  <a:pt x="52863" y="86445"/>
                  <a:pt x="52334" y="87014"/>
                </a:cubicBezTo>
                <a:cubicBezTo>
                  <a:pt x="52334" y="87582"/>
                  <a:pt x="51806" y="88151"/>
                  <a:pt x="52334" y="88720"/>
                </a:cubicBezTo>
                <a:cubicBezTo>
                  <a:pt x="52334" y="89289"/>
                  <a:pt x="52334" y="89289"/>
                  <a:pt x="52334" y="89289"/>
                </a:cubicBezTo>
                <a:cubicBezTo>
                  <a:pt x="52863" y="89857"/>
                  <a:pt x="52334" y="89857"/>
                  <a:pt x="52863" y="90426"/>
                </a:cubicBezTo>
                <a:cubicBezTo>
                  <a:pt x="52863" y="90995"/>
                  <a:pt x="52863" y="90426"/>
                  <a:pt x="52863" y="90995"/>
                </a:cubicBezTo>
                <a:cubicBezTo>
                  <a:pt x="53392" y="91563"/>
                  <a:pt x="53920" y="92701"/>
                  <a:pt x="53920" y="92701"/>
                </a:cubicBezTo>
                <a:cubicBezTo>
                  <a:pt x="53920" y="92701"/>
                  <a:pt x="53392" y="93270"/>
                  <a:pt x="53920" y="93270"/>
                </a:cubicBezTo>
                <a:cubicBezTo>
                  <a:pt x="54449" y="93838"/>
                  <a:pt x="55506" y="93838"/>
                  <a:pt x="55506" y="93838"/>
                </a:cubicBezTo>
                <a:cubicBezTo>
                  <a:pt x="55506" y="93838"/>
                  <a:pt x="55506" y="93838"/>
                  <a:pt x="55506" y="93838"/>
                </a:cubicBezTo>
                <a:cubicBezTo>
                  <a:pt x="55506" y="93838"/>
                  <a:pt x="56035" y="94407"/>
                  <a:pt x="56563" y="93838"/>
                </a:cubicBezTo>
                <a:cubicBezTo>
                  <a:pt x="56563" y="93270"/>
                  <a:pt x="57092" y="93270"/>
                  <a:pt x="57092" y="93270"/>
                </a:cubicBezTo>
                <a:cubicBezTo>
                  <a:pt x="57621" y="93270"/>
                  <a:pt x="57092" y="93270"/>
                  <a:pt x="58149" y="93270"/>
                </a:cubicBezTo>
                <a:cubicBezTo>
                  <a:pt x="59207" y="93270"/>
                  <a:pt x="59207" y="93838"/>
                  <a:pt x="59735" y="93270"/>
                </a:cubicBezTo>
                <a:cubicBezTo>
                  <a:pt x="60264" y="92701"/>
                  <a:pt x="59735" y="92701"/>
                  <a:pt x="60792" y="92701"/>
                </a:cubicBezTo>
                <a:cubicBezTo>
                  <a:pt x="61850" y="92701"/>
                  <a:pt x="62907" y="92132"/>
                  <a:pt x="62907" y="92132"/>
                </a:cubicBezTo>
                <a:cubicBezTo>
                  <a:pt x="62907" y="92132"/>
                  <a:pt x="64493" y="92132"/>
                  <a:pt x="64493" y="92132"/>
                </a:cubicBezTo>
                <a:cubicBezTo>
                  <a:pt x="65550" y="92701"/>
                  <a:pt x="65550" y="92701"/>
                  <a:pt x="65550" y="92701"/>
                </a:cubicBezTo>
                <a:cubicBezTo>
                  <a:pt x="65550" y="92701"/>
                  <a:pt x="66079" y="93270"/>
                  <a:pt x="66607" y="93270"/>
                </a:cubicBezTo>
                <a:cubicBezTo>
                  <a:pt x="66607" y="93270"/>
                  <a:pt x="67136" y="93270"/>
                  <a:pt x="67665" y="93270"/>
                </a:cubicBezTo>
                <a:cubicBezTo>
                  <a:pt x="67665" y="93270"/>
                  <a:pt x="69779" y="93838"/>
                  <a:pt x="69779" y="93838"/>
                </a:cubicBezTo>
                <a:cubicBezTo>
                  <a:pt x="71894" y="94407"/>
                  <a:pt x="71894" y="94407"/>
                  <a:pt x="71894" y="94407"/>
                </a:cubicBezTo>
                <a:cubicBezTo>
                  <a:pt x="72951" y="94976"/>
                  <a:pt x="72951" y="94976"/>
                  <a:pt x="72951" y="94976"/>
                </a:cubicBezTo>
                <a:cubicBezTo>
                  <a:pt x="75066" y="96682"/>
                  <a:pt x="75066" y="96682"/>
                  <a:pt x="75066" y="96682"/>
                </a:cubicBezTo>
                <a:cubicBezTo>
                  <a:pt x="77180" y="98957"/>
                  <a:pt x="77180" y="98957"/>
                  <a:pt x="77180" y="98957"/>
                </a:cubicBezTo>
                <a:cubicBezTo>
                  <a:pt x="79823" y="100094"/>
                  <a:pt x="79823" y="100094"/>
                  <a:pt x="79823" y="100094"/>
                </a:cubicBezTo>
                <a:cubicBezTo>
                  <a:pt x="81409" y="101232"/>
                  <a:pt x="81409" y="101232"/>
                  <a:pt x="81409" y="101232"/>
                </a:cubicBezTo>
                <a:cubicBezTo>
                  <a:pt x="82466" y="102369"/>
                  <a:pt x="82466" y="102369"/>
                  <a:pt x="82466" y="102369"/>
                </a:cubicBezTo>
                <a:cubicBezTo>
                  <a:pt x="82466" y="102369"/>
                  <a:pt x="84052" y="103507"/>
                  <a:pt x="84052" y="103507"/>
                </a:cubicBezTo>
                <a:cubicBezTo>
                  <a:pt x="84581" y="103507"/>
                  <a:pt x="86167" y="104644"/>
                  <a:pt x="86167" y="104644"/>
                </a:cubicBezTo>
                <a:cubicBezTo>
                  <a:pt x="87753" y="105781"/>
                  <a:pt x="87753" y="105781"/>
                  <a:pt x="87753" y="105781"/>
                </a:cubicBezTo>
                <a:cubicBezTo>
                  <a:pt x="87753" y="105781"/>
                  <a:pt x="88281" y="106919"/>
                  <a:pt x="88281" y="106919"/>
                </a:cubicBezTo>
                <a:cubicBezTo>
                  <a:pt x="88281" y="107488"/>
                  <a:pt x="87753" y="106919"/>
                  <a:pt x="87224" y="106919"/>
                </a:cubicBezTo>
                <a:cubicBezTo>
                  <a:pt x="86696" y="107488"/>
                  <a:pt x="84581" y="106350"/>
                  <a:pt x="84581" y="106350"/>
                </a:cubicBezTo>
                <a:cubicBezTo>
                  <a:pt x="83524" y="105213"/>
                  <a:pt x="83524" y="105213"/>
                  <a:pt x="83524" y="105213"/>
                </a:cubicBezTo>
                <a:cubicBezTo>
                  <a:pt x="81938" y="105213"/>
                  <a:pt x="81938" y="105213"/>
                  <a:pt x="81938" y="105213"/>
                </a:cubicBezTo>
                <a:cubicBezTo>
                  <a:pt x="80881" y="104644"/>
                  <a:pt x="80881" y="104644"/>
                  <a:pt x="80881" y="104644"/>
                </a:cubicBezTo>
                <a:cubicBezTo>
                  <a:pt x="78766" y="105213"/>
                  <a:pt x="78766" y="105213"/>
                  <a:pt x="78766" y="105213"/>
                </a:cubicBezTo>
                <a:cubicBezTo>
                  <a:pt x="77180" y="104644"/>
                  <a:pt x="77180" y="104644"/>
                  <a:pt x="77180" y="104644"/>
                </a:cubicBezTo>
                <a:cubicBezTo>
                  <a:pt x="77180" y="104644"/>
                  <a:pt x="76651" y="104644"/>
                  <a:pt x="77180" y="105213"/>
                </a:cubicBezTo>
                <a:cubicBezTo>
                  <a:pt x="77180" y="105213"/>
                  <a:pt x="77180" y="105781"/>
                  <a:pt x="77180" y="105781"/>
                </a:cubicBezTo>
                <a:cubicBezTo>
                  <a:pt x="75594" y="106919"/>
                  <a:pt x="75594" y="106919"/>
                  <a:pt x="75594" y="106919"/>
                </a:cubicBezTo>
                <a:cubicBezTo>
                  <a:pt x="73480" y="107488"/>
                  <a:pt x="73480" y="107488"/>
                  <a:pt x="73480" y="107488"/>
                </a:cubicBezTo>
                <a:cubicBezTo>
                  <a:pt x="71365" y="107488"/>
                  <a:pt x="71365" y="107488"/>
                  <a:pt x="71365" y="107488"/>
                </a:cubicBezTo>
                <a:cubicBezTo>
                  <a:pt x="69779" y="107488"/>
                  <a:pt x="69779" y="107488"/>
                  <a:pt x="69779" y="107488"/>
                </a:cubicBezTo>
                <a:cubicBezTo>
                  <a:pt x="69779" y="108625"/>
                  <a:pt x="69779" y="108625"/>
                  <a:pt x="69779" y="108625"/>
                </a:cubicBezTo>
                <a:cubicBezTo>
                  <a:pt x="69779" y="108625"/>
                  <a:pt x="67665" y="108625"/>
                  <a:pt x="69779" y="109194"/>
                </a:cubicBezTo>
                <a:cubicBezTo>
                  <a:pt x="71894" y="109194"/>
                  <a:pt x="72951" y="109194"/>
                  <a:pt x="72951" y="108625"/>
                </a:cubicBezTo>
                <a:cubicBezTo>
                  <a:pt x="73480" y="108625"/>
                  <a:pt x="73480" y="108056"/>
                  <a:pt x="74008" y="108056"/>
                </a:cubicBezTo>
                <a:cubicBezTo>
                  <a:pt x="74537" y="108056"/>
                  <a:pt x="75594" y="108056"/>
                  <a:pt x="76123" y="108056"/>
                </a:cubicBezTo>
                <a:cubicBezTo>
                  <a:pt x="76123" y="108056"/>
                  <a:pt x="76651" y="108056"/>
                  <a:pt x="77709" y="107488"/>
                </a:cubicBezTo>
                <a:cubicBezTo>
                  <a:pt x="78237" y="107488"/>
                  <a:pt x="78237" y="106919"/>
                  <a:pt x="79295" y="107488"/>
                </a:cubicBezTo>
                <a:cubicBezTo>
                  <a:pt x="80352" y="108056"/>
                  <a:pt x="79823" y="106350"/>
                  <a:pt x="79823" y="106350"/>
                </a:cubicBezTo>
                <a:cubicBezTo>
                  <a:pt x="79823" y="106350"/>
                  <a:pt x="79823" y="105781"/>
                  <a:pt x="80352" y="105781"/>
                </a:cubicBezTo>
                <a:cubicBezTo>
                  <a:pt x="81409" y="106350"/>
                  <a:pt x="81409" y="106350"/>
                  <a:pt x="81409" y="106350"/>
                </a:cubicBezTo>
                <a:cubicBezTo>
                  <a:pt x="81938" y="106350"/>
                  <a:pt x="82995" y="106919"/>
                  <a:pt x="82995" y="106919"/>
                </a:cubicBezTo>
                <a:cubicBezTo>
                  <a:pt x="83524" y="106919"/>
                  <a:pt x="85638" y="107488"/>
                  <a:pt x="85638" y="107488"/>
                </a:cubicBezTo>
                <a:cubicBezTo>
                  <a:pt x="85638" y="107488"/>
                  <a:pt x="86167" y="109194"/>
                  <a:pt x="86167" y="109194"/>
                </a:cubicBezTo>
                <a:cubicBezTo>
                  <a:pt x="86696" y="109194"/>
                  <a:pt x="88281" y="109194"/>
                  <a:pt x="88810" y="109194"/>
                </a:cubicBezTo>
                <a:cubicBezTo>
                  <a:pt x="89339" y="109194"/>
                  <a:pt x="90396" y="109194"/>
                  <a:pt x="90925" y="109763"/>
                </a:cubicBezTo>
                <a:cubicBezTo>
                  <a:pt x="91453" y="110331"/>
                  <a:pt x="91982" y="110331"/>
                  <a:pt x="91982" y="110331"/>
                </a:cubicBezTo>
                <a:cubicBezTo>
                  <a:pt x="91982" y="110331"/>
                  <a:pt x="92511" y="110900"/>
                  <a:pt x="93039" y="111469"/>
                </a:cubicBezTo>
                <a:cubicBezTo>
                  <a:pt x="93039" y="111469"/>
                  <a:pt x="94625" y="112606"/>
                  <a:pt x="94625" y="112606"/>
                </a:cubicBezTo>
                <a:cubicBezTo>
                  <a:pt x="94625" y="112606"/>
                  <a:pt x="97268" y="113744"/>
                  <a:pt x="97268" y="113744"/>
                </a:cubicBezTo>
                <a:cubicBezTo>
                  <a:pt x="97797" y="113175"/>
                  <a:pt x="97797" y="113175"/>
                  <a:pt x="97797" y="113175"/>
                </a:cubicBezTo>
                <a:cubicBezTo>
                  <a:pt x="97797" y="112606"/>
                  <a:pt x="97797" y="112037"/>
                  <a:pt x="97797" y="112037"/>
                </a:cubicBezTo>
                <a:cubicBezTo>
                  <a:pt x="97268" y="111469"/>
                  <a:pt x="95154" y="110900"/>
                  <a:pt x="95154" y="110900"/>
                </a:cubicBezTo>
                <a:cubicBezTo>
                  <a:pt x="95154" y="110900"/>
                  <a:pt x="94096" y="110331"/>
                  <a:pt x="94096" y="110331"/>
                </a:cubicBezTo>
                <a:cubicBezTo>
                  <a:pt x="93568" y="107488"/>
                  <a:pt x="94096" y="109763"/>
                  <a:pt x="92511" y="109194"/>
                </a:cubicBezTo>
                <a:cubicBezTo>
                  <a:pt x="92511" y="109194"/>
                  <a:pt x="92511" y="109194"/>
                  <a:pt x="92511" y="109194"/>
                </a:cubicBezTo>
                <a:cubicBezTo>
                  <a:pt x="92511" y="109194"/>
                  <a:pt x="92511" y="109194"/>
                  <a:pt x="92511" y="109194"/>
                </a:cubicBezTo>
                <a:cubicBezTo>
                  <a:pt x="91453" y="109763"/>
                  <a:pt x="91453" y="109194"/>
                  <a:pt x="91453" y="109194"/>
                </a:cubicBezTo>
                <a:cubicBezTo>
                  <a:pt x="91453" y="108625"/>
                  <a:pt x="91453" y="108625"/>
                  <a:pt x="91453" y="108625"/>
                </a:cubicBezTo>
                <a:cubicBezTo>
                  <a:pt x="90925" y="108056"/>
                  <a:pt x="90925" y="108056"/>
                  <a:pt x="90925" y="108056"/>
                </a:cubicBezTo>
                <a:cubicBezTo>
                  <a:pt x="90925" y="108056"/>
                  <a:pt x="90396" y="106919"/>
                  <a:pt x="90925" y="106350"/>
                </a:cubicBezTo>
                <a:cubicBezTo>
                  <a:pt x="91453" y="106350"/>
                  <a:pt x="90396" y="109194"/>
                  <a:pt x="92511" y="105781"/>
                </a:cubicBezTo>
                <a:cubicBezTo>
                  <a:pt x="92511" y="105781"/>
                  <a:pt x="92511" y="105213"/>
                  <a:pt x="92511" y="105213"/>
                </a:cubicBezTo>
                <a:cubicBezTo>
                  <a:pt x="91982" y="105213"/>
                  <a:pt x="91982" y="105213"/>
                  <a:pt x="91982" y="105213"/>
                </a:cubicBezTo>
                <a:cubicBezTo>
                  <a:pt x="90396" y="105213"/>
                  <a:pt x="90396" y="105213"/>
                  <a:pt x="90396" y="105213"/>
                </a:cubicBezTo>
                <a:cubicBezTo>
                  <a:pt x="90396" y="105213"/>
                  <a:pt x="90396" y="105781"/>
                  <a:pt x="89867" y="106350"/>
                </a:cubicBezTo>
                <a:cubicBezTo>
                  <a:pt x="89339" y="106919"/>
                  <a:pt x="89339" y="106350"/>
                  <a:pt x="89339" y="106350"/>
                </a:cubicBezTo>
                <a:cubicBezTo>
                  <a:pt x="89339" y="105781"/>
                  <a:pt x="89339" y="105781"/>
                  <a:pt x="89339" y="105781"/>
                </a:cubicBezTo>
                <a:cubicBezTo>
                  <a:pt x="89867" y="105213"/>
                  <a:pt x="89867" y="105213"/>
                  <a:pt x="89867" y="105213"/>
                </a:cubicBezTo>
                <a:cubicBezTo>
                  <a:pt x="89867" y="105213"/>
                  <a:pt x="89867" y="103507"/>
                  <a:pt x="89867" y="102938"/>
                </a:cubicBezTo>
                <a:cubicBezTo>
                  <a:pt x="89867" y="102938"/>
                  <a:pt x="89867" y="102938"/>
                  <a:pt x="89867" y="102938"/>
                </a:cubicBezTo>
                <a:cubicBezTo>
                  <a:pt x="88281" y="101800"/>
                  <a:pt x="88281" y="101800"/>
                  <a:pt x="88281" y="101800"/>
                </a:cubicBezTo>
                <a:cubicBezTo>
                  <a:pt x="87224" y="100663"/>
                  <a:pt x="87224" y="100663"/>
                  <a:pt x="87224" y="100663"/>
                </a:cubicBezTo>
                <a:cubicBezTo>
                  <a:pt x="85638" y="99526"/>
                  <a:pt x="85638" y="99526"/>
                  <a:pt x="85638" y="99526"/>
                </a:cubicBezTo>
                <a:cubicBezTo>
                  <a:pt x="83524" y="97251"/>
                  <a:pt x="83524" y="97251"/>
                  <a:pt x="83524" y="97251"/>
                </a:cubicBezTo>
                <a:cubicBezTo>
                  <a:pt x="82466" y="96682"/>
                  <a:pt x="82466" y="96682"/>
                  <a:pt x="82466" y="96682"/>
                </a:cubicBezTo>
                <a:cubicBezTo>
                  <a:pt x="81409" y="95545"/>
                  <a:pt x="81409" y="95545"/>
                  <a:pt x="81409" y="95545"/>
                </a:cubicBezTo>
                <a:cubicBezTo>
                  <a:pt x="81409" y="94407"/>
                  <a:pt x="81409" y="94407"/>
                  <a:pt x="81409" y="94407"/>
                </a:cubicBezTo>
                <a:cubicBezTo>
                  <a:pt x="80881" y="92132"/>
                  <a:pt x="80881" y="92132"/>
                  <a:pt x="80881" y="92132"/>
                </a:cubicBezTo>
                <a:cubicBezTo>
                  <a:pt x="80881" y="92132"/>
                  <a:pt x="80881" y="92132"/>
                  <a:pt x="80881" y="92132"/>
                </a:cubicBezTo>
                <a:cubicBezTo>
                  <a:pt x="80881" y="92132"/>
                  <a:pt x="78766" y="91563"/>
                  <a:pt x="77709" y="90995"/>
                </a:cubicBezTo>
                <a:cubicBezTo>
                  <a:pt x="76651" y="90426"/>
                  <a:pt x="76651" y="90426"/>
                  <a:pt x="76651" y="90426"/>
                </a:cubicBezTo>
                <a:cubicBezTo>
                  <a:pt x="75594" y="88720"/>
                  <a:pt x="75594" y="88720"/>
                  <a:pt x="75594" y="88720"/>
                </a:cubicBezTo>
                <a:cubicBezTo>
                  <a:pt x="75066" y="88151"/>
                  <a:pt x="75066" y="88151"/>
                  <a:pt x="75066" y="88151"/>
                </a:cubicBezTo>
                <a:cubicBezTo>
                  <a:pt x="73480" y="86445"/>
                  <a:pt x="73480" y="86445"/>
                  <a:pt x="73480" y="86445"/>
                </a:cubicBezTo>
                <a:cubicBezTo>
                  <a:pt x="72951" y="86445"/>
                  <a:pt x="72951" y="86445"/>
                  <a:pt x="72951" y="86445"/>
                </a:cubicBezTo>
                <a:cubicBezTo>
                  <a:pt x="70308" y="85308"/>
                  <a:pt x="70308" y="85308"/>
                  <a:pt x="70308" y="85308"/>
                </a:cubicBezTo>
                <a:cubicBezTo>
                  <a:pt x="69779" y="84170"/>
                  <a:pt x="69779" y="84170"/>
                  <a:pt x="69779" y="84170"/>
                </a:cubicBezTo>
                <a:cubicBezTo>
                  <a:pt x="68722" y="83601"/>
                  <a:pt x="68722" y="83601"/>
                  <a:pt x="68722" y="83601"/>
                </a:cubicBezTo>
                <a:cubicBezTo>
                  <a:pt x="68193" y="82464"/>
                  <a:pt x="68193" y="82464"/>
                  <a:pt x="68193" y="82464"/>
                </a:cubicBezTo>
                <a:cubicBezTo>
                  <a:pt x="66607" y="81895"/>
                  <a:pt x="66607" y="81895"/>
                  <a:pt x="66607" y="81895"/>
                </a:cubicBezTo>
                <a:cubicBezTo>
                  <a:pt x="66079" y="80758"/>
                  <a:pt x="66079" y="80758"/>
                  <a:pt x="66079" y="80758"/>
                </a:cubicBezTo>
                <a:cubicBezTo>
                  <a:pt x="65550" y="80189"/>
                  <a:pt x="65550" y="80189"/>
                  <a:pt x="65550" y="80189"/>
                </a:cubicBezTo>
                <a:cubicBezTo>
                  <a:pt x="63964" y="77914"/>
                  <a:pt x="63964" y="77914"/>
                  <a:pt x="63964" y="77914"/>
                </a:cubicBezTo>
                <a:cubicBezTo>
                  <a:pt x="62378" y="76777"/>
                  <a:pt x="62378" y="76777"/>
                  <a:pt x="62378" y="76777"/>
                </a:cubicBezTo>
                <a:cubicBezTo>
                  <a:pt x="61850" y="76208"/>
                  <a:pt x="61850" y="76208"/>
                  <a:pt x="61850" y="76208"/>
                </a:cubicBezTo>
                <a:cubicBezTo>
                  <a:pt x="61321" y="75639"/>
                  <a:pt x="61321" y="75639"/>
                  <a:pt x="61321" y="75639"/>
                </a:cubicBezTo>
                <a:cubicBezTo>
                  <a:pt x="60264" y="73933"/>
                  <a:pt x="60264" y="73933"/>
                  <a:pt x="60264" y="73933"/>
                </a:cubicBezTo>
                <a:cubicBezTo>
                  <a:pt x="58678" y="72227"/>
                  <a:pt x="58678" y="72227"/>
                  <a:pt x="58678" y="72227"/>
                </a:cubicBezTo>
                <a:cubicBezTo>
                  <a:pt x="57621" y="71090"/>
                  <a:pt x="57621" y="71090"/>
                  <a:pt x="57621" y="71090"/>
                </a:cubicBezTo>
                <a:cubicBezTo>
                  <a:pt x="56563" y="69383"/>
                  <a:pt x="56563" y="69383"/>
                  <a:pt x="56563" y="69383"/>
                </a:cubicBezTo>
                <a:cubicBezTo>
                  <a:pt x="57621" y="68246"/>
                  <a:pt x="57621" y="68246"/>
                  <a:pt x="57621" y="68246"/>
                </a:cubicBezTo>
                <a:cubicBezTo>
                  <a:pt x="57092" y="67677"/>
                  <a:pt x="56563" y="67677"/>
                  <a:pt x="56563" y="67109"/>
                </a:cubicBezTo>
                <a:cubicBezTo>
                  <a:pt x="56035" y="67109"/>
                  <a:pt x="54977" y="66540"/>
                  <a:pt x="55506" y="65971"/>
                </a:cubicBezTo>
                <a:cubicBezTo>
                  <a:pt x="55506" y="65402"/>
                  <a:pt x="54977" y="64834"/>
                  <a:pt x="54977" y="63696"/>
                </a:cubicBezTo>
                <a:cubicBezTo>
                  <a:pt x="54977" y="63127"/>
                  <a:pt x="54977" y="62559"/>
                  <a:pt x="54449" y="62559"/>
                </a:cubicBezTo>
                <a:cubicBezTo>
                  <a:pt x="53920" y="61990"/>
                  <a:pt x="53920" y="61990"/>
                  <a:pt x="53920" y="61990"/>
                </a:cubicBezTo>
                <a:cubicBezTo>
                  <a:pt x="53392" y="61990"/>
                  <a:pt x="52863" y="61990"/>
                  <a:pt x="52863" y="61990"/>
                </a:cubicBezTo>
                <a:cubicBezTo>
                  <a:pt x="52334" y="61990"/>
                  <a:pt x="52334" y="61990"/>
                  <a:pt x="52334" y="61990"/>
                </a:cubicBezTo>
                <a:cubicBezTo>
                  <a:pt x="52334" y="61990"/>
                  <a:pt x="52863" y="60853"/>
                  <a:pt x="52863" y="59715"/>
                </a:cubicBezTo>
                <a:cubicBezTo>
                  <a:pt x="50748" y="59146"/>
                  <a:pt x="50748" y="59146"/>
                  <a:pt x="50748" y="59146"/>
                </a:cubicBezTo>
                <a:cubicBezTo>
                  <a:pt x="50748" y="59146"/>
                  <a:pt x="50748" y="57440"/>
                  <a:pt x="49691" y="56872"/>
                </a:cubicBezTo>
                <a:cubicBezTo>
                  <a:pt x="48634" y="56872"/>
                  <a:pt x="48634" y="56872"/>
                  <a:pt x="48634" y="56872"/>
                </a:cubicBezTo>
                <a:cubicBezTo>
                  <a:pt x="48105" y="57440"/>
                  <a:pt x="48105" y="58009"/>
                  <a:pt x="48105" y="58009"/>
                </a:cubicBezTo>
                <a:cubicBezTo>
                  <a:pt x="45991" y="55734"/>
                  <a:pt x="45991" y="55734"/>
                  <a:pt x="45991" y="55734"/>
                </a:cubicBezTo>
                <a:cubicBezTo>
                  <a:pt x="45991" y="55734"/>
                  <a:pt x="45991" y="55165"/>
                  <a:pt x="46519" y="54028"/>
                </a:cubicBezTo>
                <a:cubicBezTo>
                  <a:pt x="47577" y="52890"/>
                  <a:pt x="46519" y="52322"/>
                  <a:pt x="46519" y="52322"/>
                </a:cubicBezTo>
                <a:cubicBezTo>
                  <a:pt x="45991" y="50616"/>
                  <a:pt x="45991" y="50616"/>
                  <a:pt x="45991" y="50616"/>
                </a:cubicBezTo>
                <a:cubicBezTo>
                  <a:pt x="46519" y="49478"/>
                  <a:pt x="46519" y="49478"/>
                  <a:pt x="46519" y="49478"/>
                </a:cubicBezTo>
                <a:cubicBezTo>
                  <a:pt x="45991" y="48909"/>
                  <a:pt x="45991" y="48909"/>
                  <a:pt x="45991" y="48909"/>
                </a:cubicBezTo>
                <a:cubicBezTo>
                  <a:pt x="45462" y="48341"/>
                  <a:pt x="45462" y="48341"/>
                  <a:pt x="45462" y="48341"/>
                </a:cubicBezTo>
                <a:cubicBezTo>
                  <a:pt x="45462" y="48341"/>
                  <a:pt x="45462" y="48341"/>
                  <a:pt x="45462" y="48341"/>
                </a:cubicBezTo>
                <a:cubicBezTo>
                  <a:pt x="45462" y="48341"/>
                  <a:pt x="45462" y="48341"/>
                  <a:pt x="45462" y="48341"/>
                </a:cubicBezTo>
                <a:cubicBezTo>
                  <a:pt x="46519" y="46066"/>
                  <a:pt x="46519" y="46066"/>
                  <a:pt x="46519" y="46066"/>
                </a:cubicBezTo>
                <a:cubicBezTo>
                  <a:pt x="46519" y="46066"/>
                  <a:pt x="45991" y="43791"/>
                  <a:pt x="46519" y="43222"/>
                </a:cubicBezTo>
                <a:cubicBezTo>
                  <a:pt x="46519" y="43222"/>
                  <a:pt x="46519" y="43222"/>
                  <a:pt x="46519" y="43222"/>
                </a:cubicBezTo>
                <a:cubicBezTo>
                  <a:pt x="46519" y="42654"/>
                  <a:pt x="46519" y="42654"/>
                  <a:pt x="47048" y="42654"/>
                </a:cubicBezTo>
                <a:cubicBezTo>
                  <a:pt x="47048" y="42085"/>
                  <a:pt x="49691" y="41516"/>
                  <a:pt x="49691" y="41516"/>
                </a:cubicBezTo>
                <a:cubicBezTo>
                  <a:pt x="50748" y="40947"/>
                  <a:pt x="50748" y="40947"/>
                  <a:pt x="50748" y="40947"/>
                </a:cubicBezTo>
                <a:cubicBezTo>
                  <a:pt x="52863" y="43791"/>
                  <a:pt x="52863" y="43791"/>
                  <a:pt x="52863" y="43791"/>
                </a:cubicBezTo>
                <a:cubicBezTo>
                  <a:pt x="54977" y="46066"/>
                  <a:pt x="54977" y="46066"/>
                  <a:pt x="54977" y="46066"/>
                </a:cubicBezTo>
                <a:cubicBezTo>
                  <a:pt x="56563" y="47203"/>
                  <a:pt x="56563" y="47203"/>
                  <a:pt x="56563" y="47203"/>
                </a:cubicBezTo>
                <a:cubicBezTo>
                  <a:pt x="56563" y="47203"/>
                  <a:pt x="57092" y="46635"/>
                  <a:pt x="57621" y="46635"/>
                </a:cubicBezTo>
                <a:cubicBezTo>
                  <a:pt x="57621" y="46066"/>
                  <a:pt x="57621" y="44928"/>
                  <a:pt x="57621" y="44928"/>
                </a:cubicBezTo>
                <a:cubicBezTo>
                  <a:pt x="58678" y="43791"/>
                  <a:pt x="58678" y="43791"/>
                  <a:pt x="58678" y="43791"/>
                </a:cubicBezTo>
                <a:cubicBezTo>
                  <a:pt x="59207" y="42654"/>
                  <a:pt x="59207" y="42654"/>
                  <a:pt x="59207" y="42654"/>
                </a:cubicBezTo>
                <a:cubicBezTo>
                  <a:pt x="59207" y="41516"/>
                  <a:pt x="59207" y="41516"/>
                  <a:pt x="59207" y="41516"/>
                </a:cubicBezTo>
                <a:cubicBezTo>
                  <a:pt x="60264" y="40947"/>
                  <a:pt x="60264" y="40947"/>
                  <a:pt x="60264" y="40947"/>
                </a:cubicBezTo>
                <a:cubicBezTo>
                  <a:pt x="61850" y="40379"/>
                  <a:pt x="61850" y="40379"/>
                  <a:pt x="61850" y="40379"/>
                </a:cubicBezTo>
                <a:cubicBezTo>
                  <a:pt x="63964" y="39810"/>
                  <a:pt x="63964" y="39810"/>
                  <a:pt x="63964" y="39810"/>
                </a:cubicBezTo>
                <a:cubicBezTo>
                  <a:pt x="63964" y="39810"/>
                  <a:pt x="65550" y="40379"/>
                  <a:pt x="66079" y="40379"/>
                </a:cubicBezTo>
                <a:cubicBezTo>
                  <a:pt x="66079" y="40379"/>
                  <a:pt x="66607" y="40379"/>
                  <a:pt x="66607" y="40379"/>
                </a:cubicBezTo>
                <a:cubicBezTo>
                  <a:pt x="67665" y="38672"/>
                  <a:pt x="67665" y="38672"/>
                  <a:pt x="67665" y="38672"/>
                </a:cubicBezTo>
                <a:cubicBezTo>
                  <a:pt x="67665" y="38672"/>
                  <a:pt x="67665" y="38672"/>
                  <a:pt x="67665" y="38672"/>
                </a:cubicBezTo>
                <a:cubicBezTo>
                  <a:pt x="68193" y="37535"/>
                  <a:pt x="68193" y="37535"/>
                  <a:pt x="68193" y="37535"/>
                </a:cubicBezTo>
                <a:cubicBezTo>
                  <a:pt x="70837" y="38672"/>
                  <a:pt x="70837" y="38672"/>
                  <a:pt x="70837" y="38672"/>
                </a:cubicBezTo>
                <a:cubicBezTo>
                  <a:pt x="71894" y="39810"/>
                  <a:pt x="71894" y="39810"/>
                  <a:pt x="71894" y="39810"/>
                </a:cubicBezTo>
                <a:cubicBezTo>
                  <a:pt x="74537" y="40379"/>
                  <a:pt x="74537" y="40379"/>
                  <a:pt x="74537" y="40379"/>
                </a:cubicBezTo>
                <a:cubicBezTo>
                  <a:pt x="74537" y="40379"/>
                  <a:pt x="74537" y="40379"/>
                  <a:pt x="74537" y="40379"/>
                </a:cubicBezTo>
                <a:cubicBezTo>
                  <a:pt x="75594" y="40379"/>
                  <a:pt x="75594" y="40379"/>
                  <a:pt x="75594" y="40379"/>
                </a:cubicBezTo>
                <a:cubicBezTo>
                  <a:pt x="75594" y="39810"/>
                  <a:pt x="75594" y="39810"/>
                  <a:pt x="75594" y="39810"/>
                </a:cubicBezTo>
                <a:cubicBezTo>
                  <a:pt x="77709" y="39810"/>
                  <a:pt x="77709" y="39810"/>
                  <a:pt x="77709" y="39810"/>
                </a:cubicBezTo>
                <a:cubicBezTo>
                  <a:pt x="80352" y="40379"/>
                  <a:pt x="80352" y="40379"/>
                  <a:pt x="80352" y="40379"/>
                </a:cubicBezTo>
                <a:cubicBezTo>
                  <a:pt x="81938" y="40379"/>
                  <a:pt x="81938" y="40379"/>
                  <a:pt x="81938" y="40379"/>
                </a:cubicBezTo>
                <a:cubicBezTo>
                  <a:pt x="84581" y="40379"/>
                  <a:pt x="84581" y="40379"/>
                  <a:pt x="84581" y="40379"/>
                </a:cubicBezTo>
                <a:cubicBezTo>
                  <a:pt x="86167" y="40947"/>
                  <a:pt x="86167" y="40947"/>
                  <a:pt x="86167" y="40947"/>
                </a:cubicBezTo>
                <a:cubicBezTo>
                  <a:pt x="87224" y="41516"/>
                  <a:pt x="87224" y="41516"/>
                  <a:pt x="87224" y="41516"/>
                </a:cubicBezTo>
                <a:cubicBezTo>
                  <a:pt x="87224" y="41516"/>
                  <a:pt x="87224" y="41516"/>
                  <a:pt x="87753" y="40947"/>
                </a:cubicBezTo>
                <a:cubicBezTo>
                  <a:pt x="87753" y="40947"/>
                  <a:pt x="89339" y="40947"/>
                  <a:pt x="89339" y="40947"/>
                </a:cubicBezTo>
                <a:cubicBezTo>
                  <a:pt x="89867" y="39241"/>
                  <a:pt x="89867" y="39241"/>
                  <a:pt x="89867" y="39241"/>
                </a:cubicBezTo>
                <a:cubicBezTo>
                  <a:pt x="90396" y="40379"/>
                  <a:pt x="90396" y="40379"/>
                  <a:pt x="90396" y="40379"/>
                </a:cubicBezTo>
                <a:cubicBezTo>
                  <a:pt x="90925" y="40379"/>
                  <a:pt x="91982" y="40379"/>
                  <a:pt x="91982" y="40379"/>
                </a:cubicBezTo>
                <a:cubicBezTo>
                  <a:pt x="92511" y="38672"/>
                  <a:pt x="92511" y="38672"/>
                  <a:pt x="92511" y="38672"/>
                </a:cubicBezTo>
                <a:cubicBezTo>
                  <a:pt x="93039" y="39241"/>
                  <a:pt x="93039" y="39241"/>
                  <a:pt x="93039" y="39241"/>
                </a:cubicBezTo>
                <a:cubicBezTo>
                  <a:pt x="93568" y="39241"/>
                  <a:pt x="93568" y="39241"/>
                  <a:pt x="94096" y="39241"/>
                </a:cubicBezTo>
                <a:cubicBezTo>
                  <a:pt x="94625" y="39241"/>
                  <a:pt x="95154" y="38672"/>
                  <a:pt x="95154" y="38672"/>
                </a:cubicBezTo>
                <a:cubicBezTo>
                  <a:pt x="95154" y="38672"/>
                  <a:pt x="95682" y="39241"/>
                  <a:pt x="95682" y="39241"/>
                </a:cubicBezTo>
                <a:cubicBezTo>
                  <a:pt x="95682" y="39241"/>
                  <a:pt x="96211" y="38672"/>
                  <a:pt x="96740" y="38672"/>
                </a:cubicBezTo>
                <a:cubicBezTo>
                  <a:pt x="97797" y="38672"/>
                  <a:pt x="98325" y="38104"/>
                  <a:pt x="98325" y="38104"/>
                </a:cubicBezTo>
                <a:cubicBezTo>
                  <a:pt x="98325" y="38104"/>
                  <a:pt x="98854" y="39241"/>
                  <a:pt x="99911" y="39810"/>
                </a:cubicBezTo>
                <a:cubicBezTo>
                  <a:pt x="99911" y="39810"/>
                  <a:pt x="99911" y="39810"/>
                  <a:pt x="99911" y="39810"/>
                </a:cubicBezTo>
                <a:cubicBezTo>
                  <a:pt x="100969" y="39810"/>
                  <a:pt x="100969" y="39810"/>
                  <a:pt x="100969" y="39810"/>
                </a:cubicBezTo>
                <a:cubicBezTo>
                  <a:pt x="100969" y="39810"/>
                  <a:pt x="100969" y="39810"/>
                  <a:pt x="100969" y="39810"/>
                </a:cubicBezTo>
                <a:cubicBezTo>
                  <a:pt x="100969" y="39810"/>
                  <a:pt x="101497" y="39241"/>
                  <a:pt x="102026" y="39241"/>
                </a:cubicBezTo>
                <a:cubicBezTo>
                  <a:pt x="103083" y="39241"/>
                  <a:pt x="103612" y="39241"/>
                  <a:pt x="104140" y="39241"/>
                </a:cubicBezTo>
                <a:cubicBezTo>
                  <a:pt x="105198" y="39241"/>
                  <a:pt x="105726" y="40379"/>
                  <a:pt x="105726" y="40379"/>
                </a:cubicBezTo>
                <a:cubicBezTo>
                  <a:pt x="107312" y="42085"/>
                  <a:pt x="107312" y="42085"/>
                  <a:pt x="107312" y="42085"/>
                </a:cubicBezTo>
                <a:cubicBezTo>
                  <a:pt x="107312" y="42085"/>
                  <a:pt x="107841" y="43222"/>
                  <a:pt x="107841" y="43791"/>
                </a:cubicBezTo>
                <a:cubicBezTo>
                  <a:pt x="108370" y="44360"/>
                  <a:pt x="108370" y="44928"/>
                  <a:pt x="108370" y="44928"/>
                </a:cubicBezTo>
                <a:cubicBezTo>
                  <a:pt x="108370" y="44928"/>
                  <a:pt x="112599" y="46635"/>
                  <a:pt x="113127" y="46635"/>
                </a:cubicBezTo>
                <a:cubicBezTo>
                  <a:pt x="113127" y="46635"/>
                  <a:pt x="113656" y="46635"/>
                  <a:pt x="113656" y="46635"/>
                </a:cubicBezTo>
                <a:close/>
                <a:moveTo>
                  <a:pt x="92511" y="108625"/>
                </a:moveTo>
                <a:cubicBezTo>
                  <a:pt x="92511" y="108625"/>
                  <a:pt x="92511" y="108625"/>
                  <a:pt x="92511" y="108625"/>
                </a:cubicBezTo>
                <a:cubicBezTo>
                  <a:pt x="93039" y="108625"/>
                  <a:pt x="93039" y="108056"/>
                  <a:pt x="93039" y="108056"/>
                </a:cubicBezTo>
                <a:cubicBezTo>
                  <a:pt x="94625" y="108056"/>
                  <a:pt x="94625" y="108056"/>
                  <a:pt x="94625" y="108056"/>
                </a:cubicBezTo>
                <a:cubicBezTo>
                  <a:pt x="94625" y="108056"/>
                  <a:pt x="94625" y="108056"/>
                  <a:pt x="94625" y="108056"/>
                </a:cubicBezTo>
                <a:cubicBezTo>
                  <a:pt x="96211" y="108625"/>
                  <a:pt x="96211" y="108625"/>
                  <a:pt x="96211" y="108625"/>
                </a:cubicBezTo>
                <a:cubicBezTo>
                  <a:pt x="97268" y="109763"/>
                  <a:pt x="97268" y="109763"/>
                  <a:pt x="97268" y="109763"/>
                </a:cubicBezTo>
                <a:cubicBezTo>
                  <a:pt x="97797" y="110900"/>
                  <a:pt x="97797" y="110900"/>
                  <a:pt x="97797" y="110900"/>
                </a:cubicBezTo>
                <a:cubicBezTo>
                  <a:pt x="98854" y="112037"/>
                  <a:pt x="98854" y="112037"/>
                  <a:pt x="98854" y="112037"/>
                </a:cubicBezTo>
                <a:cubicBezTo>
                  <a:pt x="101497" y="113744"/>
                  <a:pt x="101497" y="113744"/>
                  <a:pt x="101497" y="113744"/>
                </a:cubicBezTo>
                <a:cubicBezTo>
                  <a:pt x="104669" y="115450"/>
                  <a:pt x="104669" y="115450"/>
                  <a:pt x="104669" y="115450"/>
                </a:cubicBezTo>
                <a:cubicBezTo>
                  <a:pt x="104669" y="115450"/>
                  <a:pt x="106784" y="116587"/>
                  <a:pt x="107312" y="116587"/>
                </a:cubicBezTo>
                <a:cubicBezTo>
                  <a:pt x="107312" y="116587"/>
                  <a:pt x="107312" y="117156"/>
                  <a:pt x="107841" y="117156"/>
                </a:cubicBezTo>
                <a:cubicBezTo>
                  <a:pt x="107841" y="117725"/>
                  <a:pt x="108898" y="119431"/>
                  <a:pt x="108898" y="119431"/>
                </a:cubicBezTo>
                <a:cubicBezTo>
                  <a:pt x="109427" y="120000"/>
                  <a:pt x="107841" y="118862"/>
                  <a:pt x="107841" y="118862"/>
                </a:cubicBezTo>
                <a:cubicBezTo>
                  <a:pt x="107841" y="118862"/>
                  <a:pt x="107312" y="117725"/>
                  <a:pt x="106784" y="117156"/>
                </a:cubicBezTo>
                <a:cubicBezTo>
                  <a:pt x="105726" y="117156"/>
                  <a:pt x="104669" y="117156"/>
                  <a:pt x="104140" y="116587"/>
                </a:cubicBezTo>
                <a:cubicBezTo>
                  <a:pt x="103612" y="116018"/>
                  <a:pt x="103612" y="115450"/>
                  <a:pt x="103612" y="115450"/>
                </a:cubicBezTo>
                <a:cubicBezTo>
                  <a:pt x="103083" y="115450"/>
                  <a:pt x="103083" y="114312"/>
                  <a:pt x="101497" y="114312"/>
                </a:cubicBezTo>
                <a:cubicBezTo>
                  <a:pt x="99911" y="113744"/>
                  <a:pt x="99911" y="114312"/>
                  <a:pt x="99383" y="113175"/>
                </a:cubicBezTo>
                <a:cubicBezTo>
                  <a:pt x="98854" y="111469"/>
                  <a:pt x="98854" y="112606"/>
                  <a:pt x="98325" y="111469"/>
                </a:cubicBezTo>
                <a:cubicBezTo>
                  <a:pt x="97268" y="110900"/>
                  <a:pt x="97797" y="111469"/>
                  <a:pt x="95682" y="110900"/>
                </a:cubicBezTo>
                <a:cubicBezTo>
                  <a:pt x="94096" y="109763"/>
                  <a:pt x="95154" y="110331"/>
                  <a:pt x="95154" y="109763"/>
                </a:cubicBezTo>
                <a:cubicBezTo>
                  <a:pt x="94625" y="108625"/>
                  <a:pt x="95154" y="109194"/>
                  <a:pt x="94096" y="109194"/>
                </a:cubicBezTo>
                <a:cubicBezTo>
                  <a:pt x="93568" y="108625"/>
                  <a:pt x="94096" y="108625"/>
                  <a:pt x="93568" y="108625"/>
                </a:cubicBezTo>
                <a:cubicBezTo>
                  <a:pt x="93568" y="108625"/>
                  <a:pt x="93039" y="109194"/>
                  <a:pt x="92511" y="109194"/>
                </a:cubicBezTo>
                <a:cubicBezTo>
                  <a:pt x="92511" y="108625"/>
                  <a:pt x="92511" y="108625"/>
                  <a:pt x="92511" y="108625"/>
                </a:cubicBezTo>
                <a:close/>
                <a:moveTo>
                  <a:pt x="89339" y="112606"/>
                </a:moveTo>
                <a:cubicBezTo>
                  <a:pt x="89339" y="112606"/>
                  <a:pt x="89339" y="112606"/>
                  <a:pt x="89339" y="112606"/>
                </a:cubicBezTo>
                <a:cubicBezTo>
                  <a:pt x="89339" y="112606"/>
                  <a:pt x="88281" y="112606"/>
                  <a:pt x="87753" y="112606"/>
                </a:cubicBezTo>
                <a:cubicBezTo>
                  <a:pt x="87753" y="112606"/>
                  <a:pt x="87224" y="112037"/>
                  <a:pt x="86696" y="112037"/>
                </a:cubicBezTo>
                <a:cubicBezTo>
                  <a:pt x="86167" y="112037"/>
                  <a:pt x="85110" y="112037"/>
                  <a:pt x="85110" y="112037"/>
                </a:cubicBezTo>
                <a:cubicBezTo>
                  <a:pt x="84581" y="112037"/>
                  <a:pt x="84052" y="111469"/>
                  <a:pt x="84052" y="111469"/>
                </a:cubicBezTo>
                <a:cubicBezTo>
                  <a:pt x="84052" y="111469"/>
                  <a:pt x="84052" y="110900"/>
                  <a:pt x="84052" y="110900"/>
                </a:cubicBezTo>
                <a:cubicBezTo>
                  <a:pt x="84052" y="110900"/>
                  <a:pt x="85110" y="110331"/>
                  <a:pt x="85110" y="110331"/>
                </a:cubicBezTo>
                <a:cubicBezTo>
                  <a:pt x="85110" y="110900"/>
                  <a:pt x="88281" y="111469"/>
                  <a:pt x="88281" y="111469"/>
                </a:cubicBezTo>
                <a:cubicBezTo>
                  <a:pt x="90396" y="111469"/>
                  <a:pt x="90396" y="111469"/>
                  <a:pt x="90396" y="111469"/>
                </a:cubicBezTo>
                <a:cubicBezTo>
                  <a:pt x="90396" y="111469"/>
                  <a:pt x="90925" y="111469"/>
                  <a:pt x="90925" y="111469"/>
                </a:cubicBezTo>
                <a:cubicBezTo>
                  <a:pt x="90925" y="111469"/>
                  <a:pt x="91453" y="111469"/>
                  <a:pt x="91982" y="112037"/>
                </a:cubicBezTo>
                <a:cubicBezTo>
                  <a:pt x="92511" y="112037"/>
                  <a:pt x="92511" y="112037"/>
                  <a:pt x="92511" y="112606"/>
                </a:cubicBezTo>
                <a:cubicBezTo>
                  <a:pt x="92511" y="112606"/>
                  <a:pt x="93039" y="113175"/>
                  <a:pt x="92511" y="113175"/>
                </a:cubicBezTo>
                <a:cubicBezTo>
                  <a:pt x="92511" y="113175"/>
                  <a:pt x="91982" y="113175"/>
                  <a:pt x="91982" y="113175"/>
                </a:cubicBezTo>
                <a:cubicBezTo>
                  <a:pt x="91982" y="113175"/>
                  <a:pt x="90925" y="112606"/>
                  <a:pt x="90925" y="112606"/>
                </a:cubicBezTo>
                <a:cubicBezTo>
                  <a:pt x="89867" y="112606"/>
                  <a:pt x="89867" y="112606"/>
                  <a:pt x="89867" y="112606"/>
                </a:cubicBezTo>
                <a:cubicBezTo>
                  <a:pt x="89339" y="112606"/>
                  <a:pt x="89339" y="112606"/>
                  <a:pt x="89339" y="112606"/>
                </a:cubicBezTo>
                <a:close/>
                <a:moveTo>
                  <a:pt x="72951" y="113175"/>
                </a:moveTo>
                <a:cubicBezTo>
                  <a:pt x="72951" y="113175"/>
                  <a:pt x="72951" y="113175"/>
                  <a:pt x="72951" y="113175"/>
                </a:cubicBezTo>
                <a:cubicBezTo>
                  <a:pt x="72951" y="113175"/>
                  <a:pt x="75066" y="112606"/>
                  <a:pt x="75066" y="112606"/>
                </a:cubicBezTo>
                <a:cubicBezTo>
                  <a:pt x="76123" y="113175"/>
                  <a:pt x="76123" y="113175"/>
                  <a:pt x="76123" y="113175"/>
                </a:cubicBezTo>
                <a:cubicBezTo>
                  <a:pt x="76123" y="113175"/>
                  <a:pt x="76123" y="113744"/>
                  <a:pt x="75594" y="113744"/>
                </a:cubicBezTo>
                <a:cubicBezTo>
                  <a:pt x="75594" y="113744"/>
                  <a:pt x="74537" y="114881"/>
                  <a:pt x="74537" y="114881"/>
                </a:cubicBezTo>
                <a:cubicBezTo>
                  <a:pt x="72951" y="113744"/>
                  <a:pt x="72951" y="113744"/>
                  <a:pt x="72951" y="113744"/>
                </a:cubicBezTo>
                <a:cubicBezTo>
                  <a:pt x="72951" y="113175"/>
                  <a:pt x="72951" y="113175"/>
                  <a:pt x="72951" y="113175"/>
                </a:cubicBezTo>
                <a:close/>
                <a:moveTo>
                  <a:pt x="56563" y="110331"/>
                </a:moveTo>
                <a:cubicBezTo>
                  <a:pt x="56563" y="110331"/>
                  <a:pt x="56563" y="110331"/>
                  <a:pt x="56563" y="110331"/>
                </a:cubicBezTo>
                <a:cubicBezTo>
                  <a:pt x="57092" y="110331"/>
                  <a:pt x="57621" y="109763"/>
                  <a:pt x="57621" y="110331"/>
                </a:cubicBezTo>
                <a:cubicBezTo>
                  <a:pt x="57621" y="110900"/>
                  <a:pt x="57092" y="111469"/>
                  <a:pt x="57092" y="111469"/>
                </a:cubicBezTo>
                <a:cubicBezTo>
                  <a:pt x="57092" y="111469"/>
                  <a:pt x="56563" y="111469"/>
                  <a:pt x="56563" y="111469"/>
                </a:cubicBezTo>
                <a:cubicBezTo>
                  <a:pt x="56563" y="110900"/>
                  <a:pt x="56563" y="110331"/>
                  <a:pt x="56563" y="110331"/>
                </a:cubicBezTo>
                <a:close/>
                <a:moveTo>
                  <a:pt x="59735" y="107488"/>
                </a:moveTo>
                <a:cubicBezTo>
                  <a:pt x="59735" y="107488"/>
                  <a:pt x="59735" y="107488"/>
                  <a:pt x="59735" y="107488"/>
                </a:cubicBezTo>
                <a:cubicBezTo>
                  <a:pt x="59735" y="107488"/>
                  <a:pt x="60792" y="106919"/>
                  <a:pt x="60792" y="106919"/>
                </a:cubicBezTo>
                <a:cubicBezTo>
                  <a:pt x="61321" y="107488"/>
                  <a:pt x="61850" y="107488"/>
                  <a:pt x="61321" y="108056"/>
                </a:cubicBezTo>
                <a:cubicBezTo>
                  <a:pt x="61321" y="108056"/>
                  <a:pt x="61321" y="108056"/>
                  <a:pt x="60792" y="108625"/>
                </a:cubicBezTo>
                <a:cubicBezTo>
                  <a:pt x="60264" y="109194"/>
                  <a:pt x="59207" y="109763"/>
                  <a:pt x="59207" y="109763"/>
                </a:cubicBezTo>
                <a:cubicBezTo>
                  <a:pt x="59207" y="109763"/>
                  <a:pt x="59207" y="109763"/>
                  <a:pt x="58678" y="109763"/>
                </a:cubicBezTo>
                <a:cubicBezTo>
                  <a:pt x="57621" y="109194"/>
                  <a:pt x="57092" y="108625"/>
                  <a:pt x="57092" y="108625"/>
                </a:cubicBezTo>
                <a:cubicBezTo>
                  <a:pt x="57092" y="108625"/>
                  <a:pt x="56563" y="108056"/>
                  <a:pt x="57621" y="108056"/>
                </a:cubicBezTo>
                <a:cubicBezTo>
                  <a:pt x="58149" y="107488"/>
                  <a:pt x="58678" y="107488"/>
                  <a:pt x="58678" y="107488"/>
                </a:cubicBezTo>
                <a:cubicBezTo>
                  <a:pt x="59207" y="107488"/>
                  <a:pt x="59735" y="107488"/>
                  <a:pt x="59735" y="107488"/>
                </a:cubicBezTo>
                <a:close/>
                <a:moveTo>
                  <a:pt x="65550" y="101232"/>
                </a:moveTo>
                <a:cubicBezTo>
                  <a:pt x="65550" y="101232"/>
                  <a:pt x="65550" y="101232"/>
                  <a:pt x="65550" y="101232"/>
                </a:cubicBezTo>
                <a:cubicBezTo>
                  <a:pt x="65550" y="101232"/>
                  <a:pt x="66607" y="100663"/>
                  <a:pt x="66607" y="100663"/>
                </a:cubicBezTo>
                <a:cubicBezTo>
                  <a:pt x="66607" y="100663"/>
                  <a:pt x="66607" y="100663"/>
                  <a:pt x="67136" y="100663"/>
                </a:cubicBezTo>
                <a:cubicBezTo>
                  <a:pt x="67136" y="100663"/>
                  <a:pt x="67136" y="100663"/>
                  <a:pt x="67665" y="100663"/>
                </a:cubicBezTo>
                <a:cubicBezTo>
                  <a:pt x="67665" y="100663"/>
                  <a:pt x="68193" y="100094"/>
                  <a:pt x="68722" y="100663"/>
                </a:cubicBezTo>
                <a:cubicBezTo>
                  <a:pt x="69251" y="100663"/>
                  <a:pt x="69251" y="101232"/>
                  <a:pt x="69779" y="101232"/>
                </a:cubicBezTo>
                <a:cubicBezTo>
                  <a:pt x="69779" y="101232"/>
                  <a:pt x="70308" y="101232"/>
                  <a:pt x="70308" y="101232"/>
                </a:cubicBezTo>
                <a:cubicBezTo>
                  <a:pt x="70837" y="101232"/>
                  <a:pt x="70837" y="101232"/>
                  <a:pt x="71894" y="101232"/>
                </a:cubicBezTo>
                <a:cubicBezTo>
                  <a:pt x="72951" y="101232"/>
                  <a:pt x="74537" y="101232"/>
                  <a:pt x="74537" y="101232"/>
                </a:cubicBezTo>
                <a:cubicBezTo>
                  <a:pt x="74537" y="101800"/>
                  <a:pt x="75066" y="101232"/>
                  <a:pt x="75594" y="101232"/>
                </a:cubicBezTo>
                <a:cubicBezTo>
                  <a:pt x="76651" y="101800"/>
                  <a:pt x="76651" y="101800"/>
                  <a:pt x="76651" y="101800"/>
                </a:cubicBezTo>
                <a:cubicBezTo>
                  <a:pt x="77180" y="101800"/>
                  <a:pt x="76651" y="102369"/>
                  <a:pt x="77709" y="101800"/>
                </a:cubicBezTo>
                <a:cubicBezTo>
                  <a:pt x="78237" y="101800"/>
                  <a:pt x="78237" y="101800"/>
                  <a:pt x="78237" y="101800"/>
                </a:cubicBezTo>
                <a:cubicBezTo>
                  <a:pt x="78237" y="101800"/>
                  <a:pt x="78237" y="101800"/>
                  <a:pt x="78766" y="101232"/>
                </a:cubicBezTo>
                <a:cubicBezTo>
                  <a:pt x="79295" y="101232"/>
                  <a:pt x="79823" y="100663"/>
                  <a:pt x="79823" y="100663"/>
                </a:cubicBezTo>
                <a:cubicBezTo>
                  <a:pt x="80352" y="100663"/>
                  <a:pt x="80352" y="100663"/>
                  <a:pt x="80352" y="100663"/>
                </a:cubicBezTo>
                <a:cubicBezTo>
                  <a:pt x="80352" y="102369"/>
                  <a:pt x="80352" y="102369"/>
                  <a:pt x="80352" y="102369"/>
                </a:cubicBezTo>
                <a:cubicBezTo>
                  <a:pt x="80352" y="102369"/>
                  <a:pt x="80352" y="102369"/>
                  <a:pt x="80352" y="102938"/>
                </a:cubicBezTo>
                <a:cubicBezTo>
                  <a:pt x="80352" y="102938"/>
                  <a:pt x="79823" y="103507"/>
                  <a:pt x="79295" y="103507"/>
                </a:cubicBezTo>
                <a:cubicBezTo>
                  <a:pt x="79295" y="103507"/>
                  <a:pt x="78766" y="102938"/>
                  <a:pt x="78766" y="102938"/>
                </a:cubicBezTo>
                <a:cubicBezTo>
                  <a:pt x="78766" y="102369"/>
                  <a:pt x="78237" y="102369"/>
                  <a:pt x="78237" y="102369"/>
                </a:cubicBezTo>
                <a:cubicBezTo>
                  <a:pt x="77709" y="102369"/>
                  <a:pt x="77180" y="102938"/>
                  <a:pt x="76651" y="102938"/>
                </a:cubicBezTo>
                <a:cubicBezTo>
                  <a:pt x="76651" y="102938"/>
                  <a:pt x="76123" y="102369"/>
                  <a:pt x="76123" y="102369"/>
                </a:cubicBezTo>
                <a:cubicBezTo>
                  <a:pt x="76123" y="102369"/>
                  <a:pt x="75066" y="102369"/>
                  <a:pt x="74537" y="102369"/>
                </a:cubicBezTo>
                <a:cubicBezTo>
                  <a:pt x="74537" y="102369"/>
                  <a:pt x="74008" y="102369"/>
                  <a:pt x="73480" y="102369"/>
                </a:cubicBezTo>
                <a:cubicBezTo>
                  <a:pt x="72951" y="102369"/>
                  <a:pt x="72422" y="102369"/>
                  <a:pt x="71894" y="102369"/>
                </a:cubicBezTo>
                <a:cubicBezTo>
                  <a:pt x="71365" y="102938"/>
                  <a:pt x="70308" y="102369"/>
                  <a:pt x="70308" y="102938"/>
                </a:cubicBezTo>
                <a:cubicBezTo>
                  <a:pt x="70308" y="102938"/>
                  <a:pt x="70308" y="103507"/>
                  <a:pt x="70308" y="103507"/>
                </a:cubicBezTo>
                <a:cubicBezTo>
                  <a:pt x="70308" y="103507"/>
                  <a:pt x="70837" y="104075"/>
                  <a:pt x="70308" y="104075"/>
                </a:cubicBezTo>
                <a:cubicBezTo>
                  <a:pt x="69251" y="104075"/>
                  <a:pt x="69251" y="104075"/>
                  <a:pt x="69251" y="103507"/>
                </a:cubicBezTo>
                <a:cubicBezTo>
                  <a:pt x="68722" y="102938"/>
                  <a:pt x="69779" y="102369"/>
                  <a:pt x="68193" y="102938"/>
                </a:cubicBezTo>
                <a:cubicBezTo>
                  <a:pt x="67136" y="102938"/>
                  <a:pt x="67136" y="102369"/>
                  <a:pt x="66607" y="102369"/>
                </a:cubicBezTo>
                <a:cubicBezTo>
                  <a:pt x="66607" y="102938"/>
                  <a:pt x="65550" y="101800"/>
                  <a:pt x="65022" y="102369"/>
                </a:cubicBezTo>
                <a:cubicBezTo>
                  <a:pt x="65022" y="102369"/>
                  <a:pt x="64493" y="102938"/>
                  <a:pt x="64493" y="102938"/>
                </a:cubicBezTo>
                <a:cubicBezTo>
                  <a:pt x="64493" y="102938"/>
                  <a:pt x="62907" y="102938"/>
                  <a:pt x="62907" y="102938"/>
                </a:cubicBezTo>
                <a:cubicBezTo>
                  <a:pt x="62907" y="102938"/>
                  <a:pt x="63436" y="101232"/>
                  <a:pt x="63436" y="101232"/>
                </a:cubicBezTo>
                <a:cubicBezTo>
                  <a:pt x="63436" y="101232"/>
                  <a:pt x="63436" y="101232"/>
                  <a:pt x="63964" y="101232"/>
                </a:cubicBezTo>
                <a:cubicBezTo>
                  <a:pt x="64493" y="101232"/>
                  <a:pt x="65022" y="101232"/>
                  <a:pt x="65022" y="101232"/>
                </a:cubicBezTo>
                <a:cubicBezTo>
                  <a:pt x="65550" y="101232"/>
                  <a:pt x="65550" y="101232"/>
                  <a:pt x="65550" y="101232"/>
                </a:cubicBezTo>
                <a:close/>
                <a:moveTo>
                  <a:pt x="63436" y="97819"/>
                </a:moveTo>
                <a:cubicBezTo>
                  <a:pt x="63436" y="97819"/>
                  <a:pt x="63436" y="97819"/>
                  <a:pt x="63436" y="97819"/>
                </a:cubicBezTo>
                <a:cubicBezTo>
                  <a:pt x="63436" y="97819"/>
                  <a:pt x="61321" y="96682"/>
                  <a:pt x="61321" y="96682"/>
                </a:cubicBezTo>
                <a:cubicBezTo>
                  <a:pt x="60792" y="96682"/>
                  <a:pt x="60264" y="96682"/>
                  <a:pt x="59735" y="96682"/>
                </a:cubicBezTo>
                <a:cubicBezTo>
                  <a:pt x="59735" y="96682"/>
                  <a:pt x="58678" y="96113"/>
                  <a:pt x="59207" y="95545"/>
                </a:cubicBezTo>
                <a:cubicBezTo>
                  <a:pt x="59207" y="95545"/>
                  <a:pt x="59735" y="94976"/>
                  <a:pt x="60264" y="95545"/>
                </a:cubicBezTo>
                <a:cubicBezTo>
                  <a:pt x="60792" y="96113"/>
                  <a:pt x="61321" y="96113"/>
                  <a:pt x="61321" y="96682"/>
                </a:cubicBezTo>
                <a:cubicBezTo>
                  <a:pt x="61850" y="96682"/>
                  <a:pt x="62907" y="97251"/>
                  <a:pt x="62907" y="97251"/>
                </a:cubicBezTo>
                <a:cubicBezTo>
                  <a:pt x="63436" y="97251"/>
                  <a:pt x="63436" y="97819"/>
                  <a:pt x="63436" y="97251"/>
                </a:cubicBezTo>
                <a:cubicBezTo>
                  <a:pt x="63964" y="97251"/>
                  <a:pt x="63964" y="96113"/>
                  <a:pt x="63964" y="96113"/>
                </a:cubicBezTo>
                <a:cubicBezTo>
                  <a:pt x="63964" y="95545"/>
                  <a:pt x="63436" y="95545"/>
                  <a:pt x="63436" y="95545"/>
                </a:cubicBezTo>
                <a:cubicBezTo>
                  <a:pt x="63964" y="95545"/>
                  <a:pt x="65022" y="94976"/>
                  <a:pt x="65022" y="94976"/>
                </a:cubicBezTo>
                <a:cubicBezTo>
                  <a:pt x="65550" y="95545"/>
                  <a:pt x="66079" y="95545"/>
                  <a:pt x="66607" y="95545"/>
                </a:cubicBezTo>
                <a:cubicBezTo>
                  <a:pt x="66607" y="95545"/>
                  <a:pt x="66079" y="95545"/>
                  <a:pt x="68193" y="95545"/>
                </a:cubicBezTo>
                <a:cubicBezTo>
                  <a:pt x="69779" y="95545"/>
                  <a:pt x="69251" y="95545"/>
                  <a:pt x="70308" y="95545"/>
                </a:cubicBezTo>
                <a:cubicBezTo>
                  <a:pt x="70837" y="95545"/>
                  <a:pt x="71894" y="95545"/>
                  <a:pt x="71894" y="95545"/>
                </a:cubicBezTo>
                <a:cubicBezTo>
                  <a:pt x="71894" y="96113"/>
                  <a:pt x="72951" y="96682"/>
                  <a:pt x="72951" y="96682"/>
                </a:cubicBezTo>
                <a:cubicBezTo>
                  <a:pt x="72951" y="97251"/>
                  <a:pt x="73480" y="97251"/>
                  <a:pt x="72951" y="97819"/>
                </a:cubicBezTo>
                <a:cubicBezTo>
                  <a:pt x="71894" y="98388"/>
                  <a:pt x="71894" y="98388"/>
                  <a:pt x="70837" y="98388"/>
                </a:cubicBezTo>
                <a:cubicBezTo>
                  <a:pt x="70308" y="98388"/>
                  <a:pt x="70837" y="98388"/>
                  <a:pt x="69779" y="98957"/>
                </a:cubicBezTo>
                <a:cubicBezTo>
                  <a:pt x="68193" y="98957"/>
                  <a:pt x="67136" y="98957"/>
                  <a:pt x="67136" y="98957"/>
                </a:cubicBezTo>
                <a:cubicBezTo>
                  <a:pt x="67136" y="98957"/>
                  <a:pt x="67665" y="98957"/>
                  <a:pt x="66079" y="98957"/>
                </a:cubicBezTo>
                <a:cubicBezTo>
                  <a:pt x="65022" y="98388"/>
                  <a:pt x="64493" y="98957"/>
                  <a:pt x="63964" y="98388"/>
                </a:cubicBezTo>
                <a:cubicBezTo>
                  <a:pt x="63964" y="98388"/>
                  <a:pt x="63436" y="97819"/>
                  <a:pt x="63436" y="97819"/>
                </a:cubicBezTo>
                <a:close/>
                <a:moveTo>
                  <a:pt x="26431" y="53459"/>
                </a:moveTo>
                <a:cubicBezTo>
                  <a:pt x="26431" y="53459"/>
                  <a:pt x="26431" y="53459"/>
                  <a:pt x="26431" y="53459"/>
                </a:cubicBezTo>
                <a:cubicBezTo>
                  <a:pt x="26431" y="53459"/>
                  <a:pt x="26431" y="52890"/>
                  <a:pt x="26431" y="52890"/>
                </a:cubicBezTo>
                <a:cubicBezTo>
                  <a:pt x="26431" y="52890"/>
                  <a:pt x="26431" y="52890"/>
                  <a:pt x="26431" y="52890"/>
                </a:cubicBezTo>
                <a:cubicBezTo>
                  <a:pt x="26431" y="52890"/>
                  <a:pt x="26960" y="52890"/>
                  <a:pt x="26960" y="52890"/>
                </a:cubicBezTo>
                <a:cubicBezTo>
                  <a:pt x="26960" y="53459"/>
                  <a:pt x="26960" y="53459"/>
                  <a:pt x="27488" y="53459"/>
                </a:cubicBezTo>
                <a:cubicBezTo>
                  <a:pt x="27488" y="53459"/>
                  <a:pt x="27488" y="53459"/>
                  <a:pt x="28017" y="53459"/>
                </a:cubicBezTo>
                <a:cubicBezTo>
                  <a:pt x="28017" y="54028"/>
                  <a:pt x="28017" y="54028"/>
                  <a:pt x="28017" y="54028"/>
                </a:cubicBezTo>
                <a:cubicBezTo>
                  <a:pt x="28017" y="54028"/>
                  <a:pt x="28017" y="55165"/>
                  <a:pt x="27488" y="54597"/>
                </a:cubicBezTo>
                <a:cubicBezTo>
                  <a:pt x="26960" y="54597"/>
                  <a:pt x="26431" y="54597"/>
                  <a:pt x="26431" y="54028"/>
                </a:cubicBezTo>
                <a:cubicBezTo>
                  <a:pt x="26431" y="54028"/>
                  <a:pt x="26431" y="53459"/>
                  <a:pt x="26431" y="53459"/>
                </a:cubicBezTo>
                <a:close/>
                <a:moveTo>
                  <a:pt x="26960" y="58578"/>
                </a:moveTo>
                <a:cubicBezTo>
                  <a:pt x="26960" y="58578"/>
                  <a:pt x="26960" y="58578"/>
                  <a:pt x="26960" y="58578"/>
                </a:cubicBezTo>
                <a:cubicBezTo>
                  <a:pt x="26960" y="58578"/>
                  <a:pt x="26431" y="58578"/>
                  <a:pt x="26431" y="58578"/>
                </a:cubicBezTo>
                <a:cubicBezTo>
                  <a:pt x="26431" y="58578"/>
                  <a:pt x="25374" y="58009"/>
                  <a:pt x="24845" y="58009"/>
                </a:cubicBezTo>
                <a:cubicBezTo>
                  <a:pt x="24845" y="57440"/>
                  <a:pt x="24845" y="57440"/>
                  <a:pt x="25374" y="57440"/>
                </a:cubicBezTo>
                <a:cubicBezTo>
                  <a:pt x="25374" y="56872"/>
                  <a:pt x="25374" y="56303"/>
                  <a:pt x="25374" y="56303"/>
                </a:cubicBezTo>
                <a:cubicBezTo>
                  <a:pt x="25374" y="56303"/>
                  <a:pt x="25903" y="55734"/>
                  <a:pt x="25903" y="55734"/>
                </a:cubicBezTo>
                <a:cubicBezTo>
                  <a:pt x="26431" y="55734"/>
                  <a:pt x="26431" y="55734"/>
                  <a:pt x="26431" y="55734"/>
                </a:cubicBezTo>
                <a:cubicBezTo>
                  <a:pt x="26431" y="55734"/>
                  <a:pt x="26431" y="55165"/>
                  <a:pt x="26431" y="55165"/>
                </a:cubicBezTo>
                <a:cubicBezTo>
                  <a:pt x="26431" y="54597"/>
                  <a:pt x="26960" y="54597"/>
                  <a:pt x="26960" y="54597"/>
                </a:cubicBezTo>
                <a:cubicBezTo>
                  <a:pt x="26960" y="54597"/>
                  <a:pt x="28017" y="55734"/>
                  <a:pt x="28017" y="56303"/>
                </a:cubicBezTo>
                <a:cubicBezTo>
                  <a:pt x="28017" y="56303"/>
                  <a:pt x="26431" y="56303"/>
                  <a:pt x="26431" y="56303"/>
                </a:cubicBezTo>
                <a:cubicBezTo>
                  <a:pt x="26431" y="56303"/>
                  <a:pt x="26431" y="56303"/>
                  <a:pt x="26960" y="57440"/>
                </a:cubicBezTo>
                <a:cubicBezTo>
                  <a:pt x="27488" y="58009"/>
                  <a:pt x="27488" y="57440"/>
                  <a:pt x="27488" y="57440"/>
                </a:cubicBezTo>
                <a:cubicBezTo>
                  <a:pt x="27488" y="58009"/>
                  <a:pt x="27488" y="58009"/>
                  <a:pt x="28546" y="58009"/>
                </a:cubicBezTo>
                <a:cubicBezTo>
                  <a:pt x="29074" y="58578"/>
                  <a:pt x="28546" y="58578"/>
                  <a:pt x="29074" y="59146"/>
                </a:cubicBezTo>
                <a:cubicBezTo>
                  <a:pt x="29074" y="59146"/>
                  <a:pt x="28546" y="59715"/>
                  <a:pt x="28546" y="59715"/>
                </a:cubicBezTo>
                <a:cubicBezTo>
                  <a:pt x="28017" y="60284"/>
                  <a:pt x="28017" y="59715"/>
                  <a:pt x="28017" y="59715"/>
                </a:cubicBezTo>
                <a:cubicBezTo>
                  <a:pt x="28017" y="59715"/>
                  <a:pt x="27488" y="58578"/>
                  <a:pt x="26960" y="58578"/>
                </a:cubicBezTo>
                <a:close/>
                <a:moveTo>
                  <a:pt x="29074" y="66540"/>
                </a:moveTo>
                <a:cubicBezTo>
                  <a:pt x="29074" y="66540"/>
                  <a:pt x="29074" y="66540"/>
                  <a:pt x="29074" y="66540"/>
                </a:cubicBezTo>
                <a:cubicBezTo>
                  <a:pt x="29074" y="66540"/>
                  <a:pt x="29603" y="65971"/>
                  <a:pt x="29603" y="66540"/>
                </a:cubicBezTo>
                <a:cubicBezTo>
                  <a:pt x="30132" y="66540"/>
                  <a:pt x="30132" y="67109"/>
                  <a:pt x="30132" y="67109"/>
                </a:cubicBezTo>
                <a:cubicBezTo>
                  <a:pt x="30660" y="67677"/>
                  <a:pt x="31189" y="67677"/>
                  <a:pt x="31718" y="67677"/>
                </a:cubicBezTo>
                <a:cubicBezTo>
                  <a:pt x="31718" y="68246"/>
                  <a:pt x="31718" y="68815"/>
                  <a:pt x="31718" y="68815"/>
                </a:cubicBezTo>
                <a:cubicBezTo>
                  <a:pt x="31718" y="68815"/>
                  <a:pt x="31189" y="69383"/>
                  <a:pt x="31189" y="68815"/>
                </a:cubicBezTo>
                <a:cubicBezTo>
                  <a:pt x="30660" y="68246"/>
                  <a:pt x="30660" y="68246"/>
                  <a:pt x="30660" y="68246"/>
                </a:cubicBezTo>
                <a:cubicBezTo>
                  <a:pt x="30660" y="68246"/>
                  <a:pt x="30132" y="67677"/>
                  <a:pt x="30132" y="67677"/>
                </a:cubicBezTo>
                <a:cubicBezTo>
                  <a:pt x="30132" y="67677"/>
                  <a:pt x="29074" y="66540"/>
                  <a:pt x="29074" y="66540"/>
                </a:cubicBezTo>
                <a:close/>
                <a:moveTo>
                  <a:pt x="28017" y="68815"/>
                </a:moveTo>
                <a:cubicBezTo>
                  <a:pt x="28017" y="68815"/>
                  <a:pt x="28017" y="68815"/>
                  <a:pt x="28017" y="68815"/>
                </a:cubicBezTo>
                <a:cubicBezTo>
                  <a:pt x="28017" y="68815"/>
                  <a:pt x="28017" y="68246"/>
                  <a:pt x="28017" y="68246"/>
                </a:cubicBezTo>
                <a:cubicBezTo>
                  <a:pt x="28017" y="68246"/>
                  <a:pt x="28546" y="68246"/>
                  <a:pt x="28546" y="68815"/>
                </a:cubicBezTo>
                <a:cubicBezTo>
                  <a:pt x="28546" y="68815"/>
                  <a:pt x="29074" y="69383"/>
                  <a:pt x="29074" y="69383"/>
                </a:cubicBezTo>
                <a:cubicBezTo>
                  <a:pt x="29074" y="69952"/>
                  <a:pt x="28546" y="69952"/>
                  <a:pt x="28546" y="69952"/>
                </a:cubicBezTo>
                <a:cubicBezTo>
                  <a:pt x="28546" y="70521"/>
                  <a:pt x="29074" y="70521"/>
                  <a:pt x="28546" y="70521"/>
                </a:cubicBezTo>
                <a:cubicBezTo>
                  <a:pt x="28017" y="70521"/>
                  <a:pt x="28017" y="70521"/>
                  <a:pt x="28017" y="70521"/>
                </a:cubicBezTo>
                <a:cubicBezTo>
                  <a:pt x="28017" y="70521"/>
                  <a:pt x="28017" y="69952"/>
                  <a:pt x="28017" y="69952"/>
                </a:cubicBezTo>
                <a:cubicBezTo>
                  <a:pt x="28017" y="69383"/>
                  <a:pt x="28017" y="68815"/>
                  <a:pt x="28017" y="68815"/>
                </a:cubicBezTo>
                <a:close/>
                <a:moveTo>
                  <a:pt x="25903" y="68815"/>
                </a:moveTo>
                <a:cubicBezTo>
                  <a:pt x="25903" y="68815"/>
                  <a:pt x="25903" y="68815"/>
                  <a:pt x="25903" y="68815"/>
                </a:cubicBezTo>
                <a:cubicBezTo>
                  <a:pt x="25903" y="68815"/>
                  <a:pt x="26431" y="68815"/>
                  <a:pt x="26431" y="69383"/>
                </a:cubicBezTo>
                <a:cubicBezTo>
                  <a:pt x="26431" y="69383"/>
                  <a:pt x="26960" y="69383"/>
                  <a:pt x="26960" y="69952"/>
                </a:cubicBezTo>
                <a:cubicBezTo>
                  <a:pt x="26960" y="69952"/>
                  <a:pt x="26960" y="69952"/>
                  <a:pt x="26960" y="70521"/>
                </a:cubicBezTo>
                <a:cubicBezTo>
                  <a:pt x="26960" y="71090"/>
                  <a:pt x="27488" y="71090"/>
                  <a:pt x="26960" y="71090"/>
                </a:cubicBezTo>
                <a:cubicBezTo>
                  <a:pt x="26431" y="70521"/>
                  <a:pt x="26431" y="70521"/>
                  <a:pt x="26431" y="70521"/>
                </a:cubicBezTo>
                <a:cubicBezTo>
                  <a:pt x="25903" y="69952"/>
                  <a:pt x="25903" y="69952"/>
                  <a:pt x="25903" y="69952"/>
                </a:cubicBezTo>
                <a:cubicBezTo>
                  <a:pt x="25903" y="69383"/>
                  <a:pt x="25903" y="69383"/>
                  <a:pt x="25903" y="69383"/>
                </a:cubicBezTo>
                <a:cubicBezTo>
                  <a:pt x="25903" y="68815"/>
                  <a:pt x="25903" y="68815"/>
                  <a:pt x="25903" y="68815"/>
                </a:cubicBezTo>
                <a:close/>
                <a:moveTo>
                  <a:pt x="17973" y="65971"/>
                </a:moveTo>
                <a:cubicBezTo>
                  <a:pt x="17973" y="65971"/>
                  <a:pt x="17973" y="65971"/>
                  <a:pt x="17973" y="65971"/>
                </a:cubicBezTo>
                <a:cubicBezTo>
                  <a:pt x="17973" y="65971"/>
                  <a:pt x="18502" y="65971"/>
                  <a:pt x="18502" y="65971"/>
                </a:cubicBezTo>
                <a:cubicBezTo>
                  <a:pt x="19030" y="66540"/>
                  <a:pt x="18502" y="66540"/>
                  <a:pt x="19030" y="67109"/>
                </a:cubicBezTo>
                <a:cubicBezTo>
                  <a:pt x="19030" y="67109"/>
                  <a:pt x="18502" y="67677"/>
                  <a:pt x="18502" y="67677"/>
                </a:cubicBezTo>
                <a:cubicBezTo>
                  <a:pt x="17973" y="67109"/>
                  <a:pt x="17973" y="67109"/>
                  <a:pt x="17973" y="67109"/>
                </a:cubicBezTo>
                <a:cubicBezTo>
                  <a:pt x="17973" y="65971"/>
                  <a:pt x="17973" y="65971"/>
                  <a:pt x="17973" y="65971"/>
                </a:cubicBezTo>
                <a:close/>
                <a:moveTo>
                  <a:pt x="17973" y="63696"/>
                </a:moveTo>
                <a:cubicBezTo>
                  <a:pt x="17973" y="63696"/>
                  <a:pt x="17973" y="63696"/>
                  <a:pt x="17973" y="63696"/>
                </a:cubicBezTo>
                <a:cubicBezTo>
                  <a:pt x="17973" y="63696"/>
                  <a:pt x="16916" y="63696"/>
                  <a:pt x="16916" y="63696"/>
                </a:cubicBezTo>
                <a:cubicBezTo>
                  <a:pt x="16916" y="63696"/>
                  <a:pt x="16387" y="63696"/>
                  <a:pt x="16387" y="63127"/>
                </a:cubicBezTo>
                <a:cubicBezTo>
                  <a:pt x="16387" y="63127"/>
                  <a:pt x="16387" y="62559"/>
                  <a:pt x="16916" y="62559"/>
                </a:cubicBezTo>
                <a:cubicBezTo>
                  <a:pt x="16916" y="62559"/>
                  <a:pt x="16916" y="61990"/>
                  <a:pt x="16916" y="61421"/>
                </a:cubicBezTo>
                <a:cubicBezTo>
                  <a:pt x="16916" y="61421"/>
                  <a:pt x="17444" y="61421"/>
                  <a:pt x="17444" y="61421"/>
                </a:cubicBezTo>
                <a:cubicBezTo>
                  <a:pt x="17444" y="61421"/>
                  <a:pt x="17973" y="61990"/>
                  <a:pt x="17973" y="61990"/>
                </a:cubicBezTo>
                <a:cubicBezTo>
                  <a:pt x="17973" y="61990"/>
                  <a:pt x="17973" y="63127"/>
                  <a:pt x="17973" y="63696"/>
                </a:cubicBezTo>
                <a:close/>
                <a:moveTo>
                  <a:pt x="17973" y="50616"/>
                </a:moveTo>
                <a:cubicBezTo>
                  <a:pt x="17973" y="50616"/>
                  <a:pt x="17973" y="50616"/>
                  <a:pt x="17973" y="50616"/>
                </a:cubicBezTo>
                <a:cubicBezTo>
                  <a:pt x="17973" y="50616"/>
                  <a:pt x="19030" y="50616"/>
                  <a:pt x="19030" y="50616"/>
                </a:cubicBezTo>
                <a:cubicBezTo>
                  <a:pt x="19030" y="50616"/>
                  <a:pt x="19030" y="51184"/>
                  <a:pt x="19030" y="51753"/>
                </a:cubicBezTo>
                <a:cubicBezTo>
                  <a:pt x="19559" y="51753"/>
                  <a:pt x="19559" y="52322"/>
                  <a:pt x="19559" y="52322"/>
                </a:cubicBezTo>
                <a:cubicBezTo>
                  <a:pt x="20088" y="52322"/>
                  <a:pt x="20088" y="52322"/>
                  <a:pt x="20088" y="52322"/>
                </a:cubicBezTo>
                <a:cubicBezTo>
                  <a:pt x="20088" y="52322"/>
                  <a:pt x="20616" y="51753"/>
                  <a:pt x="20616" y="52322"/>
                </a:cubicBezTo>
                <a:cubicBezTo>
                  <a:pt x="21145" y="52322"/>
                  <a:pt x="21674" y="51753"/>
                  <a:pt x="21674" y="51753"/>
                </a:cubicBezTo>
                <a:cubicBezTo>
                  <a:pt x="21674" y="51753"/>
                  <a:pt x="22202" y="52322"/>
                  <a:pt x="22202" y="52322"/>
                </a:cubicBezTo>
                <a:cubicBezTo>
                  <a:pt x="22202" y="52890"/>
                  <a:pt x="21674" y="53459"/>
                  <a:pt x="21674" y="53459"/>
                </a:cubicBezTo>
                <a:cubicBezTo>
                  <a:pt x="21145" y="53459"/>
                  <a:pt x="20616" y="52890"/>
                  <a:pt x="20616" y="52890"/>
                </a:cubicBezTo>
                <a:cubicBezTo>
                  <a:pt x="20616" y="52890"/>
                  <a:pt x="20088" y="52322"/>
                  <a:pt x="20088" y="52890"/>
                </a:cubicBezTo>
                <a:cubicBezTo>
                  <a:pt x="20088" y="52890"/>
                  <a:pt x="20088" y="53459"/>
                  <a:pt x="20088" y="54028"/>
                </a:cubicBezTo>
                <a:cubicBezTo>
                  <a:pt x="20616" y="54028"/>
                  <a:pt x="20616" y="54028"/>
                  <a:pt x="20616" y="54597"/>
                </a:cubicBezTo>
                <a:cubicBezTo>
                  <a:pt x="20088" y="54597"/>
                  <a:pt x="20088" y="55165"/>
                  <a:pt x="20088" y="55165"/>
                </a:cubicBezTo>
                <a:cubicBezTo>
                  <a:pt x="20088" y="55734"/>
                  <a:pt x="20616" y="56303"/>
                  <a:pt x="20616" y="56303"/>
                </a:cubicBezTo>
                <a:cubicBezTo>
                  <a:pt x="20616" y="56303"/>
                  <a:pt x="20616" y="56303"/>
                  <a:pt x="20616" y="56872"/>
                </a:cubicBezTo>
                <a:cubicBezTo>
                  <a:pt x="20616" y="56872"/>
                  <a:pt x="21145" y="57440"/>
                  <a:pt x="21145" y="57440"/>
                </a:cubicBezTo>
                <a:cubicBezTo>
                  <a:pt x="21145" y="58009"/>
                  <a:pt x="21145" y="58578"/>
                  <a:pt x="21145" y="58578"/>
                </a:cubicBezTo>
                <a:cubicBezTo>
                  <a:pt x="21674" y="59146"/>
                  <a:pt x="21674" y="59146"/>
                  <a:pt x="21674" y="59146"/>
                </a:cubicBezTo>
                <a:cubicBezTo>
                  <a:pt x="21145" y="60284"/>
                  <a:pt x="21145" y="60284"/>
                  <a:pt x="21145" y="60284"/>
                </a:cubicBezTo>
                <a:cubicBezTo>
                  <a:pt x="21145" y="60284"/>
                  <a:pt x="21674" y="60853"/>
                  <a:pt x="21674" y="60853"/>
                </a:cubicBezTo>
                <a:cubicBezTo>
                  <a:pt x="21674" y="61421"/>
                  <a:pt x="22731" y="61990"/>
                  <a:pt x="22731" y="62559"/>
                </a:cubicBezTo>
                <a:cubicBezTo>
                  <a:pt x="22731" y="62559"/>
                  <a:pt x="22731" y="63696"/>
                  <a:pt x="22202" y="63696"/>
                </a:cubicBezTo>
                <a:cubicBezTo>
                  <a:pt x="22202" y="63696"/>
                  <a:pt x="21674" y="64265"/>
                  <a:pt x="21674" y="63696"/>
                </a:cubicBezTo>
                <a:cubicBezTo>
                  <a:pt x="21145" y="63127"/>
                  <a:pt x="20616" y="61990"/>
                  <a:pt x="20616" y="61990"/>
                </a:cubicBezTo>
                <a:cubicBezTo>
                  <a:pt x="20616" y="61990"/>
                  <a:pt x="20616" y="61990"/>
                  <a:pt x="20616" y="61990"/>
                </a:cubicBezTo>
                <a:cubicBezTo>
                  <a:pt x="20616" y="62559"/>
                  <a:pt x="20088" y="63127"/>
                  <a:pt x="20088" y="63127"/>
                </a:cubicBezTo>
                <a:cubicBezTo>
                  <a:pt x="20088" y="63696"/>
                  <a:pt x="21145" y="64265"/>
                  <a:pt x="21145" y="64265"/>
                </a:cubicBezTo>
                <a:cubicBezTo>
                  <a:pt x="21145" y="64265"/>
                  <a:pt x="20616" y="63127"/>
                  <a:pt x="21145" y="64265"/>
                </a:cubicBezTo>
                <a:cubicBezTo>
                  <a:pt x="21674" y="65402"/>
                  <a:pt x="22202" y="65971"/>
                  <a:pt x="22202" y="65971"/>
                </a:cubicBezTo>
                <a:cubicBezTo>
                  <a:pt x="22202" y="65971"/>
                  <a:pt x="22731" y="66540"/>
                  <a:pt x="23259" y="66540"/>
                </a:cubicBezTo>
                <a:cubicBezTo>
                  <a:pt x="23259" y="67109"/>
                  <a:pt x="23259" y="67109"/>
                  <a:pt x="23788" y="67677"/>
                </a:cubicBezTo>
                <a:cubicBezTo>
                  <a:pt x="23788" y="67677"/>
                  <a:pt x="24317" y="68246"/>
                  <a:pt x="23788" y="68246"/>
                </a:cubicBezTo>
                <a:cubicBezTo>
                  <a:pt x="23259" y="68815"/>
                  <a:pt x="23788" y="68815"/>
                  <a:pt x="23259" y="68815"/>
                </a:cubicBezTo>
                <a:cubicBezTo>
                  <a:pt x="23259" y="68246"/>
                  <a:pt x="22731" y="68246"/>
                  <a:pt x="22731" y="67677"/>
                </a:cubicBezTo>
                <a:cubicBezTo>
                  <a:pt x="22731" y="67109"/>
                  <a:pt x="22202" y="66540"/>
                  <a:pt x="22202" y="65971"/>
                </a:cubicBezTo>
                <a:cubicBezTo>
                  <a:pt x="21674" y="65971"/>
                  <a:pt x="21145" y="65402"/>
                  <a:pt x="21145" y="65402"/>
                </a:cubicBezTo>
                <a:cubicBezTo>
                  <a:pt x="20616" y="65402"/>
                  <a:pt x="20616" y="64834"/>
                  <a:pt x="20616" y="64834"/>
                </a:cubicBezTo>
                <a:cubicBezTo>
                  <a:pt x="20616" y="64834"/>
                  <a:pt x="20088" y="64834"/>
                  <a:pt x="20088" y="64834"/>
                </a:cubicBezTo>
                <a:cubicBezTo>
                  <a:pt x="20088" y="64834"/>
                  <a:pt x="19030" y="64834"/>
                  <a:pt x="19030" y="64834"/>
                </a:cubicBezTo>
                <a:cubicBezTo>
                  <a:pt x="19030" y="64265"/>
                  <a:pt x="19030" y="64265"/>
                  <a:pt x="19559" y="63696"/>
                </a:cubicBezTo>
                <a:cubicBezTo>
                  <a:pt x="19559" y="63696"/>
                  <a:pt x="20088" y="63696"/>
                  <a:pt x="20088" y="63696"/>
                </a:cubicBezTo>
                <a:cubicBezTo>
                  <a:pt x="20088" y="63696"/>
                  <a:pt x="19559" y="63127"/>
                  <a:pt x="19559" y="63127"/>
                </a:cubicBezTo>
                <a:cubicBezTo>
                  <a:pt x="19559" y="63127"/>
                  <a:pt x="19559" y="62559"/>
                  <a:pt x="19559" y="62559"/>
                </a:cubicBezTo>
                <a:cubicBezTo>
                  <a:pt x="19030" y="62559"/>
                  <a:pt x="19030" y="63127"/>
                  <a:pt x="19030" y="62559"/>
                </a:cubicBezTo>
                <a:cubicBezTo>
                  <a:pt x="19030" y="61990"/>
                  <a:pt x="19030" y="61990"/>
                  <a:pt x="19030" y="61421"/>
                </a:cubicBezTo>
                <a:cubicBezTo>
                  <a:pt x="19030" y="61421"/>
                  <a:pt x="19030" y="60284"/>
                  <a:pt x="19030" y="60284"/>
                </a:cubicBezTo>
                <a:cubicBezTo>
                  <a:pt x="19559" y="60853"/>
                  <a:pt x="19559" y="60853"/>
                  <a:pt x="19559" y="60853"/>
                </a:cubicBezTo>
                <a:cubicBezTo>
                  <a:pt x="20088" y="59715"/>
                  <a:pt x="20088" y="59715"/>
                  <a:pt x="20088" y="59715"/>
                </a:cubicBezTo>
                <a:cubicBezTo>
                  <a:pt x="20088" y="59715"/>
                  <a:pt x="20088" y="59715"/>
                  <a:pt x="19559" y="59715"/>
                </a:cubicBezTo>
                <a:cubicBezTo>
                  <a:pt x="19030" y="59715"/>
                  <a:pt x="19030" y="58578"/>
                  <a:pt x="19030" y="58578"/>
                </a:cubicBezTo>
                <a:cubicBezTo>
                  <a:pt x="19030" y="58578"/>
                  <a:pt x="19030" y="58009"/>
                  <a:pt x="19030" y="58009"/>
                </a:cubicBezTo>
                <a:cubicBezTo>
                  <a:pt x="19030" y="58009"/>
                  <a:pt x="18502" y="58009"/>
                  <a:pt x="18502" y="57440"/>
                </a:cubicBezTo>
                <a:cubicBezTo>
                  <a:pt x="17973" y="56872"/>
                  <a:pt x="17973" y="56303"/>
                  <a:pt x="17973" y="56303"/>
                </a:cubicBezTo>
                <a:cubicBezTo>
                  <a:pt x="17973" y="56303"/>
                  <a:pt x="18502" y="56303"/>
                  <a:pt x="17973" y="55734"/>
                </a:cubicBezTo>
                <a:cubicBezTo>
                  <a:pt x="17973" y="55165"/>
                  <a:pt x="17973" y="55165"/>
                  <a:pt x="17444" y="55165"/>
                </a:cubicBezTo>
                <a:cubicBezTo>
                  <a:pt x="17444" y="54597"/>
                  <a:pt x="17444" y="54028"/>
                  <a:pt x="17973" y="54028"/>
                </a:cubicBezTo>
                <a:cubicBezTo>
                  <a:pt x="17973" y="54028"/>
                  <a:pt x="17973" y="54028"/>
                  <a:pt x="18502" y="54028"/>
                </a:cubicBezTo>
                <a:cubicBezTo>
                  <a:pt x="18502" y="54597"/>
                  <a:pt x="19030" y="54597"/>
                  <a:pt x="19030" y="54597"/>
                </a:cubicBezTo>
                <a:cubicBezTo>
                  <a:pt x="19030" y="54028"/>
                  <a:pt x="19559" y="53459"/>
                  <a:pt x="19030" y="53459"/>
                </a:cubicBezTo>
                <a:cubicBezTo>
                  <a:pt x="19030" y="52890"/>
                  <a:pt x="18502" y="52322"/>
                  <a:pt x="18502" y="52322"/>
                </a:cubicBezTo>
                <a:cubicBezTo>
                  <a:pt x="17973" y="51753"/>
                  <a:pt x="17973" y="51753"/>
                  <a:pt x="17973" y="51753"/>
                </a:cubicBezTo>
                <a:cubicBezTo>
                  <a:pt x="17973" y="51753"/>
                  <a:pt x="17973" y="51753"/>
                  <a:pt x="17973" y="51184"/>
                </a:cubicBezTo>
                <a:cubicBezTo>
                  <a:pt x="17973" y="51184"/>
                  <a:pt x="17973" y="50616"/>
                  <a:pt x="17973" y="50616"/>
                </a:cubicBezTo>
                <a:close/>
                <a:moveTo>
                  <a:pt x="17444" y="50616"/>
                </a:moveTo>
                <a:cubicBezTo>
                  <a:pt x="17444" y="50616"/>
                  <a:pt x="17444" y="50616"/>
                  <a:pt x="17444" y="50616"/>
                </a:cubicBezTo>
                <a:cubicBezTo>
                  <a:pt x="17444" y="50616"/>
                  <a:pt x="16916" y="50047"/>
                  <a:pt x="16916" y="49478"/>
                </a:cubicBezTo>
                <a:cubicBezTo>
                  <a:pt x="16916" y="49478"/>
                  <a:pt x="16916" y="49478"/>
                  <a:pt x="16916" y="48909"/>
                </a:cubicBezTo>
                <a:cubicBezTo>
                  <a:pt x="16916" y="48341"/>
                  <a:pt x="16387" y="48341"/>
                  <a:pt x="16387" y="47772"/>
                </a:cubicBezTo>
                <a:cubicBezTo>
                  <a:pt x="16916" y="47772"/>
                  <a:pt x="16916" y="47203"/>
                  <a:pt x="16916" y="47203"/>
                </a:cubicBezTo>
                <a:cubicBezTo>
                  <a:pt x="17444" y="46635"/>
                  <a:pt x="17973" y="46635"/>
                  <a:pt x="17973" y="47203"/>
                </a:cubicBezTo>
                <a:cubicBezTo>
                  <a:pt x="17973" y="47203"/>
                  <a:pt x="17973" y="47772"/>
                  <a:pt x="17973" y="48341"/>
                </a:cubicBezTo>
                <a:cubicBezTo>
                  <a:pt x="17973" y="48341"/>
                  <a:pt x="17973" y="48909"/>
                  <a:pt x="17973" y="48909"/>
                </a:cubicBezTo>
                <a:cubicBezTo>
                  <a:pt x="17973" y="49478"/>
                  <a:pt x="18502" y="49478"/>
                  <a:pt x="18502" y="49478"/>
                </a:cubicBezTo>
                <a:cubicBezTo>
                  <a:pt x="18502" y="50047"/>
                  <a:pt x="18502" y="50616"/>
                  <a:pt x="18502" y="50616"/>
                </a:cubicBezTo>
                <a:lnTo>
                  <a:pt x="17444" y="50616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3019;p256">
            <a:extLst>
              <a:ext uri="{FF2B5EF4-FFF2-40B4-BE49-F238E27FC236}">
                <a16:creationId xmlns:a16="http://schemas.microsoft.com/office/drawing/2014/main" id="{A318EFBF-94FB-5349-E12B-D6CCCCEE6595}"/>
              </a:ext>
            </a:extLst>
          </p:cNvPr>
          <p:cNvSpPr/>
          <p:nvPr/>
        </p:nvSpPr>
        <p:spPr>
          <a:xfrm>
            <a:off x="12316253" y="5962508"/>
            <a:ext cx="347946" cy="19517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526" y="85090"/>
                </a:moveTo>
                <a:cubicBezTo>
                  <a:pt x="2526" y="85090"/>
                  <a:pt x="2526" y="82909"/>
                  <a:pt x="2526" y="78545"/>
                </a:cubicBezTo>
                <a:cubicBezTo>
                  <a:pt x="1263" y="74181"/>
                  <a:pt x="0" y="67636"/>
                  <a:pt x="0" y="67636"/>
                </a:cubicBezTo>
                <a:cubicBezTo>
                  <a:pt x="0" y="67636"/>
                  <a:pt x="1263" y="65454"/>
                  <a:pt x="2526" y="67636"/>
                </a:cubicBezTo>
                <a:cubicBezTo>
                  <a:pt x="3789" y="69818"/>
                  <a:pt x="5052" y="74181"/>
                  <a:pt x="8842" y="69818"/>
                </a:cubicBezTo>
                <a:cubicBezTo>
                  <a:pt x="10105" y="69818"/>
                  <a:pt x="11368" y="69818"/>
                  <a:pt x="11368" y="67636"/>
                </a:cubicBezTo>
                <a:cubicBezTo>
                  <a:pt x="13894" y="63272"/>
                  <a:pt x="13894" y="58909"/>
                  <a:pt x="15157" y="58909"/>
                </a:cubicBezTo>
                <a:cubicBezTo>
                  <a:pt x="16421" y="56727"/>
                  <a:pt x="16421" y="58909"/>
                  <a:pt x="18947" y="58909"/>
                </a:cubicBezTo>
                <a:cubicBezTo>
                  <a:pt x="18947" y="58909"/>
                  <a:pt x="20210" y="56727"/>
                  <a:pt x="20210" y="56727"/>
                </a:cubicBezTo>
                <a:cubicBezTo>
                  <a:pt x="21473" y="56727"/>
                  <a:pt x="21473" y="58909"/>
                  <a:pt x="22736" y="58909"/>
                </a:cubicBezTo>
                <a:cubicBezTo>
                  <a:pt x="24000" y="58909"/>
                  <a:pt x="24000" y="56727"/>
                  <a:pt x="25263" y="58909"/>
                </a:cubicBezTo>
                <a:cubicBezTo>
                  <a:pt x="26526" y="58909"/>
                  <a:pt x="27789" y="61090"/>
                  <a:pt x="29052" y="61090"/>
                </a:cubicBezTo>
                <a:cubicBezTo>
                  <a:pt x="30315" y="61090"/>
                  <a:pt x="32842" y="61090"/>
                  <a:pt x="32842" y="56727"/>
                </a:cubicBezTo>
                <a:cubicBezTo>
                  <a:pt x="34105" y="54545"/>
                  <a:pt x="35368" y="50181"/>
                  <a:pt x="35368" y="43636"/>
                </a:cubicBezTo>
                <a:cubicBezTo>
                  <a:pt x="35368" y="37090"/>
                  <a:pt x="34105" y="32727"/>
                  <a:pt x="35368" y="34909"/>
                </a:cubicBezTo>
                <a:cubicBezTo>
                  <a:pt x="35368" y="34909"/>
                  <a:pt x="39157" y="37090"/>
                  <a:pt x="41684" y="39272"/>
                </a:cubicBezTo>
                <a:cubicBezTo>
                  <a:pt x="44210" y="39272"/>
                  <a:pt x="42947" y="37090"/>
                  <a:pt x="45473" y="39272"/>
                </a:cubicBezTo>
                <a:cubicBezTo>
                  <a:pt x="48000" y="39272"/>
                  <a:pt x="53052" y="41454"/>
                  <a:pt x="55578" y="41454"/>
                </a:cubicBezTo>
                <a:cubicBezTo>
                  <a:pt x="60631" y="41454"/>
                  <a:pt x="66947" y="41454"/>
                  <a:pt x="73263" y="39272"/>
                </a:cubicBezTo>
                <a:cubicBezTo>
                  <a:pt x="73263" y="37090"/>
                  <a:pt x="75789" y="34909"/>
                  <a:pt x="77052" y="34909"/>
                </a:cubicBezTo>
                <a:cubicBezTo>
                  <a:pt x="78315" y="32727"/>
                  <a:pt x="80842" y="34909"/>
                  <a:pt x="83368" y="32727"/>
                </a:cubicBezTo>
                <a:cubicBezTo>
                  <a:pt x="84631" y="32727"/>
                  <a:pt x="87157" y="30545"/>
                  <a:pt x="88421" y="28363"/>
                </a:cubicBezTo>
                <a:cubicBezTo>
                  <a:pt x="90947" y="26181"/>
                  <a:pt x="93473" y="24000"/>
                  <a:pt x="96000" y="21818"/>
                </a:cubicBezTo>
                <a:cubicBezTo>
                  <a:pt x="97263" y="21818"/>
                  <a:pt x="97263" y="19636"/>
                  <a:pt x="98526" y="17454"/>
                </a:cubicBezTo>
                <a:cubicBezTo>
                  <a:pt x="99789" y="17454"/>
                  <a:pt x="99789" y="17454"/>
                  <a:pt x="101052" y="17454"/>
                </a:cubicBezTo>
                <a:cubicBezTo>
                  <a:pt x="102315" y="17454"/>
                  <a:pt x="103578" y="15272"/>
                  <a:pt x="104842" y="15272"/>
                </a:cubicBezTo>
                <a:cubicBezTo>
                  <a:pt x="107368" y="13090"/>
                  <a:pt x="108631" y="10909"/>
                  <a:pt x="112421" y="6545"/>
                </a:cubicBezTo>
                <a:cubicBezTo>
                  <a:pt x="116210" y="0"/>
                  <a:pt x="120000" y="0"/>
                  <a:pt x="118736" y="4363"/>
                </a:cubicBezTo>
                <a:cubicBezTo>
                  <a:pt x="118736" y="6545"/>
                  <a:pt x="113684" y="10909"/>
                  <a:pt x="112421" y="13090"/>
                </a:cubicBezTo>
                <a:cubicBezTo>
                  <a:pt x="109894" y="17454"/>
                  <a:pt x="107368" y="21818"/>
                  <a:pt x="104842" y="24000"/>
                </a:cubicBezTo>
                <a:cubicBezTo>
                  <a:pt x="102315" y="24000"/>
                  <a:pt x="98526" y="28363"/>
                  <a:pt x="96000" y="32727"/>
                </a:cubicBezTo>
                <a:cubicBezTo>
                  <a:pt x="93473" y="34909"/>
                  <a:pt x="93473" y="39272"/>
                  <a:pt x="92210" y="41454"/>
                </a:cubicBezTo>
                <a:cubicBezTo>
                  <a:pt x="88421" y="45818"/>
                  <a:pt x="87157" y="41454"/>
                  <a:pt x="85894" y="43636"/>
                </a:cubicBezTo>
                <a:cubicBezTo>
                  <a:pt x="85894" y="48000"/>
                  <a:pt x="84631" y="54545"/>
                  <a:pt x="84631" y="58909"/>
                </a:cubicBezTo>
                <a:cubicBezTo>
                  <a:pt x="85894" y="65454"/>
                  <a:pt x="89684" y="69818"/>
                  <a:pt x="92210" y="74181"/>
                </a:cubicBezTo>
                <a:cubicBezTo>
                  <a:pt x="92210" y="74181"/>
                  <a:pt x="96000" y="80727"/>
                  <a:pt x="93473" y="82909"/>
                </a:cubicBezTo>
                <a:cubicBezTo>
                  <a:pt x="92210" y="82909"/>
                  <a:pt x="90947" y="78545"/>
                  <a:pt x="88421" y="78545"/>
                </a:cubicBezTo>
                <a:cubicBezTo>
                  <a:pt x="85894" y="78545"/>
                  <a:pt x="82105" y="78545"/>
                  <a:pt x="79578" y="80727"/>
                </a:cubicBezTo>
                <a:cubicBezTo>
                  <a:pt x="78315" y="80727"/>
                  <a:pt x="77052" y="78545"/>
                  <a:pt x="74526" y="78545"/>
                </a:cubicBezTo>
                <a:cubicBezTo>
                  <a:pt x="72000" y="80727"/>
                  <a:pt x="69473" y="89454"/>
                  <a:pt x="69473" y="93818"/>
                </a:cubicBezTo>
                <a:cubicBezTo>
                  <a:pt x="69473" y="96000"/>
                  <a:pt x="66947" y="96000"/>
                  <a:pt x="65684" y="100363"/>
                </a:cubicBezTo>
                <a:cubicBezTo>
                  <a:pt x="63157" y="102545"/>
                  <a:pt x="61894" y="100363"/>
                  <a:pt x="59368" y="102545"/>
                </a:cubicBezTo>
                <a:cubicBezTo>
                  <a:pt x="56842" y="104727"/>
                  <a:pt x="56842" y="106909"/>
                  <a:pt x="54315" y="106909"/>
                </a:cubicBezTo>
                <a:cubicBezTo>
                  <a:pt x="50526" y="106909"/>
                  <a:pt x="46736" y="109090"/>
                  <a:pt x="45473" y="109090"/>
                </a:cubicBezTo>
                <a:cubicBezTo>
                  <a:pt x="37894" y="109090"/>
                  <a:pt x="41684" y="120000"/>
                  <a:pt x="36631" y="115636"/>
                </a:cubicBezTo>
                <a:cubicBezTo>
                  <a:pt x="34105" y="115636"/>
                  <a:pt x="32842" y="111272"/>
                  <a:pt x="30315" y="109090"/>
                </a:cubicBezTo>
                <a:cubicBezTo>
                  <a:pt x="29052" y="109090"/>
                  <a:pt x="26526" y="113454"/>
                  <a:pt x="24000" y="115636"/>
                </a:cubicBezTo>
                <a:cubicBezTo>
                  <a:pt x="21473" y="117818"/>
                  <a:pt x="17684" y="111272"/>
                  <a:pt x="15157" y="109090"/>
                </a:cubicBezTo>
                <a:cubicBezTo>
                  <a:pt x="12631" y="106909"/>
                  <a:pt x="11368" y="111272"/>
                  <a:pt x="10105" y="109090"/>
                </a:cubicBezTo>
                <a:cubicBezTo>
                  <a:pt x="7578" y="104727"/>
                  <a:pt x="8842" y="100363"/>
                  <a:pt x="6315" y="98181"/>
                </a:cubicBezTo>
                <a:cubicBezTo>
                  <a:pt x="5052" y="93818"/>
                  <a:pt x="2526" y="89454"/>
                  <a:pt x="2526" y="85090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Google Shape;3020;p256">
            <a:extLst>
              <a:ext uri="{FF2B5EF4-FFF2-40B4-BE49-F238E27FC236}">
                <a16:creationId xmlns:a16="http://schemas.microsoft.com/office/drawing/2014/main" id="{982A46AF-E22D-D905-914A-7F6EB18D9424}"/>
              </a:ext>
            </a:extLst>
          </p:cNvPr>
          <p:cNvSpPr/>
          <p:nvPr/>
        </p:nvSpPr>
        <p:spPr>
          <a:xfrm>
            <a:off x="9871937" y="4435861"/>
            <a:ext cx="681917" cy="70360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7096" y="8484"/>
                </a:moveTo>
                <a:cubicBezTo>
                  <a:pt x="7096" y="8484"/>
                  <a:pt x="7096" y="8484"/>
                  <a:pt x="7096" y="8484"/>
                </a:cubicBezTo>
                <a:cubicBezTo>
                  <a:pt x="7096" y="8484"/>
                  <a:pt x="7096" y="8484"/>
                  <a:pt x="7096" y="8484"/>
                </a:cubicBezTo>
                <a:cubicBezTo>
                  <a:pt x="7741" y="8484"/>
                  <a:pt x="7741" y="8484"/>
                  <a:pt x="8387" y="8484"/>
                </a:cubicBezTo>
                <a:cubicBezTo>
                  <a:pt x="9677" y="8484"/>
                  <a:pt x="10322" y="8484"/>
                  <a:pt x="10322" y="8484"/>
                </a:cubicBezTo>
                <a:cubicBezTo>
                  <a:pt x="10967" y="6666"/>
                  <a:pt x="10967" y="6666"/>
                  <a:pt x="10967" y="6666"/>
                </a:cubicBezTo>
                <a:cubicBezTo>
                  <a:pt x="12258" y="6060"/>
                  <a:pt x="12258" y="6060"/>
                  <a:pt x="12258" y="6060"/>
                </a:cubicBezTo>
                <a:cubicBezTo>
                  <a:pt x="12258" y="6060"/>
                  <a:pt x="14193" y="3636"/>
                  <a:pt x="14838" y="3636"/>
                </a:cubicBezTo>
                <a:cubicBezTo>
                  <a:pt x="16129" y="3636"/>
                  <a:pt x="14838" y="2424"/>
                  <a:pt x="14838" y="2424"/>
                </a:cubicBezTo>
                <a:cubicBezTo>
                  <a:pt x="14838" y="2424"/>
                  <a:pt x="18064" y="1212"/>
                  <a:pt x="19354" y="1212"/>
                </a:cubicBezTo>
                <a:cubicBezTo>
                  <a:pt x="19354" y="1212"/>
                  <a:pt x="19354" y="1212"/>
                  <a:pt x="20000" y="1212"/>
                </a:cubicBezTo>
                <a:cubicBezTo>
                  <a:pt x="20645" y="1212"/>
                  <a:pt x="20645" y="1818"/>
                  <a:pt x="20645" y="1818"/>
                </a:cubicBezTo>
                <a:cubicBezTo>
                  <a:pt x="23225" y="606"/>
                  <a:pt x="23225" y="606"/>
                  <a:pt x="23225" y="606"/>
                </a:cubicBezTo>
                <a:cubicBezTo>
                  <a:pt x="23225" y="606"/>
                  <a:pt x="27096" y="0"/>
                  <a:pt x="27741" y="0"/>
                </a:cubicBezTo>
                <a:cubicBezTo>
                  <a:pt x="28387" y="0"/>
                  <a:pt x="29677" y="606"/>
                  <a:pt x="29677" y="606"/>
                </a:cubicBezTo>
                <a:cubicBezTo>
                  <a:pt x="30967" y="606"/>
                  <a:pt x="30967" y="606"/>
                  <a:pt x="30967" y="606"/>
                </a:cubicBezTo>
                <a:cubicBezTo>
                  <a:pt x="30967" y="606"/>
                  <a:pt x="31612" y="1212"/>
                  <a:pt x="32258" y="1212"/>
                </a:cubicBezTo>
                <a:cubicBezTo>
                  <a:pt x="33548" y="1818"/>
                  <a:pt x="34193" y="3636"/>
                  <a:pt x="34838" y="3636"/>
                </a:cubicBezTo>
                <a:cubicBezTo>
                  <a:pt x="36129" y="4242"/>
                  <a:pt x="37419" y="4242"/>
                  <a:pt x="38064" y="4242"/>
                </a:cubicBezTo>
                <a:cubicBezTo>
                  <a:pt x="38709" y="4848"/>
                  <a:pt x="40000" y="5454"/>
                  <a:pt x="40000" y="5454"/>
                </a:cubicBezTo>
                <a:cubicBezTo>
                  <a:pt x="40000" y="5454"/>
                  <a:pt x="43225" y="8484"/>
                  <a:pt x="43870" y="8484"/>
                </a:cubicBezTo>
                <a:cubicBezTo>
                  <a:pt x="44516" y="8484"/>
                  <a:pt x="44516" y="8484"/>
                  <a:pt x="45161" y="9696"/>
                </a:cubicBezTo>
                <a:cubicBezTo>
                  <a:pt x="45806" y="10303"/>
                  <a:pt x="47741" y="9696"/>
                  <a:pt x="47741" y="9696"/>
                </a:cubicBezTo>
                <a:cubicBezTo>
                  <a:pt x="47741" y="9696"/>
                  <a:pt x="48387" y="11515"/>
                  <a:pt x="47741" y="12121"/>
                </a:cubicBezTo>
                <a:cubicBezTo>
                  <a:pt x="47741" y="12727"/>
                  <a:pt x="47741" y="14545"/>
                  <a:pt x="47741" y="14545"/>
                </a:cubicBezTo>
                <a:cubicBezTo>
                  <a:pt x="47741" y="14545"/>
                  <a:pt x="47741" y="15151"/>
                  <a:pt x="47741" y="15757"/>
                </a:cubicBezTo>
                <a:cubicBezTo>
                  <a:pt x="48387" y="16969"/>
                  <a:pt x="49032" y="16969"/>
                  <a:pt x="49032" y="18181"/>
                </a:cubicBezTo>
                <a:cubicBezTo>
                  <a:pt x="49677" y="18787"/>
                  <a:pt x="49032" y="18787"/>
                  <a:pt x="49677" y="19393"/>
                </a:cubicBezTo>
                <a:cubicBezTo>
                  <a:pt x="50322" y="20000"/>
                  <a:pt x="50967" y="21212"/>
                  <a:pt x="51612" y="21212"/>
                </a:cubicBezTo>
                <a:cubicBezTo>
                  <a:pt x="52258" y="21212"/>
                  <a:pt x="52903" y="21212"/>
                  <a:pt x="54838" y="21818"/>
                </a:cubicBezTo>
                <a:cubicBezTo>
                  <a:pt x="56774" y="23030"/>
                  <a:pt x="57419" y="23030"/>
                  <a:pt x="58064" y="23636"/>
                </a:cubicBezTo>
                <a:cubicBezTo>
                  <a:pt x="59354" y="24242"/>
                  <a:pt x="58709" y="23636"/>
                  <a:pt x="60645" y="24242"/>
                </a:cubicBezTo>
                <a:cubicBezTo>
                  <a:pt x="63225" y="24848"/>
                  <a:pt x="62580" y="24242"/>
                  <a:pt x="63225" y="24848"/>
                </a:cubicBezTo>
                <a:cubicBezTo>
                  <a:pt x="63870" y="24848"/>
                  <a:pt x="63225" y="24242"/>
                  <a:pt x="64516" y="24848"/>
                </a:cubicBezTo>
                <a:cubicBezTo>
                  <a:pt x="66451" y="24848"/>
                  <a:pt x="67741" y="25454"/>
                  <a:pt x="67741" y="25454"/>
                </a:cubicBezTo>
                <a:cubicBezTo>
                  <a:pt x="67741" y="26666"/>
                  <a:pt x="67741" y="26666"/>
                  <a:pt x="67741" y="26666"/>
                </a:cubicBezTo>
                <a:cubicBezTo>
                  <a:pt x="66451" y="29090"/>
                  <a:pt x="66451" y="29090"/>
                  <a:pt x="66451" y="29090"/>
                </a:cubicBezTo>
                <a:cubicBezTo>
                  <a:pt x="66451" y="30909"/>
                  <a:pt x="66451" y="30909"/>
                  <a:pt x="66451" y="30909"/>
                </a:cubicBezTo>
                <a:cubicBezTo>
                  <a:pt x="66451" y="30909"/>
                  <a:pt x="65161" y="30909"/>
                  <a:pt x="66451" y="31515"/>
                </a:cubicBezTo>
                <a:cubicBezTo>
                  <a:pt x="67741" y="32121"/>
                  <a:pt x="70322" y="32727"/>
                  <a:pt x="70322" y="32727"/>
                </a:cubicBezTo>
                <a:cubicBezTo>
                  <a:pt x="72258" y="33939"/>
                  <a:pt x="72258" y="33939"/>
                  <a:pt x="72258" y="33939"/>
                </a:cubicBezTo>
                <a:cubicBezTo>
                  <a:pt x="72258" y="33939"/>
                  <a:pt x="70967" y="35757"/>
                  <a:pt x="70322" y="36363"/>
                </a:cubicBezTo>
                <a:cubicBezTo>
                  <a:pt x="69677" y="36363"/>
                  <a:pt x="67741" y="36363"/>
                  <a:pt x="67741" y="36363"/>
                </a:cubicBezTo>
                <a:cubicBezTo>
                  <a:pt x="67741" y="36363"/>
                  <a:pt x="67096" y="38181"/>
                  <a:pt x="68387" y="38181"/>
                </a:cubicBezTo>
                <a:cubicBezTo>
                  <a:pt x="69032" y="38787"/>
                  <a:pt x="70322" y="38787"/>
                  <a:pt x="70967" y="38787"/>
                </a:cubicBezTo>
                <a:cubicBezTo>
                  <a:pt x="71612" y="38787"/>
                  <a:pt x="72903" y="39393"/>
                  <a:pt x="72903" y="39393"/>
                </a:cubicBezTo>
                <a:cubicBezTo>
                  <a:pt x="72903" y="39393"/>
                  <a:pt x="73548" y="39393"/>
                  <a:pt x="74193" y="40000"/>
                </a:cubicBezTo>
                <a:cubicBezTo>
                  <a:pt x="74193" y="41212"/>
                  <a:pt x="74838" y="41818"/>
                  <a:pt x="75483" y="41818"/>
                </a:cubicBezTo>
                <a:cubicBezTo>
                  <a:pt x="76129" y="41818"/>
                  <a:pt x="77419" y="41818"/>
                  <a:pt x="78064" y="41818"/>
                </a:cubicBezTo>
                <a:cubicBezTo>
                  <a:pt x="78709" y="41818"/>
                  <a:pt x="78709" y="41212"/>
                  <a:pt x="79354" y="41212"/>
                </a:cubicBezTo>
                <a:cubicBezTo>
                  <a:pt x="80000" y="41818"/>
                  <a:pt x="83870" y="41212"/>
                  <a:pt x="83870" y="41212"/>
                </a:cubicBezTo>
                <a:cubicBezTo>
                  <a:pt x="83870" y="41212"/>
                  <a:pt x="83870" y="41212"/>
                  <a:pt x="84516" y="42424"/>
                </a:cubicBezTo>
                <a:cubicBezTo>
                  <a:pt x="85806" y="44242"/>
                  <a:pt x="87741" y="44848"/>
                  <a:pt x="87741" y="44848"/>
                </a:cubicBezTo>
                <a:cubicBezTo>
                  <a:pt x="87741" y="44848"/>
                  <a:pt x="88387" y="45454"/>
                  <a:pt x="88387" y="44848"/>
                </a:cubicBezTo>
                <a:cubicBezTo>
                  <a:pt x="88387" y="44242"/>
                  <a:pt x="89032" y="43636"/>
                  <a:pt x="89032" y="43636"/>
                </a:cubicBezTo>
                <a:cubicBezTo>
                  <a:pt x="89032" y="43636"/>
                  <a:pt x="90322" y="41818"/>
                  <a:pt x="90322" y="41212"/>
                </a:cubicBezTo>
                <a:cubicBezTo>
                  <a:pt x="90967" y="40606"/>
                  <a:pt x="91612" y="38787"/>
                  <a:pt x="92258" y="38787"/>
                </a:cubicBezTo>
                <a:cubicBezTo>
                  <a:pt x="92903" y="38181"/>
                  <a:pt x="94838" y="36969"/>
                  <a:pt x="94838" y="36969"/>
                </a:cubicBezTo>
                <a:cubicBezTo>
                  <a:pt x="94838" y="36969"/>
                  <a:pt x="94838" y="36363"/>
                  <a:pt x="96129" y="36969"/>
                </a:cubicBezTo>
                <a:cubicBezTo>
                  <a:pt x="96774" y="38181"/>
                  <a:pt x="98709" y="39393"/>
                  <a:pt x="98709" y="39393"/>
                </a:cubicBezTo>
                <a:cubicBezTo>
                  <a:pt x="101935" y="39393"/>
                  <a:pt x="101935" y="39393"/>
                  <a:pt x="101935" y="39393"/>
                </a:cubicBezTo>
                <a:cubicBezTo>
                  <a:pt x="101935" y="39393"/>
                  <a:pt x="103870" y="40000"/>
                  <a:pt x="103870" y="40606"/>
                </a:cubicBezTo>
                <a:cubicBezTo>
                  <a:pt x="103870" y="41212"/>
                  <a:pt x="103225" y="41212"/>
                  <a:pt x="101935" y="41818"/>
                </a:cubicBezTo>
                <a:cubicBezTo>
                  <a:pt x="101290" y="41818"/>
                  <a:pt x="99354" y="40000"/>
                  <a:pt x="99354" y="40606"/>
                </a:cubicBezTo>
                <a:cubicBezTo>
                  <a:pt x="98709" y="41212"/>
                  <a:pt x="98709" y="42424"/>
                  <a:pt x="98709" y="42424"/>
                </a:cubicBezTo>
                <a:cubicBezTo>
                  <a:pt x="96129" y="43636"/>
                  <a:pt x="96129" y="43636"/>
                  <a:pt x="96129" y="43636"/>
                </a:cubicBezTo>
                <a:cubicBezTo>
                  <a:pt x="96774" y="44848"/>
                  <a:pt x="96774" y="44848"/>
                  <a:pt x="96774" y="44848"/>
                </a:cubicBezTo>
                <a:cubicBezTo>
                  <a:pt x="96774" y="44848"/>
                  <a:pt x="100000" y="46060"/>
                  <a:pt x="100000" y="46666"/>
                </a:cubicBezTo>
                <a:cubicBezTo>
                  <a:pt x="100000" y="47272"/>
                  <a:pt x="100000" y="48484"/>
                  <a:pt x="100000" y="48484"/>
                </a:cubicBezTo>
                <a:cubicBezTo>
                  <a:pt x="101935" y="49090"/>
                  <a:pt x="101935" y="49090"/>
                  <a:pt x="101935" y="49090"/>
                </a:cubicBezTo>
                <a:cubicBezTo>
                  <a:pt x="103225" y="48484"/>
                  <a:pt x="103225" y="48484"/>
                  <a:pt x="103225" y="48484"/>
                </a:cubicBezTo>
                <a:cubicBezTo>
                  <a:pt x="103225" y="50909"/>
                  <a:pt x="103225" y="50909"/>
                  <a:pt x="103225" y="50909"/>
                </a:cubicBezTo>
                <a:cubicBezTo>
                  <a:pt x="103225" y="53333"/>
                  <a:pt x="103225" y="53333"/>
                  <a:pt x="103225" y="53333"/>
                </a:cubicBezTo>
                <a:cubicBezTo>
                  <a:pt x="103225" y="55151"/>
                  <a:pt x="103225" y="55151"/>
                  <a:pt x="103225" y="55151"/>
                </a:cubicBezTo>
                <a:cubicBezTo>
                  <a:pt x="103225" y="55151"/>
                  <a:pt x="103870" y="56969"/>
                  <a:pt x="103225" y="56969"/>
                </a:cubicBezTo>
                <a:cubicBezTo>
                  <a:pt x="102580" y="56969"/>
                  <a:pt x="100645" y="58181"/>
                  <a:pt x="100645" y="58181"/>
                </a:cubicBezTo>
                <a:cubicBezTo>
                  <a:pt x="99354" y="59999"/>
                  <a:pt x="99354" y="59999"/>
                  <a:pt x="99354" y="59999"/>
                </a:cubicBezTo>
                <a:cubicBezTo>
                  <a:pt x="99354" y="59999"/>
                  <a:pt x="99354" y="62424"/>
                  <a:pt x="99354" y="63030"/>
                </a:cubicBezTo>
                <a:cubicBezTo>
                  <a:pt x="100000" y="64242"/>
                  <a:pt x="99354" y="66060"/>
                  <a:pt x="99354" y="66060"/>
                </a:cubicBezTo>
                <a:cubicBezTo>
                  <a:pt x="99354" y="66060"/>
                  <a:pt x="99354" y="67272"/>
                  <a:pt x="100000" y="67878"/>
                </a:cubicBezTo>
                <a:cubicBezTo>
                  <a:pt x="100645" y="68484"/>
                  <a:pt x="101290" y="69696"/>
                  <a:pt x="101290" y="69696"/>
                </a:cubicBezTo>
                <a:cubicBezTo>
                  <a:pt x="101290" y="69696"/>
                  <a:pt x="101935" y="70303"/>
                  <a:pt x="102580" y="71515"/>
                </a:cubicBezTo>
                <a:cubicBezTo>
                  <a:pt x="103225" y="72727"/>
                  <a:pt x="105806" y="75757"/>
                  <a:pt x="105806" y="75757"/>
                </a:cubicBezTo>
                <a:cubicBezTo>
                  <a:pt x="105806" y="75757"/>
                  <a:pt x="107741" y="76363"/>
                  <a:pt x="108387" y="76363"/>
                </a:cubicBezTo>
                <a:cubicBezTo>
                  <a:pt x="108387" y="76363"/>
                  <a:pt x="110967" y="77575"/>
                  <a:pt x="110967" y="77575"/>
                </a:cubicBezTo>
                <a:cubicBezTo>
                  <a:pt x="110967" y="77575"/>
                  <a:pt x="112258" y="77575"/>
                  <a:pt x="112258" y="78181"/>
                </a:cubicBezTo>
                <a:cubicBezTo>
                  <a:pt x="112258" y="78181"/>
                  <a:pt x="114838" y="81818"/>
                  <a:pt x="114838" y="81818"/>
                </a:cubicBezTo>
                <a:cubicBezTo>
                  <a:pt x="117419" y="82424"/>
                  <a:pt x="117419" y="82424"/>
                  <a:pt x="117419" y="82424"/>
                </a:cubicBezTo>
                <a:cubicBezTo>
                  <a:pt x="120000" y="82424"/>
                  <a:pt x="120000" y="82424"/>
                  <a:pt x="120000" y="82424"/>
                </a:cubicBezTo>
                <a:cubicBezTo>
                  <a:pt x="120000" y="82424"/>
                  <a:pt x="119354" y="85454"/>
                  <a:pt x="118709" y="86060"/>
                </a:cubicBezTo>
                <a:cubicBezTo>
                  <a:pt x="118064" y="86666"/>
                  <a:pt x="116129" y="89090"/>
                  <a:pt x="116129" y="89090"/>
                </a:cubicBezTo>
                <a:cubicBezTo>
                  <a:pt x="116129" y="89090"/>
                  <a:pt x="114838" y="90303"/>
                  <a:pt x="114838" y="91515"/>
                </a:cubicBezTo>
                <a:cubicBezTo>
                  <a:pt x="115483" y="92121"/>
                  <a:pt x="115483" y="93939"/>
                  <a:pt x="115483" y="93939"/>
                </a:cubicBezTo>
                <a:cubicBezTo>
                  <a:pt x="115483" y="93939"/>
                  <a:pt x="114193" y="95151"/>
                  <a:pt x="113548" y="95151"/>
                </a:cubicBezTo>
                <a:cubicBezTo>
                  <a:pt x="112903" y="95151"/>
                  <a:pt x="111612" y="95151"/>
                  <a:pt x="110967" y="95757"/>
                </a:cubicBezTo>
                <a:cubicBezTo>
                  <a:pt x="110322" y="95757"/>
                  <a:pt x="109677" y="96363"/>
                  <a:pt x="109677" y="96363"/>
                </a:cubicBezTo>
                <a:cubicBezTo>
                  <a:pt x="109032" y="96969"/>
                  <a:pt x="107741" y="98181"/>
                  <a:pt x="107741" y="98181"/>
                </a:cubicBezTo>
                <a:cubicBezTo>
                  <a:pt x="109032" y="99999"/>
                  <a:pt x="109032" y="99999"/>
                  <a:pt x="109032" y="99999"/>
                </a:cubicBezTo>
                <a:cubicBezTo>
                  <a:pt x="109677" y="103030"/>
                  <a:pt x="109677" y="103030"/>
                  <a:pt x="109677" y="103030"/>
                </a:cubicBezTo>
                <a:cubicBezTo>
                  <a:pt x="109677" y="106060"/>
                  <a:pt x="109677" y="106060"/>
                  <a:pt x="109677" y="106060"/>
                </a:cubicBezTo>
                <a:cubicBezTo>
                  <a:pt x="109677" y="106060"/>
                  <a:pt x="111612" y="106666"/>
                  <a:pt x="111612" y="107272"/>
                </a:cubicBezTo>
                <a:cubicBezTo>
                  <a:pt x="112258" y="107272"/>
                  <a:pt x="112903" y="109090"/>
                  <a:pt x="112903" y="109090"/>
                </a:cubicBezTo>
                <a:cubicBezTo>
                  <a:pt x="112258" y="110303"/>
                  <a:pt x="112258" y="110303"/>
                  <a:pt x="112258" y="110303"/>
                </a:cubicBezTo>
                <a:cubicBezTo>
                  <a:pt x="111612" y="112121"/>
                  <a:pt x="111612" y="112121"/>
                  <a:pt x="111612" y="112121"/>
                </a:cubicBezTo>
                <a:cubicBezTo>
                  <a:pt x="111612" y="112121"/>
                  <a:pt x="110967" y="113333"/>
                  <a:pt x="110322" y="113939"/>
                </a:cubicBezTo>
                <a:cubicBezTo>
                  <a:pt x="109032" y="113939"/>
                  <a:pt x="107096" y="113939"/>
                  <a:pt x="107096" y="113939"/>
                </a:cubicBezTo>
                <a:cubicBezTo>
                  <a:pt x="107096" y="113939"/>
                  <a:pt x="107096" y="113333"/>
                  <a:pt x="105806" y="113939"/>
                </a:cubicBezTo>
                <a:cubicBezTo>
                  <a:pt x="104516" y="113939"/>
                  <a:pt x="103225" y="115151"/>
                  <a:pt x="103225" y="115151"/>
                </a:cubicBezTo>
                <a:cubicBezTo>
                  <a:pt x="103225" y="115151"/>
                  <a:pt x="103225" y="115151"/>
                  <a:pt x="102580" y="115757"/>
                </a:cubicBezTo>
                <a:cubicBezTo>
                  <a:pt x="101290" y="115757"/>
                  <a:pt x="100645" y="115757"/>
                  <a:pt x="100000" y="115757"/>
                </a:cubicBezTo>
                <a:cubicBezTo>
                  <a:pt x="99354" y="115757"/>
                  <a:pt x="98064" y="115151"/>
                  <a:pt x="98064" y="115151"/>
                </a:cubicBezTo>
                <a:cubicBezTo>
                  <a:pt x="96774" y="116969"/>
                  <a:pt x="96774" y="116969"/>
                  <a:pt x="96774" y="116969"/>
                </a:cubicBezTo>
                <a:cubicBezTo>
                  <a:pt x="96774" y="116969"/>
                  <a:pt x="95483" y="117575"/>
                  <a:pt x="94838" y="117575"/>
                </a:cubicBezTo>
                <a:cubicBezTo>
                  <a:pt x="94838" y="117575"/>
                  <a:pt x="92903" y="119999"/>
                  <a:pt x="92903" y="119999"/>
                </a:cubicBezTo>
                <a:cubicBezTo>
                  <a:pt x="92903" y="119999"/>
                  <a:pt x="92903" y="119999"/>
                  <a:pt x="92258" y="119999"/>
                </a:cubicBezTo>
                <a:cubicBezTo>
                  <a:pt x="90967" y="119999"/>
                  <a:pt x="89677" y="119393"/>
                  <a:pt x="89677" y="119393"/>
                </a:cubicBezTo>
                <a:cubicBezTo>
                  <a:pt x="87741" y="117575"/>
                  <a:pt x="87741" y="117575"/>
                  <a:pt x="87741" y="117575"/>
                </a:cubicBezTo>
                <a:cubicBezTo>
                  <a:pt x="87741" y="117575"/>
                  <a:pt x="88387" y="117575"/>
                  <a:pt x="89677" y="116363"/>
                </a:cubicBezTo>
                <a:cubicBezTo>
                  <a:pt x="90322" y="115757"/>
                  <a:pt x="90322" y="115757"/>
                  <a:pt x="90322" y="115151"/>
                </a:cubicBezTo>
                <a:cubicBezTo>
                  <a:pt x="89677" y="113939"/>
                  <a:pt x="89032" y="112727"/>
                  <a:pt x="89677" y="112727"/>
                </a:cubicBezTo>
                <a:cubicBezTo>
                  <a:pt x="90322" y="112121"/>
                  <a:pt x="90967" y="112727"/>
                  <a:pt x="91612" y="111515"/>
                </a:cubicBezTo>
                <a:cubicBezTo>
                  <a:pt x="91612" y="110909"/>
                  <a:pt x="91612" y="110303"/>
                  <a:pt x="91612" y="109090"/>
                </a:cubicBezTo>
                <a:cubicBezTo>
                  <a:pt x="91612" y="108484"/>
                  <a:pt x="91612" y="107272"/>
                  <a:pt x="92258" y="107272"/>
                </a:cubicBezTo>
                <a:cubicBezTo>
                  <a:pt x="92903" y="106666"/>
                  <a:pt x="92903" y="106060"/>
                  <a:pt x="92903" y="106060"/>
                </a:cubicBezTo>
                <a:cubicBezTo>
                  <a:pt x="89677" y="105454"/>
                  <a:pt x="89677" y="105454"/>
                  <a:pt x="89677" y="105454"/>
                </a:cubicBezTo>
                <a:cubicBezTo>
                  <a:pt x="87741" y="106060"/>
                  <a:pt x="87741" y="106060"/>
                  <a:pt x="87741" y="106060"/>
                </a:cubicBezTo>
                <a:cubicBezTo>
                  <a:pt x="87741" y="106060"/>
                  <a:pt x="87741" y="104848"/>
                  <a:pt x="86451" y="104848"/>
                </a:cubicBezTo>
                <a:cubicBezTo>
                  <a:pt x="85161" y="104242"/>
                  <a:pt x="82580" y="104242"/>
                  <a:pt x="82580" y="104242"/>
                </a:cubicBezTo>
                <a:cubicBezTo>
                  <a:pt x="81935" y="101818"/>
                  <a:pt x="81935" y="101818"/>
                  <a:pt x="81935" y="101818"/>
                </a:cubicBezTo>
                <a:cubicBezTo>
                  <a:pt x="76774" y="100606"/>
                  <a:pt x="76774" y="100606"/>
                  <a:pt x="76774" y="100606"/>
                </a:cubicBezTo>
                <a:cubicBezTo>
                  <a:pt x="76774" y="100606"/>
                  <a:pt x="76129" y="98181"/>
                  <a:pt x="75483" y="97575"/>
                </a:cubicBezTo>
                <a:cubicBezTo>
                  <a:pt x="74838" y="96969"/>
                  <a:pt x="74838" y="96969"/>
                  <a:pt x="74838" y="96969"/>
                </a:cubicBezTo>
                <a:cubicBezTo>
                  <a:pt x="71612" y="94545"/>
                  <a:pt x="71612" y="94545"/>
                  <a:pt x="71612" y="94545"/>
                </a:cubicBezTo>
                <a:cubicBezTo>
                  <a:pt x="69677" y="94545"/>
                  <a:pt x="69677" y="94545"/>
                  <a:pt x="69677" y="94545"/>
                </a:cubicBezTo>
                <a:cubicBezTo>
                  <a:pt x="69677" y="94545"/>
                  <a:pt x="69032" y="94545"/>
                  <a:pt x="67741" y="93939"/>
                </a:cubicBezTo>
                <a:cubicBezTo>
                  <a:pt x="65806" y="93333"/>
                  <a:pt x="65161" y="91515"/>
                  <a:pt x="65161" y="91515"/>
                </a:cubicBezTo>
                <a:cubicBezTo>
                  <a:pt x="65161" y="91515"/>
                  <a:pt x="65161" y="90303"/>
                  <a:pt x="63870" y="90909"/>
                </a:cubicBezTo>
                <a:cubicBezTo>
                  <a:pt x="62580" y="92121"/>
                  <a:pt x="61290" y="92121"/>
                  <a:pt x="60645" y="92727"/>
                </a:cubicBezTo>
                <a:cubicBezTo>
                  <a:pt x="60645" y="92727"/>
                  <a:pt x="60000" y="92727"/>
                  <a:pt x="59354" y="93333"/>
                </a:cubicBezTo>
                <a:cubicBezTo>
                  <a:pt x="59354" y="93939"/>
                  <a:pt x="58709" y="93939"/>
                  <a:pt x="60000" y="95151"/>
                </a:cubicBezTo>
                <a:cubicBezTo>
                  <a:pt x="60645" y="95757"/>
                  <a:pt x="61290" y="96363"/>
                  <a:pt x="61290" y="96363"/>
                </a:cubicBezTo>
                <a:cubicBezTo>
                  <a:pt x="60645" y="99393"/>
                  <a:pt x="60645" y="99393"/>
                  <a:pt x="60645" y="99393"/>
                </a:cubicBezTo>
                <a:cubicBezTo>
                  <a:pt x="56774" y="103030"/>
                  <a:pt x="56774" y="103030"/>
                  <a:pt x="56774" y="103030"/>
                </a:cubicBezTo>
                <a:cubicBezTo>
                  <a:pt x="57419" y="104848"/>
                  <a:pt x="57419" y="104848"/>
                  <a:pt x="57419" y="104848"/>
                </a:cubicBezTo>
                <a:cubicBezTo>
                  <a:pt x="57419" y="104848"/>
                  <a:pt x="58709" y="104848"/>
                  <a:pt x="56774" y="105454"/>
                </a:cubicBezTo>
                <a:cubicBezTo>
                  <a:pt x="55483" y="106060"/>
                  <a:pt x="55483" y="106666"/>
                  <a:pt x="54838" y="106666"/>
                </a:cubicBezTo>
                <a:cubicBezTo>
                  <a:pt x="54838" y="106060"/>
                  <a:pt x="54193" y="105454"/>
                  <a:pt x="52903" y="104848"/>
                </a:cubicBezTo>
                <a:cubicBezTo>
                  <a:pt x="52258" y="104242"/>
                  <a:pt x="52258" y="104242"/>
                  <a:pt x="52258" y="104242"/>
                </a:cubicBezTo>
                <a:cubicBezTo>
                  <a:pt x="52258" y="104242"/>
                  <a:pt x="52258" y="104242"/>
                  <a:pt x="51612" y="103636"/>
                </a:cubicBezTo>
                <a:cubicBezTo>
                  <a:pt x="51612" y="103636"/>
                  <a:pt x="51612" y="103636"/>
                  <a:pt x="51612" y="103636"/>
                </a:cubicBezTo>
                <a:cubicBezTo>
                  <a:pt x="51612" y="103636"/>
                  <a:pt x="51612" y="103030"/>
                  <a:pt x="50322" y="103030"/>
                </a:cubicBezTo>
                <a:cubicBezTo>
                  <a:pt x="49677" y="103030"/>
                  <a:pt x="48387" y="101818"/>
                  <a:pt x="48387" y="101818"/>
                </a:cubicBezTo>
                <a:cubicBezTo>
                  <a:pt x="46451" y="101818"/>
                  <a:pt x="46451" y="101818"/>
                  <a:pt x="46451" y="101818"/>
                </a:cubicBezTo>
                <a:cubicBezTo>
                  <a:pt x="46451" y="101818"/>
                  <a:pt x="44516" y="99999"/>
                  <a:pt x="44516" y="99999"/>
                </a:cubicBezTo>
                <a:cubicBezTo>
                  <a:pt x="43870" y="99999"/>
                  <a:pt x="41935" y="99393"/>
                  <a:pt x="41935" y="99393"/>
                </a:cubicBezTo>
                <a:cubicBezTo>
                  <a:pt x="41935" y="98181"/>
                  <a:pt x="41935" y="98181"/>
                  <a:pt x="41935" y="98181"/>
                </a:cubicBezTo>
                <a:cubicBezTo>
                  <a:pt x="41935" y="98181"/>
                  <a:pt x="41290" y="98181"/>
                  <a:pt x="41290" y="98181"/>
                </a:cubicBezTo>
                <a:cubicBezTo>
                  <a:pt x="40645" y="98181"/>
                  <a:pt x="40000" y="98787"/>
                  <a:pt x="40000" y="98787"/>
                </a:cubicBezTo>
                <a:cubicBezTo>
                  <a:pt x="38064" y="99393"/>
                  <a:pt x="38064" y="99393"/>
                  <a:pt x="38064" y="99393"/>
                </a:cubicBezTo>
                <a:cubicBezTo>
                  <a:pt x="38064" y="99393"/>
                  <a:pt x="36774" y="99393"/>
                  <a:pt x="36774" y="99393"/>
                </a:cubicBezTo>
                <a:cubicBezTo>
                  <a:pt x="36129" y="98787"/>
                  <a:pt x="35483" y="97575"/>
                  <a:pt x="35483" y="97575"/>
                </a:cubicBezTo>
                <a:cubicBezTo>
                  <a:pt x="35483" y="97575"/>
                  <a:pt x="35483" y="97575"/>
                  <a:pt x="34838" y="97575"/>
                </a:cubicBezTo>
                <a:cubicBezTo>
                  <a:pt x="34193" y="98181"/>
                  <a:pt x="35483" y="98787"/>
                  <a:pt x="34193" y="98181"/>
                </a:cubicBezTo>
                <a:cubicBezTo>
                  <a:pt x="32258" y="97575"/>
                  <a:pt x="32258" y="97575"/>
                  <a:pt x="32258" y="97575"/>
                </a:cubicBezTo>
                <a:cubicBezTo>
                  <a:pt x="30967" y="96363"/>
                  <a:pt x="30967" y="96363"/>
                  <a:pt x="30967" y="96363"/>
                </a:cubicBezTo>
                <a:cubicBezTo>
                  <a:pt x="30322" y="96363"/>
                  <a:pt x="30322" y="96363"/>
                  <a:pt x="30322" y="96363"/>
                </a:cubicBezTo>
                <a:cubicBezTo>
                  <a:pt x="29677" y="96363"/>
                  <a:pt x="29677" y="96363"/>
                  <a:pt x="29677" y="96363"/>
                </a:cubicBezTo>
                <a:cubicBezTo>
                  <a:pt x="29677" y="96363"/>
                  <a:pt x="29032" y="95151"/>
                  <a:pt x="29032" y="95151"/>
                </a:cubicBezTo>
                <a:cubicBezTo>
                  <a:pt x="29032" y="95151"/>
                  <a:pt x="29032" y="93939"/>
                  <a:pt x="29032" y="93939"/>
                </a:cubicBezTo>
                <a:cubicBezTo>
                  <a:pt x="28387" y="93939"/>
                  <a:pt x="26451" y="93333"/>
                  <a:pt x="26451" y="93333"/>
                </a:cubicBezTo>
                <a:cubicBezTo>
                  <a:pt x="25806" y="92121"/>
                  <a:pt x="25806" y="92121"/>
                  <a:pt x="25806" y="92121"/>
                </a:cubicBezTo>
                <a:cubicBezTo>
                  <a:pt x="25806" y="92121"/>
                  <a:pt x="25806" y="92121"/>
                  <a:pt x="25806" y="92121"/>
                </a:cubicBezTo>
                <a:cubicBezTo>
                  <a:pt x="25161" y="92121"/>
                  <a:pt x="23870" y="91515"/>
                  <a:pt x="23870" y="91515"/>
                </a:cubicBezTo>
                <a:cubicBezTo>
                  <a:pt x="23225" y="90909"/>
                  <a:pt x="23225" y="90909"/>
                  <a:pt x="23225" y="90909"/>
                </a:cubicBezTo>
                <a:cubicBezTo>
                  <a:pt x="21290" y="90909"/>
                  <a:pt x="21290" y="90909"/>
                  <a:pt x="21290" y="90909"/>
                </a:cubicBezTo>
                <a:cubicBezTo>
                  <a:pt x="20645" y="89696"/>
                  <a:pt x="20645" y="89696"/>
                  <a:pt x="20645" y="89696"/>
                </a:cubicBezTo>
                <a:cubicBezTo>
                  <a:pt x="20645" y="89696"/>
                  <a:pt x="20000" y="89090"/>
                  <a:pt x="20000" y="89090"/>
                </a:cubicBezTo>
                <a:cubicBezTo>
                  <a:pt x="20645" y="89090"/>
                  <a:pt x="20645" y="87878"/>
                  <a:pt x="20645" y="87878"/>
                </a:cubicBezTo>
                <a:cubicBezTo>
                  <a:pt x="20000" y="87878"/>
                  <a:pt x="20000" y="87878"/>
                  <a:pt x="20000" y="87878"/>
                </a:cubicBezTo>
                <a:cubicBezTo>
                  <a:pt x="20645" y="87272"/>
                  <a:pt x="21935" y="87272"/>
                  <a:pt x="21935" y="87272"/>
                </a:cubicBezTo>
                <a:cubicBezTo>
                  <a:pt x="23225" y="85454"/>
                  <a:pt x="23225" y="85454"/>
                  <a:pt x="23225" y="85454"/>
                </a:cubicBezTo>
                <a:cubicBezTo>
                  <a:pt x="23225" y="85454"/>
                  <a:pt x="23225" y="85454"/>
                  <a:pt x="23870" y="85454"/>
                </a:cubicBezTo>
                <a:cubicBezTo>
                  <a:pt x="25161" y="86060"/>
                  <a:pt x="25806" y="86060"/>
                  <a:pt x="26451" y="86060"/>
                </a:cubicBezTo>
                <a:cubicBezTo>
                  <a:pt x="27096" y="86060"/>
                  <a:pt x="27741" y="87272"/>
                  <a:pt x="27741" y="84848"/>
                </a:cubicBezTo>
                <a:cubicBezTo>
                  <a:pt x="27741" y="83030"/>
                  <a:pt x="27741" y="82424"/>
                  <a:pt x="27741" y="82424"/>
                </a:cubicBezTo>
                <a:cubicBezTo>
                  <a:pt x="24516" y="80000"/>
                  <a:pt x="24516" y="80000"/>
                  <a:pt x="24516" y="80000"/>
                </a:cubicBezTo>
                <a:cubicBezTo>
                  <a:pt x="24516" y="80000"/>
                  <a:pt x="24516" y="79393"/>
                  <a:pt x="23870" y="78181"/>
                </a:cubicBezTo>
                <a:cubicBezTo>
                  <a:pt x="23225" y="77575"/>
                  <a:pt x="22580" y="76969"/>
                  <a:pt x="22580" y="76969"/>
                </a:cubicBezTo>
                <a:cubicBezTo>
                  <a:pt x="21935" y="76969"/>
                  <a:pt x="20645" y="75757"/>
                  <a:pt x="20645" y="75757"/>
                </a:cubicBezTo>
                <a:cubicBezTo>
                  <a:pt x="20000" y="75151"/>
                  <a:pt x="19354" y="74545"/>
                  <a:pt x="19354" y="74545"/>
                </a:cubicBezTo>
                <a:cubicBezTo>
                  <a:pt x="19354" y="74545"/>
                  <a:pt x="19354" y="73333"/>
                  <a:pt x="19354" y="72727"/>
                </a:cubicBezTo>
                <a:cubicBezTo>
                  <a:pt x="20000" y="72727"/>
                  <a:pt x="20000" y="72727"/>
                  <a:pt x="20645" y="72727"/>
                </a:cubicBezTo>
                <a:cubicBezTo>
                  <a:pt x="21290" y="73333"/>
                  <a:pt x="21935" y="73333"/>
                  <a:pt x="22580" y="73333"/>
                </a:cubicBezTo>
                <a:cubicBezTo>
                  <a:pt x="23225" y="73333"/>
                  <a:pt x="23870" y="73333"/>
                  <a:pt x="24516" y="73333"/>
                </a:cubicBezTo>
                <a:cubicBezTo>
                  <a:pt x="24516" y="73333"/>
                  <a:pt x="26451" y="72727"/>
                  <a:pt x="26451" y="72727"/>
                </a:cubicBezTo>
                <a:cubicBezTo>
                  <a:pt x="27096" y="72727"/>
                  <a:pt x="27096" y="71515"/>
                  <a:pt x="27741" y="71515"/>
                </a:cubicBezTo>
                <a:cubicBezTo>
                  <a:pt x="27741" y="71515"/>
                  <a:pt x="28387" y="70909"/>
                  <a:pt x="27741" y="70303"/>
                </a:cubicBezTo>
                <a:cubicBezTo>
                  <a:pt x="27741" y="70303"/>
                  <a:pt x="26451" y="69696"/>
                  <a:pt x="26451" y="69696"/>
                </a:cubicBezTo>
                <a:cubicBezTo>
                  <a:pt x="25806" y="69696"/>
                  <a:pt x="25161" y="69090"/>
                  <a:pt x="25161" y="68484"/>
                </a:cubicBezTo>
                <a:cubicBezTo>
                  <a:pt x="24516" y="68484"/>
                  <a:pt x="23870" y="67878"/>
                  <a:pt x="23870" y="67272"/>
                </a:cubicBezTo>
                <a:cubicBezTo>
                  <a:pt x="23225" y="67272"/>
                  <a:pt x="23225" y="67878"/>
                  <a:pt x="22580" y="67878"/>
                </a:cubicBezTo>
                <a:cubicBezTo>
                  <a:pt x="21935" y="67272"/>
                  <a:pt x="21290" y="66666"/>
                  <a:pt x="20645" y="66060"/>
                </a:cubicBezTo>
                <a:cubicBezTo>
                  <a:pt x="20645" y="65454"/>
                  <a:pt x="20645" y="65454"/>
                  <a:pt x="20000" y="64848"/>
                </a:cubicBezTo>
                <a:cubicBezTo>
                  <a:pt x="19354" y="64848"/>
                  <a:pt x="18709" y="64242"/>
                  <a:pt x="18064" y="64242"/>
                </a:cubicBezTo>
                <a:cubicBezTo>
                  <a:pt x="17419" y="64242"/>
                  <a:pt x="17419" y="64848"/>
                  <a:pt x="16129" y="64242"/>
                </a:cubicBezTo>
                <a:cubicBezTo>
                  <a:pt x="14838" y="64242"/>
                  <a:pt x="13548" y="63636"/>
                  <a:pt x="13548" y="63030"/>
                </a:cubicBezTo>
                <a:cubicBezTo>
                  <a:pt x="14193" y="62424"/>
                  <a:pt x="13548" y="62424"/>
                  <a:pt x="14193" y="61818"/>
                </a:cubicBezTo>
                <a:cubicBezTo>
                  <a:pt x="14193" y="61212"/>
                  <a:pt x="14193" y="59999"/>
                  <a:pt x="14193" y="59393"/>
                </a:cubicBezTo>
                <a:cubicBezTo>
                  <a:pt x="14193" y="58787"/>
                  <a:pt x="13548" y="59393"/>
                  <a:pt x="13548" y="57575"/>
                </a:cubicBezTo>
                <a:cubicBezTo>
                  <a:pt x="12903" y="55757"/>
                  <a:pt x="14193" y="56363"/>
                  <a:pt x="14193" y="56363"/>
                </a:cubicBezTo>
                <a:cubicBezTo>
                  <a:pt x="14193" y="56363"/>
                  <a:pt x="14838" y="55151"/>
                  <a:pt x="14838" y="54545"/>
                </a:cubicBezTo>
                <a:cubicBezTo>
                  <a:pt x="14838" y="54545"/>
                  <a:pt x="15483" y="52727"/>
                  <a:pt x="15483" y="52727"/>
                </a:cubicBezTo>
                <a:cubicBezTo>
                  <a:pt x="17419" y="50303"/>
                  <a:pt x="17419" y="50303"/>
                  <a:pt x="17419" y="50303"/>
                </a:cubicBezTo>
                <a:cubicBezTo>
                  <a:pt x="17419" y="48484"/>
                  <a:pt x="17419" y="48484"/>
                  <a:pt x="17419" y="48484"/>
                </a:cubicBezTo>
                <a:cubicBezTo>
                  <a:pt x="17419" y="46060"/>
                  <a:pt x="17419" y="46060"/>
                  <a:pt x="17419" y="46060"/>
                </a:cubicBezTo>
                <a:cubicBezTo>
                  <a:pt x="17419" y="44242"/>
                  <a:pt x="17419" y="44242"/>
                  <a:pt x="17419" y="44242"/>
                </a:cubicBezTo>
                <a:cubicBezTo>
                  <a:pt x="15483" y="43636"/>
                  <a:pt x="15483" y="43636"/>
                  <a:pt x="15483" y="43636"/>
                </a:cubicBezTo>
                <a:cubicBezTo>
                  <a:pt x="11612" y="43030"/>
                  <a:pt x="11612" y="43030"/>
                  <a:pt x="11612" y="43030"/>
                </a:cubicBezTo>
                <a:cubicBezTo>
                  <a:pt x="11612" y="43030"/>
                  <a:pt x="11612" y="44242"/>
                  <a:pt x="10967" y="44242"/>
                </a:cubicBezTo>
                <a:cubicBezTo>
                  <a:pt x="10967" y="44242"/>
                  <a:pt x="10322" y="44848"/>
                  <a:pt x="9677" y="44848"/>
                </a:cubicBezTo>
                <a:cubicBezTo>
                  <a:pt x="9032" y="44242"/>
                  <a:pt x="9032" y="44242"/>
                  <a:pt x="9032" y="44242"/>
                </a:cubicBezTo>
                <a:cubicBezTo>
                  <a:pt x="10322" y="43030"/>
                  <a:pt x="10322" y="43030"/>
                  <a:pt x="10322" y="43030"/>
                </a:cubicBezTo>
                <a:cubicBezTo>
                  <a:pt x="10322" y="40606"/>
                  <a:pt x="10322" y="40606"/>
                  <a:pt x="10322" y="40606"/>
                </a:cubicBezTo>
                <a:cubicBezTo>
                  <a:pt x="10322" y="40606"/>
                  <a:pt x="9677" y="39393"/>
                  <a:pt x="9032" y="38181"/>
                </a:cubicBezTo>
                <a:cubicBezTo>
                  <a:pt x="8387" y="37575"/>
                  <a:pt x="7741" y="36969"/>
                  <a:pt x="7741" y="36969"/>
                </a:cubicBezTo>
                <a:cubicBezTo>
                  <a:pt x="9677" y="35757"/>
                  <a:pt x="9677" y="35757"/>
                  <a:pt x="9677" y="35757"/>
                </a:cubicBezTo>
                <a:cubicBezTo>
                  <a:pt x="10322" y="35151"/>
                  <a:pt x="10322" y="35151"/>
                  <a:pt x="10322" y="35151"/>
                </a:cubicBezTo>
                <a:cubicBezTo>
                  <a:pt x="10322" y="34545"/>
                  <a:pt x="10322" y="34545"/>
                  <a:pt x="10322" y="34545"/>
                </a:cubicBezTo>
                <a:cubicBezTo>
                  <a:pt x="10322" y="34545"/>
                  <a:pt x="11612" y="35757"/>
                  <a:pt x="12903" y="35757"/>
                </a:cubicBezTo>
                <a:cubicBezTo>
                  <a:pt x="13548" y="35757"/>
                  <a:pt x="12903" y="35757"/>
                  <a:pt x="14193" y="35151"/>
                </a:cubicBezTo>
                <a:cubicBezTo>
                  <a:pt x="15483" y="35151"/>
                  <a:pt x="17419" y="33333"/>
                  <a:pt x="17419" y="33333"/>
                </a:cubicBezTo>
                <a:cubicBezTo>
                  <a:pt x="17419" y="33333"/>
                  <a:pt x="16129" y="32121"/>
                  <a:pt x="15483" y="32121"/>
                </a:cubicBezTo>
                <a:cubicBezTo>
                  <a:pt x="14838" y="32727"/>
                  <a:pt x="15483" y="32727"/>
                  <a:pt x="13548" y="32727"/>
                </a:cubicBezTo>
                <a:cubicBezTo>
                  <a:pt x="11612" y="32121"/>
                  <a:pt x="10967" y="31515"/>
                  <a:pt x="10967" y="31515"/>
                </a:cubicBezTo>
                <a:cubicBezTo>
                  <a:pt x="10967" y="31515"/>
                  <a:pt x="10322" y="31515"/>
                  <a:pt x="9677" y="31515"/>
                </a:cubicBezTo>
                <a:cubicBezTo>
                  <a:pt x="9032" y="31515"/>
                  <a:pt x="9032" y="31515"/>
                  <a:pt x="8387" y="30909"/>
                </a:cubicBezTo>
                <a:cubicBezTo>
                  <a:pt x="7096" y="29696"/>
                  <a:pt x="5806" y="28484"/>
                  <a:pt x="5806" y="28484"/>
                </a:cubicBezTo>
                <a:cubicBezTo>
                  <a:pt x="5806" y="28484"/>
                  <a:pt x="4516" y="29090"/>
                  <a:pt x="4516" y="28484"/>
                </a:cubicBezTo>
                <a:cubicBezTo>
                  <a:pt x="4516" y="27878"/>
                  <a:pt x="5161" y="27272"/>
                  <a:pt x="5161" y="27272"/>
                </a:cubicBezTo>
                <a:cubicBezTo>
                  <a:pt x="4516" y="26060"/>
                  <a:pt x="4516" y="26060"/>
                  <a:pt x="4516" y="26060"/>
                </a:cubicBezTo>
                <a:cubicBezTo>
                  <a:pt x="4516" y="26060"/>
                  <a:pt x="5806" y="26060"/>
                  <a:pt x="6451" y="25454"/>
                </a:cubicBezTo>
                <a:cubicBezTo>
                  <a:pt x="7096" y="25454"/>
                  <a:pt x="7096" y="23636"/>
                  <a:pt x="6451" y="23636"/>
                </a:cubicBezTo>
                <a:cubicBezTo>
                  <a:pt x="5806" y="23636"/>
                  <a:pt x="5161" y="23030"/>
                  <a:pt x="4516" y="23636"/>
                </a:cubicBezTo>
                <a:cubicBezTo>
                  <a:pt x="3870" y="23636"/>
                  <a:pt x="3225" y="24242"/>
                  <a:pt x="3225" y="24242"/>
                </a:cubicBezTo>
                <a:cubicBezTo>
                  <a:pt x="2580" y="24242"/>
                  <a:pt x="1290" y="23636"/>
                  <a:pt x="1290" y="23030"/>
                </a:cubicBezTo>
                <a:cubicBezTo>
                  <a:pt x="1290" y="22424"/>
                  <a:pt x="645" y="22424"/>
                  <a:pt x="1935" y="21818"/>
                </a:cubicBezTo>
                <a:cubicBezTo>
                  <a:pt x="2580" y="21818"/>
                  <a:pt x="3225" y="20606"/>
                  <a:pt x="3225" y="20606"/>
                </a:cubicBezTo>
                <a:cubicBezTo>
                  <a:pt x="1935" y="18787"/>
                  <a:pt x="1935" y="18787"/>
                  <a:pt x="1935" y="18787"/>
                </a:cubicBezTo>
                <a:cubicBezTo>
                  <a:pt x="2580" y="15151"/>
                  <a:pt x="2580" y="15151"/>
                  <a:pt x="2580" y="15151"/>
                </a:cubicBezTo>
                <a:cubicBezTo>
                  <a:pt x="0" y="14545"/>
                  <a:pt x="0" y="14545"/>
                  <a:pt x="0" y="14545"/>
                </a:cubicBezTo>
                <a:cubicBezTo>
                  <a:pt x="0" y="13333"/>
                  <a:pt x="0" y="13333"/>
                  <a:pt x="0" y="13333"/>
                </a:cubicBezTo>
                <a:cubicBezTo>
                  <a:pt x="2580" y="12121"/>
                  <a:pt x="2580" y="12121"/>
                  <a:pt x="2580" y="12121"/>
                </a:cubicBezTo>
                <a:cubicBezTo>
                  <a:pt x="5161" y="8484"/>
                  <a:pt x="5161" y="8484"/>
                  <a:pt x="5161" y="8484"/>
                </a:cubicBezTo>
                <a:cubicBezTo>
                  <a:pt x="5806" y="9090"/>
                  <a:pt x="5806" y="9090"/>
                  <a:pt x="5806" y="9090"/>
                </a:cubicBezTo>
                <a:cubicBezTo>
                  <a:pt x="5806" y="9090"/>
                  <a:pt x="6451" y="9090"/>
                  <a:pt x="7096" y="8484"/>
                </a:cubicBez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" name="Google Shape;3021;p256">
            <a:extLst>
              <a:ext uri="{FF2B5EF4-FFF2-40B4-BE49-F238E27FC236}">
                <a16:creationId xmlns:a16="http://schemas.microsoft.com/office/drawing/2014/main" id="{926D0E15-0EED-AE5C-25CB-338DE27834EC}"/>
              </a:ext>
            </a:extLst>
          </p:cNvPr>
          <p:cNvSpPr/>
          <p:nvPr/>
        </p:nvSpPr>
        <p:spPr>
          <a:xfrm>
            <a:off x="8084620" y="4221927"/>
            <a:ext cx="634207" cy="38698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1502" y="82568"/>
                </a:moveTo>
                <a:cubicBezTo>
                  <a:pt x="22890" y="83669"/>
                  <a:pt x="22890" y="83669"/>
                  <a:pt x="22890" y="83669"/>
                </a:cubicBezTo>
                <a:cubicBezTo>
                  <a:pt x="22890" y="85871"/>
                  <a:pt x="22890" y="85871"/>
                  <a:pt x="22890" y="85871"/>
                </a:cubicBezTo>
                <a:cubicBezTo>
                  <a:pt x="22890" y="85871"/>
                  <a:pt x="22890" y="84770"/>
                  <a:pt x="22196" y="86972"/>
                </a:cubicBezTo>
                <a:cubicBezTo>
                  <a:pt x="21502" y="88073"/>
                  <a:pt x="21502" y="88073"/>
                  <a:pt x="21502" y="88073"/>
                </a:cubicBezTo>
                <a:cubicBezTo>
                  <a:pt x="22196" y="88073"/>
                  <a:pt x="22890" y="89174"/>
                  <a:pt x="22890" y="89174"/>
                </a:cubicBezTo>
                <a:cubicBezTo>
                  <a:pt x="22890" y="89174"/>
                  <a:pt x="23583" y="89174"/>
                  <a:pt x="22890" y="90275"/>
                </a:cubicBezTo>
                <a:cubicBezTo>
                  <a:pt x="22890" y="92477"/>
                  <a:pt x="22890" y="93577"/>
                  <a:pt x="22890" y="93577"/>
                </a:cubicBezTo>
                <a:cubicBezTo>
                  <a:pt x="22890" y="93577"/>
                  <a:pt x="22890" y="94678"/>
                  <a:pt x="22890" y="95779"/>
                </a:cubicBezTo>
                <a:cubicBezTo>
                  <a:pt x="22196" y="95779"/>
                  <a:pt x="21502" y="99082"/>
                  <a:pt x="21502" y="99082"/>
                </a:cubicBezTo>
                <a:cubicBezTo>
                  <a:pt x="21502" y="99082"/>
                  <a:pt x="21502" y="99082"/>
                  <a:pt x="21502" y="100183"/>
                </a:cubicBezTo>
                <a:cubicBezTo>
                  <a:pt x="22196" y="100183"/>
                  <a:pt x="24277" y="100183"/>
                  <a:pt x="24277" y="100183"/>
                </a:cubicBezTo>
                <a:cubicBezTo>
                  <a:pt x="24277" y="100183"/>
                  <a:pt x="24277" y="102385"/>
                  <a:pt x="24277" y="103486"/>
                </a:cubicBezTo>
                <a:cubicBezTo>
                  <a:pt x="23583" y="103486"/>
                  <a:pt x="22890" y="105688"/>
                  <a:pt x="23583" y="105688"/>
                </a:cubicBezTo>
                <a:cubicBezTo>
                  <a:pt x="24277" y="105688"/>
                  <a:pt x="24971" y="106788"/>
                  <a:pt x="24971" y="106788"/>
                </a:cubicBezTo>
                <a:cubicBezTo>
                  <a:pt x="24971" y="106788"/>
                  <a:pt x="25664" y="107889"/>
                  <a:pt x="25664" y="107889"/>
                </a:cubicBezTo>
                <a:cubicBezTo>
                  <a:pt x="26358" y="107889"/>
                  <a:pt x="27052" y="108990"/>
                  <a:pt x="27052" y="108990"/>
                </a:cubicBezTo>
                <a:cubicBezTo>
                  <a:pt x="27052" y="108990"/>
                  <a:pt x="28439" y="111192"/>
                  <a:pt x="28439" y="111192"/>
                </a:cubicBezTo>
                <a:cubicBezTo>
                  <a:pt x="28439" y="112293"/>
                  <a:pt x="27745" y="113394"/>
                  <a:pt x="27745" y="113394"/>
                </a:cubicBezTo>
                <a:cubicBezTo>
                  <a:pt x="27745" y="113394"/>
                  <a:pt x="29132" y="115596"/>
                  <a:pt x="29132" y="115596"/>
                </a:cubicBezTo>
                <a:cubicBezTo>
                  <a:pt x="29132" y="115596"/>
                  <a:pt x="29132" y="116697"/>
                  <a:pt x="29826" y="116697"/>
                </a:cubicBezTo>
                <a:cubicBezTo>
                  <a:pt x="30520" y="116697"/>
                  <a:pt x="31213" y="115596"/>
                  <a:pt x="31213" y="115596"/>
                </a:cubicBezTo>
                <a:cubicBezTo>
                  <a:pt x="31213" y="115596"/>
                  <a:pt x="32601" y="114495"/>
                  <a:pt x="32601" y="114495"/>
                </a:cubicBezTo>
                <a:cubicBezTo>
                  <a:pt x="32601" y="114495"/>
                  <a:pt x="33294" y="113394"/>
                  <a:pt x="33988" y="113394"/>
                </a:cubicBezTo>
                <a:cubicBezTo>
                  <a:pt x="34682" y="113394"/>
                  <a:pt x="35375" y="114495"/>
                  <a:pt x="36069" y="114495"/>
                </a:cubicBezTo>
                <a:cubicBezTo>
                  <a:pt x="36763" y="114495"/>
                  <a:pt x="38843" y="114495"/>
                  <a:pt x="38843" y="114495"/>
                </a:cubicBezTo>
                <a:cubicBezTo>
                  <a:pt x="38843" y="112293"/>
                  <a:pt x="38843" y="112293"/>
                  <a:pt x="38843" y="112293"/>
                </a:cubicBezTo>
                <a:cubicBezTo>
                  <a:pt x="38843" y="112293"/>
                  <a:pt x="38843" y="111192"/>
                  <a:pt x="39537" y="111192"/>
                </a:cubicBezTo>
                <a:cubicBezTo>
                  <a:pt x="40231" y="111192"/>
                  <a:pt x="40924" y="111192"/>
                  <a:pt x="40924" y="111192"/>
                </a:cubicBezTo>
                <a:cubicBezTo>
                  <a:pt x="40924" y="111192"/>
                  <a:pt x="40231" y="110091"/>
                  <a:pt x="40924" y="110091"/>
                </a:cubicBezTo>
                <a:cubicBezTo>
                  <a:pt x="40924" y="110091"/>
                  <a:pt x="42312" y="110091"/>
                  <a:pt x="43005" y="111192"/>
                </a:cubicBezTo>
                <a:cubicBezTo>
                  <a:pt x="43005" y="111192"/>
                  <a:pt x="44393" y="110091"/>
                  <a:pt x="44393" y="111192"/>
                </a:cubicBezTo>
                <a:cubicBezTo>
                  <a:pt x="44393" y="111192"/>
                  <a:pt x="45086" y="112293"/>
                  <a:pt x="45086" y="112293"/>
                </a:cubicBezTo>
                <a:cubicBezTo>
                  <a:pt x="45086" y="112293"/>
                  <a:pt x="45780" y="114495"/>
                  <a:pt x="45780" y="113394"/>
                </a:cubicBezTo>
                <a:cubicBezTo>
                  <a:pt x="46473" y="113394"/>
                  <a:pt x="46473" y="113394"/>
                  <a:pt x="47167" y="113394"/>
                </a:cubicBezTo>
                <a:cubicBezTo>
                  <a:pt x="47167" y="114495"/>
                  <a:pt x="48554" y="114495"/>
                  <a:pt x="49248" y="114495"/>
                </a:cubicBezTo>
                <a:cubicBezTo>
                  <a:pt x="49248" y="113394"/>
                  <a:pt x="49248" y="113394"/>
                  <a:pt x="49248" y="113394"/>
                </a:cubicBezTo>
                <a:cubicBezTo>
                  <a:pt x="49248" y="112293"/>
                  <a:pt x="48554" y="111192"/>
                  <a:pt x="49942" y="111192"/>
                </a:cubicBezTo>
                <a:cubicBezTo>
                  <a:pt x="50635" y="111192"/>
                  <a:pt x="50635" y="110091"/>
                  <a:pt x="51329" y="110091"/>
                </a:cubicBezTo>
                <a:cubicBezTo>
                  <a:pt x="52023" y="110091"/>
                  <a:pt x="52716" y="110091"/>
                  <a:pt x="52716" y="110091"/>
                </a:cubicBezTo>
                <a:cubicBezTo>
                  <a:pt x="52716" y="110091"/>
                  <a:pt x="52716" y="110091"/>
                  <a:pt x="53410" y="108990"/>
                </a:cubicBezTo>
                <a:cubicBezTo>
                  <a:pt x="54104" y="107889"/>
                  <a:pt x="54104" y="106788"/>
                  <a:pt x="54104" y="106788"/>
                </a:cubicBezTo>
                <a:cubicBezTo>
                  <a:pt x="54104" y="105688"/>
                  <a:pt x="54104" y="104587"/>
                  <a:pt x="54104" y="104587"/>
                </a:cubicBezTo>
                <a:cubicBezTo>
                  <a:pt x="54797" y="103486"/>
                  <a:pt x="54797" y="103486"/>
                  <a:pt x="54797" y="103486"/>
                </a:cubicBezTo>
                <a:cubicBezTo>
                  <a:pt x="55491" y="102385"/>
                  <a:pt x="55491" y="102385"/>
                  <a:pt x="55491" y="102385"/>
                </a:cubicBezTo>
                <a:cubicBezTo>
                  <a:pt x="55491" y="102385"/>
                  <a:pt x="55491" y="102385"/>
                  <a:pt x="56184" y="100183"/>
                </a:cubicBezTo>
                <a:cubicBezTo>
                  <a:pt x="56184" y="99082"/>
                  <a:pt x="56184" y="99082"/>
                  <a:pt x="56184" y="99082"/>
                </a:cubicBezTo>
                <a:cubicBezTo>
                  <a:pt x="56878" y="96880"/>
                  <a:pt x="56878" y="96880"/>
                  <a:pt x="56878" y="96880"/>
                </a:cubicBezTo>
                <a:cubicBezTo>
                  <a:pt x="56184" y="93577"/>
                  <a:pt x="56184" y="93577"/>
                  <a:pt x="56184" y="93577"/>
                </a:cubicBezTo>
                <a:cubicBezTo>
                  <a:pt x="55491" y="92477"/>
                  <a:pt x="55491" y="92477"/>
                  <a:pt x="55491" y="92477"/>
                </a:cubicBezTo>
                <a:cubicBezTo>
                  <a:pt x="56184" y="91376"/>
                  <a:pt x="56184" y="91376"/>
                  <a:pt x="56184" y="91376"/>
                </a:cubicBezTo>
                <a:cubicBezTo>
                  <a:pt x="56184" y="91376"/>
                  <a:pt x="56878" y="90275"/>
                  <a:pt x="57572" y="90275"/>
                </a:cubicBezTo>
                <a:cubicBezTo>
                  <a:pt x="58265" y="90275"/>
                  <a:pt x="58265" y="90275"/>
                  <a:pt x="58265" y="89174"/>
                </a:cubicBezTo>
                <a:cubicBezTo>
                  <a:pt x="58959" y="89174"/>
                  <a:pt x="60346" y="86972"/>
                  <a:pt x="60346" y="86972"/>
                </a:cubicBezTo>
                <a:cubicBezTo>
                  <a:pt x="60346" y="86972"/>
                  <a:pt x="60346" y="86972"/>
                  <a:pt x="61040" y="86972"/>
                </a:cubicBezTo>
                <a:cubicBezTo>
                  <a:pt x="61040" y="85871"/>
                  <a:pt x="61040" y="84770"/>
                  <a:pt x="61040" y="84770"/>
                </a:cubicBezTo>
                <a:cubicBezTo>
                  <a:pt x="61040" y="84770"/>
                  <a:pt x="61040" y="83669"/>
                  <a:pt x="61734" y="83669"/>
                </a:cubicBezTo>
                <a:cubicBezTo>
                  <a:pt x="62427" y="82568"/>
                  <a:pt x="65202" y="81467"/>
                  <a:pt x="65202" y="81467"/>
                </a:cubicBezTo>
                <a:cubicBezTo>
                  <a:pt x="65202" y="81467"/>
                  <a:pt x="64508" y="83669"/>
                  <a:pt x="64508" y="84770"/>
                </a:cubicBezTo>
                <a:cubicBezTo>
                  <a:pt x="64508" y="85871"/>
                  <a:pt x="65202" y="88073"/>
                  <a:pt x="65202" y="88073"/>
                </a:cubicBezTo>
                <a:cubicBezTo>
                  <a:pt x="65202" y="88073"/>
                  <a:pt x="64508" y="90275"/>
                  <a:pt x="64508" y="90275"/>
                </a:cubicBezTo>
                <a:cubicBezTo>
                  <a:pt x="64508" y="91376"/>
                  <a:pt x="64508" y="92477"/>
                  <a:pt x="64508" y="92477"/>
                </a:cubicBezTo>
                <a:cubicBezTo>
                  <a:pt x="65202" y="93577"/>
                  <a:pt x="65202" y="93577"/>
                  <a:pt x="65202" y="93577"/>
                </a:cubicBezTo>
                <a:cubicBezTo>
                  <a:pt x="65202" y="93577"/>
                  <a:pt x="65202" y="94678"/>
                  <a:pt x="65202" y="94678"/>
                </a:cubicBezTo>
                <a:cubicBezTo>
                  <a:pt x="65895" y="94678"/>
                  <a:pt x="66589" y="96880"/>
                  <a:pt x="66589" y="96880"/>
                </a:cubicBezTo>
                <a:cubicBezTo>
                  <a:pt x="67283" y="96880"/>
                  <a:pt x="67283" y="96880"/>
                  <a:pt x="67283" y="96880"/>
                </a:cubicBezTo>
                <a:cubicBezTo>
                  <a:pt x="67283" y="96880"/>
                  <a:pt x="67976" y="97981"/>
                  <a:pt x="67976" y="99082"/>
                </a:cubicBezTo>
                <a:cubicBezTo>
                  <a:pt x="67976" y="99082"/>
                  <a:pt x="68670" y="100183"/>
                  <a:pt x="69364" y="101284"/>
                </a:cubicBezTo>
                <a:cubicBezTo>
                  <a:pt x="69364" y="101284"/>
                  <a:pt x="70057" y="101284"/>
                  <a:pt x="70057" y="101284"/>
                </a:cubicBezTo>
                <a:cubicBezTo>
                  <a:pt x="70751" y="101284"/>
                  <a:pt x="71445" y="101284"/>
                  <a:pt x="71445" y="101284"/>
                </a:cubicBezTo>
                <a:cubicBezTo>
                  <a:pt x="71445" y="102385"/>
                  <a:pt x="72832" y="102385"/>
                  <a:pt x="73526" y="102385"/>
                </a:cubicBezTo>
                <a:cubicBezTo>
                  <a:pt x="73526" y="103486"/>
                  <a:pt x="74913" y="102385"/>
                  <a:pt x="74913" y="102385"/>
                </a:cubicBezTo>
                <a:cubicBezTo>
                  <a:pt x="75606" y="103486"/>
                  <a:pt x="75606" y="103486"/>
                  <a:pt x="75606" y="103486"/>
                </a:cubicBezTo>
                <a:cubicBezTo>
                  <a:pt x="76300" y="103486"/>
                  <a:pt x="76300" y="103486"/>
                  <a:pt x="76300" y="103486"/>
                </a:cubicBezTo>
                <a:cubicBezTo>
                  <a:pt x="76300" y="103486"/>
                  <a:pt x="76994" y="103486"/>
                  <a:pt x="76994" y="104587"/>
                </a:cubicBezTo>
                <a:cubicBezTo>
                  <a:pt x="76300" y="105688"/>
                  <a:pt x="76300" y="105688"/>
                  <a:pt x="76300" y="105688"/>
                </a:cubicBezTo>
                <a:cubicBezTo>
                  <a:pt x="76300" y="105688"/>
                  <a:pt x="76300" y="105688"/>
                  <a:pt x="76300" y="105688"/>
                </a:cubicBezTo>
                <a:cubicBezTo>
                  <a:pt x="75606" y="106788"/>
                  <a:pt x="74913" y="108990"/>
                  <a:pt x="74913" y="108990"/>
                </a:cubicBezTo>
                <a:cubicBezTo>
                  <a:pt x="76994" y="111192"/>
                  <a:pt x="76994" y="111192"/>
                  <a:pt x="76994" y="111192"/>
                </a:cubicBezTo>
                <a:cubicBezTo>
                  <a:pt x="76994" y="111192"/>
                  <a:pt x="77687" y="111192"/>
                  <a:pt x="77687" y="112293"/>
                </a:cubicBezTo>
                <a:cubicBezTo>
                  <a:pt x="78381" y="113394"/>
                  <a:pt x="78381" y="114495"/>
                  <a:pt x="78381" y="114495"/>
                </a:cubicBezTo>
                <a:cubicBezTo>
                  <a:pt x="78381" y="114495"/>
                  <a:pt x="78381" y="114495"/>
                  <a:pt x="78381" y="114495"/>
                </a:cubicBezTo>
                <a:cubicBezTo>
                  <a:pt x="78381" y="115596"/>
                  <a:pt x="78381" y="117798"/>
                  <a:pt x="78381" y="117798"/>
                </a:cubicBezTo>
                <a:cubicBezTo>
                  <a:pt x="78381" y="117798"/>
                  <a:pt x="76994" y="118899"/>
                  <a:pt x="78381" y="118899"/>
                </a:cubicBezTo>
                <a:cubicBezTo>
                  <a:pt x="79768" y="118899"/>
                  <a:pt x="79768" y="118899"/>
                  <a:pt x="79768" y="118899"/>
                </a:cubicBezTo>
                <a:cubicBezTo>
                  <a:pt x="80462" y="118899"/>
                  <a:pt x="81156" y="120000"/>
                  <a:pt x="81156" y="120000"/>
                </a:cubicBezTo>
                <a:cubicBezTo>
                  <a:pt x="81849" y="118899"/>
                  <a:pt x="81849" y="118899"/>
                  <a:pt x="81849" y="118899"/>
                </a:cubicBezTo>
                <a:cubicBezTo>
                  <a:pt x="81849" y="118899"/>
                  <a:pt x="81156" y="116697"/>
                  <a:pt x="82543" y="115596"/>
                </a:cubicBezTo>
                <a:cubicBezTo>
                  <a:pt x="83236" y="114495"/>
                  <a:pt x="83236" y="114495"/>
                  <a:pt x="83236" y="114495"/>
                </a:cubicBezTo>
                <a:cubicBezTo>
                  <a:pt x="83236" y="114495"/>
                  <a:pt x="81156" y="113394"/>
                  <a:pt x="81156" y="112293"/>
                </a:cubicBezTo>
                <a:cubicBezTo>
                  <a:pt x="81156" y="112293"/>
                  <a:pt x="80462" y="112293"/>
                  <a:pt x="81156" y="111192"/>
                </a:cubicBezTo>
                <a:cubicBezTo>
                  <a:pt x="81156" y="110091"/>
                  <a:pt x="80462" y="110091"/>
                  <a:pt x="81156" y="108990"/>
                </a:cubicBezTo>
                <a:cubicBezTo>
                  <a:pt x="81156" y="108990"/>
                  <a:pt x="81849" y="108990"/>
                  <a:pt x="81849" y="107889"/>
                </a:cubicBezTo>
                <a:cubicBezTo>
                  <a:pt x="81849" y="107889"/>
                  <a:pt x="81156" y="105688"/>
                  <a:pt x="81156" y="105688"/>
                </a:cubicBezTo>
                <a:cubicBezTo>
                  <a:pt x="82543" y="104587"/>
                  <a:pt x="82543" y="104587"/>
                  <a:pt x="82543" y="104587"/>
                </a:cubicBezTo>
                <a:cubicBezTo>
                  <a:pt x="82543" y="104587"/>
                  <a:pt x="82543" y="103486"/>
                  <a:pt x="82543" y="103486"/>
                </a:cubicBezTo>
                <a:cubicBezTo>
                  <a:pt x="82543" y="102385"/>
                  <a:pt x="82543" y="100183"/>
                  <a:pt x="82543" y="100183"/>
                </a:cubicBezTo>
                <a:cubicBezTo>
                  <a:pt x="83236" y="100183"/>
                  <a:pt x="83930" y="97981"/>
                  <a:pt x="83930" y="97981"/>
                </a:cubicBezTo>
                <a:cubicBezTo>
                  <a:pt x="83930" y="97981"/>
                  <a:pt x="85317" y="97981"/>
                  <a:pt x="85317" y="97981"/>
                </a:cubicBezTo>
                <a:cubicBezTo>
                  <a:pt x="85317" y="96880"/>
                  <a:pt x="86011" y="95779"/>
                  <a:pt x="86011" y="95779"/>
                </a:cubicBezTo>
                <a:cubicBezTo>
                  <a:pt x="86011" y="95779"/>
                  <a:pt x="86011" y="95779"/>
                  <a:pt x="86705" y="94678"/>
                </a:cubicBezTo>
                <a:cubicBezTo>
                  <a:pt x="86705" y="93577"/>
                  <a:pt x="86705" y="92477"/>
                  <a:pt x="86705" y="92477"/>
                </a:cubicBezTo>
                <a:cubicBezTo>
                  <a:pt x="86705" y="91376"/>
                  <a:pt x="87398" y="90275"/>
                  <a:pt x="87398" y="90275"/>
                </a:cubicBezTo>
                <a:cubicBezTo>
                  <a:pt x="87398" y="89174"/>
                  <a:pt x="87398" y="89174"/>
                  <a:pt x="87398" y="89174"/>
                </a:cubicBezTo>
                <a:cubicBezTo>
                  <a:pt x="87398" y="89174"/>
                  <a:pt x="87398" y="88073"/>
                  <a:pt x="87398" y="88073"/>
                </a:cubicBezTo>
                <a:cubicBezTo>
                  <a:pt x="87398" y="86972"/>
                  <a:pt x="87398" y="85871"/>
                  <a:pt x="87398" y="85871"/>
                </a:cubicBezTo>
                <a:cubicBezTo>
                  <a:pt x="87398" y="83669"/>
                  <a:pt x="87398" y="83669"/>
                  <a:pt x="87398" y="83669"/>
                </a:cubicBezTo>
                <a:cubicBezTo>
                  <a:pt x="86705" y="81467"/>
                  <a:pt x="86705" y="81467"/>
                  <a:pt x="86705" y="81467"/>
                </a:cubicBezTo>
                <a:cubicBezTo>
                  <a:pt x="86705" y="80366"/>
                  <a:pt x="86705" y="80366"/>
                  <a:pt x="86705" y="80366"/>
                </a:cubicBezTo>
                <a:cubicBezTo>
                  <a:pt x="88092" y="78165"/>
                  <a:pt x="88092" y="78165"/>
                  <a:pt x="88092" y="78165"/>
                </a:cubicBezTo>
                <a:cubicBezTo>
                  <a:pt x="88092" y="78165"/>
                  <a:pt x="88786" y="77064"/>
                  <a:pt x="88786" y="78165"/>
                </a:cubicBezTo>
                <a:cubicBezTo>
                  <a:pt x="89479" y="78165"/>
                  <a:pt x="90173" y="79266"/>
                  <a:pt x="90173" y="79266"/>
                </a:cubicBezTo>
                <a:cubicBezTo>
                  <a:pt x="90867" y="79266"/>
                  <a:pt x="90867" y="79266"/>
                  <a:pt x="90867" y="79266"/>
                </a:cubicBezTo>
                <a:cubicBezTo>
                  <a:pt x="92254" y="78165"/>
                  <a:pt x="92254" y="78165"/>
                  <a:pt x="92254" y="78165"/>
                </a:cubicBezTo>
                <a:cubicBezTo>
                  <a:pt x="92254" y="78165"/>
                  <a:pt x="92947" y="78165"/>
                  <a:pt x="92947" y="79266"/>
                </a:cubicBezTo>
                <a:cubicBezTo>
                  <a:pt x="92254" y="79266"/>
                  <a:pt x="91560" y="80366"/>
                  <a:pt x="92254" y="81467"/>
                </a:cubicBezTo>
                <a:cubicBezTo>
                  <a:pt x="92254" y="81467"/>
                  <a:pt x="92947" y="82568"/>
                  <a:pt x="92947" y="83669"/>
                </a:cubicBezTo>
                <a:cubicBezTo>
                  <a:pt x="92947" y="84770"/>
                  <a:pt x="92947" y="84770"/>
                  <a:pt x="92947" y="86972"/>
                </a:cubicBezTo>
                <a:cubicBezTo>
                  <a:pt x="92947" y="88073"/>
                  <a:pt x="94335" y="88073"/>
                  <a:pt x="94335" y="89174"/>
                </a:cubicBezTo>
                <a:cubicBezTo>
                  <a:pt x="95028" y="89174"/>
                  <a:pt x="93641" y="90275"/>
                  <a:pt x="95722" y="90275"/>
                </a:cubicBezTo>
                <a:cubicBezTo>
                  <a:pt x="97109" y="90275"/>
                  <a:pt x="98497" y="91376"/>
                  <a:pt x="98497" y="90275"/>
                </a:cubicBezTo>
                <a:cubicBezTo>
                  <a:pt x="99190" y="90275"/>
                  <a:pt x="99190" y="90275"/>
                  <a:pt x="99190" y="89174"/>
                </a:cubicBezTo>
                <a:cubicBezTo>
                  <a:pt x="98497" y="88073"/>
                  <a:pt x="99190" y="86972"/>
                  <a:pt x="99190" y="86972"/>
                </a:cubicBezTo>
                <a:cubicBezTo>
                  <a:pt x="99190" y="86972"/>
                  <a:pt x="99884" y="86972"/>
                  <a:pt x="99884" y="86972"/>
                </a:cubicBezTo>
                <a:cubicBezTo>
                  <a:pt x="100578" y="86972"/>
                  <a:pt x="100578" y="88073"/>
                  <a:pt x="101271" y="86972"/>
                </a:cubicBezTo>
                <a:cubicBezTo>
                  <a:pt x="101271" y="86972"/>
                  <a:pt x="101965" y="85871"/>
                  <a:pt x="101965" y="85871"/>
                </a:cubicBezTo>
                <a:cubicBezTo>
                  <a:pt x="103352" y="85871"/>
                  <a:pt x="103352" y="85871"/>
                  <a:pt x="103352" y="85871"/>
                </a:cubicBezTo>
                <a:cubicBezTo>
                  <a:pt x="103352" y="85871"/>
                  <a:pt x="102658" y="84770"/>
                  <a:pt x="104046" y="84770"/>
                </a:cubicBezTo>
                <a:cubicBezTo>
                  <a:pt x="104739" y="84770"/>
                  <a:pt x="106127" y="84770"/>
                  <a:pt x="106127" y="84770"/>
                </a:cubicBezTo>
                <a:cubicBezTo>
                  <a:pt x="106127" y="84770"/>
                  <a:pt x="106127" y="85871"/>
                  <a:pt x="106127" y="86972"/>
                </a:cubicBezTo>
                <a:cubicBezTo>
                  <a:pt x="106820" y="88073"/>
                  <a:pt x="106820" y="88073"/>
                  <a:pt x="106820" y="88073"/>
                </a:cubicBezTo>
                <a:cubicBezTo>
                  <a:pt x="106820" y="88073"/>
                  <a:pt x="106127" y="88073"/>
                  <a:pt x="106820" y="90275"/>
                </a:cubicBezTo>
                <a:cubicBezTo>
                  <a:pt x="107514" y="91376"/>
                  <a:pt x="108208" y="91376"/>
                  <a:pt x="108208" y="92477"/>
                </a:cubicBezTo>
                <a:cubicBezTo>
                  <a:pt x="108901" y="92477"/>
                  <a:pt x="108208" y="94678"/>
                  <a:pt x="108208" y="94678"/>
                </a:cubicBezTo>
                <a:cubicBezTo>
                  <a:pt x="108208" y="94678"/>
                  <a:pt x="109595" y="94678"/>
                  <a:pt x="109595" y="94678"/>
                </a:cubicBezTo>
                <a:cubicBezTo>
                  <a:pt x="109595" y="93577"/>
                  <a:pt x="109595" y="93577"/>
                  <a:pt x="110289" y="93577"/>
                </a:cubicBezTo>
                <a:cubicBezTo>
                  <a:pt x="110289" y="93577"/>
                  <a:pt x="110289" y="93577"/>
                  <a:pt x="110289" y="93577"/>
                </a:cubicBezTo>
                <a:cubicBezTo>
                  <a:pt x="110289" y="93577"/>
                  <a:pt x="110982" y="92477"/>
                  <a:pt x="110982" y="91376"/>
                </a:cubicBezTo>
                <a:cubicBezTo>
                  <a:pt x="110982" y="91376"/>
                  <a:pt x="110982" y="88073"/>
                  <a:pt x="110289" y="88073"/>
                </a:cubicBezTo>
                <a:cubicBezTo>
                  <a:pt x="110289" y="88073"/>
                  <a:pt x="109595" y="88073"/>
                  <a:pt x="109595" y="86972"/>
                </a:cubicBezTo>
                <a:cubicBezTo>
                  <a:pt x="108901" y="85871"/>
                  <a:pt x="108901" y="85871"/>
                  <a:pt x="109595" y="85871"/>
                </a:cubicBezTo>
                <a:cubicBezTo>
                  <a:pt x="109595" y="85871"/>
                  <a:pt x="110289" y="84770"/>
                  <a:pt x="110289" y="84770"/>
                </a:cubicBezTo>
                <a:cubicBezTo>
                  <a:pt x="110289" y="84770"/>
                  <a:pt x="110982" y="83669"/>
                  <a:pt x="110289" y="83669"/>
                </a:cubicBezTo>
                <a:cubicBezTo>
                  <a:pt x="110289" y="82568"/>
                  <a:pt x="109595" y="81467"/>
                  <a:pt x="109595" y="81467"/>
                </a:cubicBezTo>
                <a:cubicBezTo>
                  <a:pt x="109595" y="81467"/>
                  <a:pt x="108901" y="82568"/>
                  <a:pt x="108208" y="81467"/>
                </a:cubicBezTo>
                <a:cubicBezTo>
                  <a:pt x="108208" y="81467"/>
                  <a:pt x="108208" y="81467"/>
                  <a:pt x="108208" y="80366"/>
                </a:cubicBezTo>
                <a:cubicBezTo>
                  <a:pt x="108208" y="80366"/>
                  <a:pt x="108208" y="78165"/>
                  <a:pt x="108208" y="78165"/>
                </a:cubicBezTo>
                <a:cubicBezTo>
                  <a:pt x="107514" y="78165"/>
                  <a:pt x="107514" y="78165"/>
                  <a:pt x="107514" y="78165"/>
                </a:cubicBezTo>
                <a:cubicBezTo>
                  <a:pt x="108208" y="75963"/>
                  <a:pt x="108208" y="75963"/>
                  <a:pt x="108208" y="75963"/>
                </a:cubicBezTo>
                <a:cubicBezTo>
                  <a:pt x="108208" y="74862"/>
                  <a:pt x="108208" y="74862"/>
                  <a:pt x="108208" y="74862"/>
                </a:cubicBezTo>
                <a:cubicBezTo>
                  <a:pt x="108208" y="74862"/>
                  <a:pt x="108208" y="73761"/>
                  <a:pt x="108901" y="73761"/>
                </a:cubicBezTo>
                <a:cubicBezTo>
                  <a:pt x="108901" y="72660"/>
                  <a:pt x="108901" y="72660"/>
                  <a:pt x="108901" y="71559"/>
                </a:cubicBezTo>
                <a:cubicBezTo>
                  <a:pt x="109595" y="71559"/>
                  <a:pt x="109595" y="70458"/>
                  <a:pt x="109595" y="70458"/>
                </a:cubicBezTo>
                <a:cubicBezTo>
                  <a:pt x="110289" y="70458"/>
                  <a:pt x="110982" y="70458"/>
                  <a:pt x="111676" y="70458"/>
                </a:cubicBezTo>
                <a:cubicBezTo>
                  <a:pt x="111676" y="70458"/>
                  <a:pt x="111676" y="69357"/>
                  <a:pt x="112369" y="69357"/>
                </a:cubicBezTo>
                <a:cubicBezTo>
                  <a:pt x="112369" y="69357"/>
                  <a:pt x="113063" y="70458"/>
                  <a:pt x="113063" y="70458"/>
                </a:cubicBezTo>
                <a:cubicBezTo>
                  <a:pt x="113063" y="70458"/>
                  <a:pt x="113063" y="70458"/>
                  <a:pt x="113063" y="71559"/>
                </a:cubicBezTo>
                <a:cubicBezTo>
                  <a:pt x="113063" y="71559"/>
                  <a:pt x="115144" y="73761"/>
                  <a:pt x="115144" y="73761"/>
                </a:cubicBezTo>
                <a:cubicBezTo>
                  <a:pt x="115144" y="73761"/>
                  <a:pt x="115144" y="73761"/>
                  <a:pt x="115838" y="73761"/>
                </a:cubicBezTo>
                <a:cubicBezTo>
                  <a:pt x="115838" y="73761"/>
                  <a:pt x="115144" y="73761"/>
                  <a:pt x="115838" y="73761"/>
                </a:cubicBezTo>
                <a:cubicBezTo>
                  <a:pt x="115838" y="74862"/>
                  <a:pt x="117919" y="73761"/>
                  <a:pt x="117919" y="73761"/>
                </a:cubicBezTo>
                <a:cubicBezTo>
                  <a:pt x="118612" y="73761"/>
                  <a:pt x="118612" y="73761"/>
                  <a:pt x="118612" y="73761"/>
                </a:cubicBezTo>
                <a:cubicBezTo>
                  <a:pt x="118612" y="73761"/>
                  <a:pt x="118612" y="73761"/>
                  <a:pt x="118612" y="72660"/>
                </a:cubicBezTo>
                <a:cubicBezTo>
                  <a:pt x="119306" y="72660"/>
                  <a:pt x="119306" y="71559"/>
                  <a:pt x="119306" y="70458"/>
                </a:cubicBezTo>
                <a:cubicBezTo>
                  <a:pt x="119306" y="70458"/>
                  <a:pt x="120000" y="70458"/>
                  <a:pt x="119306" y="69357"/>
                </a:cubicBezTo>
                <a:cubicBezTo>
                  <a:pt x="117919" y="68256"/>
                  <a:pt x="117225" y="68256"/>
                  <a:pt x="117225" y="68256"/>
                </a:cubicBezTo>
                <a:cubicBezTo>
                  <a:pt x="117225" y="68256"/>
                  <a:pt x="115838" y="66055"/>
                  <a:pt x="116531" y="66055"/>
                </a:cubicBezTo>
                <a:cubicBezTo>
                  <a:pt x="117225" y="64954"/>
                  <a:pt x="117919" y="63853"/>
                  <a:pt x="117919" y="63853"/>
                </a:cubicBezTo>
                <a:cubicBezTo>
                  <a:pt x="117225" y="61651"/>
                  <a:pt x="117225" y="61651"/>
                  <a:pt x="117225" y="61651"/>
                </a:cubicBezTo>
                <a:cubicBezTo>
                  <a:pt x="117919" y="60550"/>
                  <a:pt x="117919" y="60550"/>
                  <a:pt x="117919" y="60550"/>
                </a:cubicBezTo>
                <a:cubicBezTo>
                  <a:pt x="117225" y="58348"/>
                  <a:pt x="117225" y="58348"/>
                  <a:pt x="117225" y="58348"/>
                </a:cubicBezTo>
                <a:cubicBezTo>
                  <a:pt x="117225" y="58348"/>
                  <a:pt x="117919" y="57247"/>
                  <a:pt x="117919" y="57247"/>
                </a:cubicBezTo>
                <a:cubicBezTo>
                  <a:pt x="117919" y="56146"/>
                  <a:pt x="118612" y="52844"/>
                  <a:pt x="118612" y="52844"/>
                </a:cubicBezTo>
                <a:cubicBezTo>
                  <a:pt x="118612" y="52844"/>
                  <a:pt x="118612" y="51743"/>
                  <a:pt x="118612" y="50642"/>
                </a:cubicBezTo>
                <a:cubicBezTo>
                  <a:pt x="118612" y="50642"/>
                  <a:pt x="117919" y="49541"/>
                  <a:pt x="117919" y="49541"/>
                </a:cubicBezTo>
                <a:cubicBezTo>
                  <a:pt x="117225" y="48440"/>
                  <a:pt x="117225" y="48440"/>
                  <a:pt x="117225" y="48440"/>
                </a:cubicBezTo>
                <a:cubicBezTo>
                  <a:pt x="117225" y="48440"/>
                  <a:pt x="116531" y="46238"/>
                  <a:pt x="116531" y="46238"/>
                </a:cubicBezTo>
                <a:cubicBezTo>
                  <a:pt x="115838" y="47339"/>
                  <a:pt x="115144" y="47339"/>
                  <a:pt x="115144" y="47339"/>
                </a:cubicBezTo>
                <a:cubicBezTo>
                  <a:pt x="115144" y="47339"/>
                  <a:pt x="115144" y="49541"/>
                  <a:pt x="115144" y="49541"/>
                </a:cubicBezTo>
                <a:cubicBezTo>
                  <a:pt x="114450" y="50642"/>
                  <a:pt x="113757" y="50642"/>
                  <a:pt x="113757" y="50642"/>
                </a:cubicBezTo>
                <a:cubicBezTo>
                  <a:pt x="113757" y="50642"/>
                  <a:pt x="113757" y="50642"/>
                  <a:pt x="113757" y="50642"/>
                </a:cubicBezTo>
                <a:cubicBezTo>
                  <a:pt x="113063" y="50642"/>
                  <a:pt x="113063" y="50642"/>
                  <a:pt x="113063" y="50642"/>
                </a:cubicBezTo>
                <a:cubicBezTo>
                  <a:pt x="112369" y="52844"/>
                  <a:pt x="112369" y="52844"/>
                  <a:pt x="112369" y="52844"/>
                </a:cubicBezTo>
                <a:cubicBezTo>
                  <a:pt x="111676" y="53944"/>
                  <a:pt x="111676" y="53944"/>
                  <a:pt x="111676" y="53944"/>
                </a:cubicBezTo>
                <a:cubicBezTo>
                  <a:pt x="111676" y="53944"/>
                  <a:pt x="110289" y="55045"/>
                  <a:pt x="109595" y="55045"/>
                </a:cubicBezTo>
                <a:cubicBezTo>
                  <a:pt x="109595" y="55045"/>
                  <a:pt x="108208" y="55045"/>
                  <a:pt x="108208" y="55045"/>
                </a:cubicBezTo>
                <a:cubicBezTo>
                  <a:pt x="107514" y="53944"/>
                  <a:pt x="107514" y="53944"/>
                  <a:pt x="107514" y="53944"/>
                </a:cubicBezTo>
                <a:cubicBezTo>
                  <a:pt x="105433" y="52844"/>
                  <a:pt x="105433" y="52844"/>
                  <a:pt x="105433" y="52844"/>
                </a:cubicBezTo>
                <a:cubicBezTo>
                  <a:pt x="105433" y="52844"/>
                  <a:pt x="105433" y="52844"/>
                  <a:pt x="105433" y="52844"/>
                </a:cubicBezTo>
                <a:cubicBezTo>
                  <a:pt x="104046" y="51743"/>
                  <a:pt x="104046" y="51743"/>
                  <a:pt x="104046" y="51743"/>
                </a:cubicBezTo>
                <a:cubicBezTo>
                  <a:pt x="103352" y="50642"/>
                  <a:pt x="103352" y="50642"/>
                  <a:pt x="103352" y="50642"/>
                </a:cubicBezTo>
                <a:cubicBezTo>
                  <a:pt x="103352" y="48440"/>
                  <a:pt x="103352" y="48440"/>
                  <a:pt x="103352" y="48440"/>
                </a:cubicBezTo>
                <a:cubicBezTo>
                  <a:pt x="101965" y="46238"/>
                  <a:pt x="101965" y="46238"/>
                  <a:pt x="101965" y="46238"/>
                </a:cubicBezTo>
                <a:cubicBezTo>
                  <a:pt x="99190" y="45137"/>
                  <a:pt x="99190" y="45137"/>
                  <a:pt x="99190" y="45137"/>
                </a:cubicBezTo>
                <a:cubicBezTo>
                  <a:pt x="97109" y="44036"/>
                  <a:pt x="97109" y="44036"/>
                  <a:pt x="97109" y="44036"/>
                </a:cubicBezTo>
                <a:cubicBezTo>
                  <a:pt x="95722" y="44036"/>
                  <a:pt x="95722" y="44036"/>
                  <a:pt x="95722" y="44036"/>
                </a:cubicBezTo>
                <a:cubicBezTo>
                  <a:pt x="95722" y="44036"/>
                  <a:pt x="92947" y="44036"/>
                  <a:pt x="92947" y="44036"/>
                </a:cubicBezTo>
                <a:cubicBezTo>
                  <a:pt x="92947" y="44036"/>
                  <a:pt x="92254" y="44036"/>
                  <a:pt x="92254" y="44036"/>
                </a:cubicBezTo>
                <a:cubicBezTo>
                  <a:pt x="92254" y="44036"/>
                  <a:pt x="92254" y="44036"/>
                  <a:pt x="92254" y="44036"/>
                </a:cubicBezTo>
                <a:cubicBezTo>
                  <a:pt x="92254" y="44036"/>
                  <a:pt x="92254" y="44036"/>
                  <a:pt x="92254" y="44036"/>
                </a:cubicBezTo>
                <a:cubicBezTo>
                  <a:pt x="92254" y="44036"/>
                  <a:pt x="92254" y="44036"/>
                  <a:pt x="92254" y="44036"/>
                </a:cubicBezTo>
                <a:cubicBezTo>
                  <a:pt x="92254" y="44036"/>
                  <a:pt x="92254" y="44036"/>
                  <a:pt x="92254" y="44036"/>
                </a:cubicBezTo>
                <a:cubicBezTo>
                  <a:pt x="92254" y="44036"/>
                  <a:pt x="92254" y="44036"/>
                  <a:pt x="92254" y="44036"/>
                </a:cubicBezTo>
                <a:cubicBezTo>
                  <a:pt x="91560" y="44036"/>
                  <a:pt x="91560" y="44036"/>
                  <a:pt x="91560" y="44036"/>
                </a:cubicBezTo>
                <a:cubicBezTo>
                  <a:pt x="92254" y="41834"/>
                  <a:pt x="92254" y="41834"/>
                  <a:pt x="92254" y="41834"/>
                </a:cubicBezTo>
                <a:cubicBezTo>
                  <a:pt x="92947" y="41834"/>
                  <a:pt x="92947" y="41834"/>
                  <a:pt x="92947" y="41834"/>
                </a:cubicBezTo>
                <a:cubicBezTo>
                  <a:pt x="92947" y="40733"/>
                  <a:pt x="92947" y="40733"/>
                  <a:pt x="92947" y="40733"/>
                </a:cubicBezTo>
                <a:cubicBezTo>
                  <a:pt x="92947" y="40733"/>
                  <a:pt x="92254" y="39633"/>
                  <a:pt x="92254" y="39633"/>
                </a:cubicBezTo>
                <a:cubicBezTo>
                  <a:pt x="92254" y="39633"/>
                  <a:pt x="92254" y="38532"/>
                  <a:pt x="92254" y="38532"/>
                </a:cubicBezTo>
                <a:cubicBezTo>
                  <a:pt x="92254" y="38532"/>
                  <a:pt x="92254" y="38532"/>
                  <a:pt x="92254" y="38532"/>
                </a:cubicBezTo>
                <a:cubicBezTo>
                  <a:pt x="92254" y="38532"/>
                  <a:pt x="92254" y="37431"/>
                  <a:pt x="92254" y="37431"/>
                </a:cubicBezTo>
                <a:cubicBezTo>
                  <a:pt x="92254" y="37431"/>
                  <a:pt x="92254" y="37431"/>
                  <a:pt x="92254" y="37431"/>
                </a:cubicBezTo>
                <a:cubicBezTo>
                  <a:pt x="92254" y="36330"/>
                  <a:pt x="92254" y="36330"/>
                  <a:pt x="92254" y="36330"/>
                </a:cubicBezTo>
                <a:cubicBezTo>
                  <a:pt x="92947" y="33027"/>
                  <a:pt x="92947" y="33027"/>
                  <a:pt x="92947" y="33027"/>
                </a:cubicBezTo>
                <a:cubicBezTo>
                  <a:pt x="94335" y="30825"/>
                  <a:pt x="94335" y="30825"/>
                  <a:pt x="94335" y="30825"/>
                </a:cubicBezTo>
                <a:cubicBezTo>
                  <a:pt x="94335" y="30825"/>
                  <a:pt x="94335" y="28623"/>
                  <a:pt x="95028" y="28623"/>
                </a:cubicBezTo>
                <a:cubicBezTo>
                  <a:pt x="95028" y="27522"/>
                  <a:pt x="95028" y="26422"/>
                  <a:pt x="95028" y="26422"/>
                </a:cubicBezTo>
                <a:cubicBezTo>
                  <a:pt x="96416" y="25321"/>
                  <a:pt x="96416" y="25321"/>
                  <a:pt x="96416" y="25321"/>
                </a:cubicBezTo>
                <a:cubicBezTo>
                  <a:pt x="96416" y="25321"/>
                  <a:pt x="97109" y="24220"/>
                  <a:pt x="97109" y="24220"/>
                </a:cubicBezTo>
                <a:cubicBezTo>
                  <a:pt x="97109" y="23119"/>
                  <a:pt x="96416" y="22018"/>
                  <a:pt x="96416" y="22018"/>
                </a:cubicBezTo>
                <a:cubicBezTo>
                  <a:pt x="96416" y="20917"/>
                  <a:pt x="97109" y="19816"/>
                  <a:pt x="97109" y="19816"/>
                </a:cubicBezTo>
                <a:cubicBezTo>
                  <a:pt x="96416" y="19816"/>
                  <a:pt x="96416" y="18715"/>
                  <a:pt x="95722" y="18715"/>
                </a:cubicBezTo>
                <a:cubicBezTo>
                  <a:pt x="95722" y="18715"/>
                  <a:pt x="95028" y="18715"/>
                  <a:pt x="95028" y="17614"/>
                </a:cubicBezTo>
                <a:cubicBezTo>
                  <a:pt x="95028" y="17614"/>
                  <a:pt x="94335" y="16513"/>
                  <a:pt x="94335" y="16513"/>
                </a:cubicBezTo>
                <a:cubicBezTo>
                  <a:pt x="94335" y="16513"/>
                  <a:pt x="94335" y="14311"/>
                  <a:pt x="93641" y="14311"/>
                </a:cubicBezTo>
                <a:cubicBezTo>
                  <a:pt x="93641" y="14311"/>
                  <a:pt x="92947" y="14311"/>
                  <a:pt x="92254" y="13211"/>
                </a:cubicBezTo>
                <a:cubicBezTo>
                  <a:pt x="91560" y="13211"/>
                  <a:pt x="90867" y="12110"/>
                  <a:pt x="90867" y="12110"/>
                </a:cubicBezTo>
                <a:cubicBezTo>
                  <a:pt x="90173" y="12110"/>
                  <a:pt x="88786" y="9908"/>
                  <a:pt x="88786" y="9908"/>
                </a:cubicBezTo>
                <a:cubicBezTo>
                  <a:pt x="88786" y="9908"/>
                  <a:pt x="88786" y="9908"/>
                  <a:pt x="88092" y="9908"/>
                </a:cubicBezTo>
                <a:cubicBezTo>
                  <a:pt x="88092" y="9908"/>
                  <a:pt x="87398" y="8807"/>
                  <a:pt x="87398" y="8807"/>
                </a:cubicBezTo>
                <a:cubicBezTo>
                  <a:pt x="86705" y="8807"/>
                  <a:pt x="86705" y="8807"/>
                  <a:pt x="86705" y="8807"/>
                </a:cubicBezTo>
                <a:cubicBezTo>
                  <a:pt x="86705" y="8807"/>
                  <a:pt x="86705" y="8807"/>
                  <a:pt x="86705" y="8807"/>
                </a:cubicBezTo>
                <a:cubicBezTo>
                  <a:pt x="86011" y="8807"/>
                  <a:pt x="86011" y="8807"/>
                  <a:pt x="85317" y="7706"/>
                </a:cubicBezTo>
                <a:cubicBezTo>
                  <a:pt x="83930" y="7706"/>
                  <a:pt x="84624" y="7706"/>
                  <a:pt x="83236" y="7706"/>
                </a:cubicBezTo>
                <a:cubicBezTo>
                  <a:pt x="82543" y="7706"/>
                  <a:pt x="81849" y="7706"/>
                  <a:pt x="81849" y="7706"/>
                </a:cubicBezTo>
                <a:cubicBezTo>
                  <a:pt x="81849" y="7706"/>
                  <a:pt x="81156" y="6605"/>
                  <a:pt x="79768" y="6605"/>
                </a:cubicBezTo>
                <a:cubicBezTo>
                  <a:pt x="79075" y="7706"/>
                  <a:pt x="77687" y="8807"/>
                  <a:pt x="76994" y="8807"/>
                </a:cubicBezTo>
                <a:cubicBezTo>
                  <a:pt x="76994" y="8807"/>
                  <a:pt x="76300" y="7706"/>
                  <a:pt x="76300" y="7706"/>
                </a:cubicBezTo>
                <a:cubicBezTo>
                  <a:pt x="76300" y="7706"/>
                  <a:pt x="76300" y="6605"/>
                  <a:pt x="76300" y="6605"/>
                </a:cubicBezTo>
                <a:cubicBezTo>
                  <a:pt x="76300" y="6605"/>
                  <a:pt x="75606" y="5504"/>
                  <a:pt x="74913" y="4403"/>
                </a:cubicBezTo>
                <a:cubicBezTo>
                  <a:pt x="74913" y="4403"/>
                  <a:pt x="74219" y="4403"/>
                  <a:pt x="74219" y="4403"/>
                </a:cubicBezTo>
                <a:cubicBezTo>
                  <a:pt x="74219" y="4403"/>
                  <a:pt x="74219" y="4403"/>
                  <a:pt x="74219" y="5504"/>
                </a:cubicBezTo>
                <a:cubicBezTo>
                  <a:pt x="74219" y="6605"/>
                  <a:pt x="75606" y="6605"/>
                  <a:pt x="74219" y="6605"/>
                </a:cubicBezTo>
                <a:cubicBezTo>
                  <a:pt x="73526" y="5504"/>
                  <a:pt x="72832" y="5504"/>
                  <a:pt x="72832" y="5504"/>
                </a:cubicBezTo>
                <a:cubicBezTo>
                  <a:pt x="70751" y="6605"/>
                  <a:pt x="70751" y="6605"/>
                  <a:pt x="70751" y="6605"/>
                </a:cubicBezTo>
                <a:cubicBezTo>
                  <a:pt x="71445" y="5504"/>
                  <a:pt x="71445" y="5504"/>
                  <a:pt x="71445" y="5504"/>
                </a:cubicBezTo>
                <a:cubicBezTo>
                  <a:pt x="71445" y="5504"/>
                  <a:pt x="72138" y="5504"/>
                  <a:pt x="72138" y="5504"/>
                </a:cubicBezTo>
                <a:cubicBezTo>
                  <a:pt x="72138" y="4403"/>
                  <a:pt x="72138" y="4403"/>
                  <a:pt x="72138" y="4403"/>
                </a:cubicBezTo>
                <a:cubicBezTo>
                  <a:pt x="72138" y="4403"/>
                  <a:pt x="72138" y="3302"/>
                  <a:pt x="72138" y="3302"/>
                </a:cubicBezTo>
                <a:cubicBezTo>
                  <a:pt x="72832" y="3302"/>
                  <a:pt x="73526" y="2201"/>
                  <a:pt x="72832" y="2201"/>
                </a:cubicBezTo>
                <a:cubicBezTo>
                  <a:pt x="72138" y="2201"/>
                  <a:pt x="71445" y="2201"/>
                  <a:pt x="71445" y="2201"/>
                </a:cubicBezTo>
                <a:cubicBezTo>
                  <a:pt x="71445" y="1100"/>
                  <a:pt x="71445" y="1100"/>
                  <a:pt x="71445" y="1100"/>
                </a:cubicBezTo>
                <a:cubicBezTo>
                  <a:pt x="71445" y="1100"/>
                  <a:pt x="70751" y="0"/>
                  <a:pt x="70751" y="0"/>
                </a:cubicBezTo>
                <a:cubicBezTo>
                  <a:pt x="70751" y="1100"/>
                  <a:pt x="70751" y="2201"/>
                  <a:pt x="70751" y="2201"/>
                </a:cubicBezTo>
                <a:cubicBezTo>
                  <a:pt x="70057" y="2201"/>
                  <a:pt x="70057" y="2201"/>
                  <a:pt x="70057" y="1100"/>
                </a:cubicBezTo>
                <a:cubicBezTo>
                  <a:pt x="70057" y="0"/>
                  <a:pt x="70057" y="0"/>
                  <a:pt x="70057" y="0"/>
                </a:cubicBezTo>
                <a:cubicBezTo>
                  <a:pt x="69364" y="0"/>
                  <a:pt x="68670" y="0"/>
                  <a:pt x="68670" y="0"/>
                </a:cubicBezTo>
                <a:cubicBezTo>
                  <a:pt x="68670" y="0"/>
                  <a:pt x="69364" y="1100"/>
                  <a:pt x="67976" y="1100"/>
                </a:cubicBezTo>
                <a:cubicBezTo>
                  <a:pt x="67283" y="1100"/>
                  <a:pt x="66589" y="2201"/>
                  <a:pt x="65895" y="2201"/>
                </a:cubicBezTo>
                <a:cubicBezTo>
                  <a:pt x="65202" y="3302"/>
                  <a:pt x="65202" y="4403"/>
                  <a:pt x="65202" y="4403"/>
                </a:cubicBezTo>
                <a:cubicBezTo>
                  <a:pt x="65202" y="5504"/>
                  <a:pt x="63815" y="5504"/>
                  <a:pt x="63815" y="6605"/>
                </a:cubicBezTo>
                <a:cubicBezTo>
                  <a:pt x="64508" y="6605"/>
                  <a:pt x="63815" y="6605"/>
                  <a:pt x="65202" y="7706"/>
                </a:cubicBezTo>
                <a:cubicBezTo>
                  <a:pt x="65895" y="7706"/>
                  <a:pt x="65895" y="7706"/>
                  <a:pt x="66589" y="7706"/>
                </a:cubicBezTo>
                <a:cubicBezTo>
                  <a:pt x="67283" y="8807"/>
                  <a:pt x="67976" y="7706"/>
                  <a:pt x="67976" y="7706"/>
                </a:cubicBezTo>
                <a:cubicBezTo>
                  <a:pt x="67976" y="7706"/>
                  <a:pt x="67976" y="7706"/>
                  <a:pt x="68670" y="8807"/>
                </a:cubicBezTo>
                <a:cubicBezTo>
                  <a:pt x="68670" y="8807"/>
                  <a:pt x="69364" y="7706"/>
                  <a:pt x="69364" y="8807"/>
                </a:cubicBezTo>
                <a:cubicBezTo>
                  <a:pt x="69364" y="9908"/>
                  <a:pt x="70057" y="11009"/>
                  <a:pt x="69364" y="11009"/>
                </a:cubicBezTo>
                <a:cubicBezTo>
                  <a:pt x="68670" y="11009"/>
                  <a:pt x="67976" y="12110"/>
                  <a:pt x="67976" y="11009"/>
                </a:cubicBezTo>
                <a:cubicBezTo>
                  <a:pt x="67976" y="11009"/>
                  <a:pt x="67976" y="9908"/>
                  <a:pt x="67283" y="9908"/>
                </a:cubicBezTo>
                <a:cubicBezTo>
                  <a:pt x="67283" y="9908"/>
                  <a:pt x="66589" y="9908"/>
                  <a:pt x="66589" y="9908"/>
                </a:cubicBezTo>
                <a:cubicBezTo>
                  <a:pt x="65895" y="12110"/>
                  <a:pt x="65895" y="12110"/>
                  <a:pt x="65895" y="12110"/>
                </a:cubicBezTo>
                <a:cubicBezTo>
                  <a:pt x="65895" y="12110"/>
                  <a:pt x="65895" y="13211"/>
                  <a:pt x="65202" y="13211"/>
                </a:cubicBezTo>
                <a:cubicBezTo>
                  <a:pt x="64508" y="13211"/>
                  <a:pt x="65202" y="13211"/>
                  <a:pt x="63815" y="13211"/>
                </a:cubicBezTo>
                <a:cubicBezTo>
                  <a:pt x="62427" y="13211"/>
                  <a:pt x="62427" y="12110"/>
                  <a:pt x="61734" y="12110"/>
                </a:cubicBezTo>
                <a:cubicBezTo>
                  <a:pt x="61734" y="12110"/>
                  <a:pt x="61734" y="12110"/>
                  <a:pt x="61040" y="12110"/>
                </a:cubicBezTo>
                <a:cubicBezTo>
                  <a:pt x="61040" y="12110"/>
                  <a:pt x="59653" y="9908"/>
                  <a:pt x="58959" y="12110"/>
                </a:cubicBezTo>
                <a:cubicBezTo>
                  <a:pt x="58265" y="13211"/>
                  <a:pt x="57572" y="14311"/>
                  <a:pt x="57572" y="14311"/>
                </a:cubicBezTo>
                <a:cubicBezTo>
                  <a:pt x="55491" y="14311"/>
                  <a:pt x="55491" y="14311"/>
                  <a:pt x="55491" y="14311"/>
                </a:cubicBezTo>
                <a:cubicBezTo>
                  <a:pt x="55491" y="14311"/>
                  <a:pt x="54797" y="14311"/>
                  <a:pt x="54104" y="14311"/>
                </a:cubicBezTo>
                <a:cubicBezTo>
                  <a:pt x="53410" y="14311"/>
                  <a:pt x="52716" y="14311"/>
                  <a:pt x="52716" y="14311"/>
                </a:cubicBezTo>
                <a:cubicBezTo>
                  <a:pt x="52023" y="15412"/>
                  <a:pt x="51329" y="12110"/>
                  <a:pt x="51329" y="12110"/>
                </a:cubicBezTo>
                <a:cubicBezTo>
                  <a:pt x="51329" y="12110"/>
                  <a:pt x="52023" y="9908"/>
                  <a:pt x="49942" y="12110"/>
                </a:cubicBezTo>
                <a:cubicBezTo>
                  <a:pt x="47861" y="14311"/>
                  <a:pt x="47167" y="14311"/>
                  <a:pt x="47167" y="14311"/>
                </a:cubicBezTo>
                <a:cubicBezTo>
                  <a:pt x="46473" y="14311"/>
                  <a:pt x="45780" y="15412"/>
                  <a:pt x="45780" y="15412"/>
                </a:cubicBezTo>
                <a:cubicBezTo>
                  <a:pt x="45086" y="14311"/>
                  <a:pt x="45086" y="14311"/>
                  <a:pt x="45086" y="14311"/>
                </a:cubicBezTo>
                <a:cubicBezTo>
                  <a:pt x="45086" y="14311"/>
                  <a:pt x="45086" y="14311"/>
                  <a:pt x="45086" y="14311"/>
                </a:cubicBezTo>
                <a:cubicBezTo>
                  <a:pt x="45086" y="14311"/>
                  <a:pt x="45086" y="14311"/>
                  <a:pt x="45086" y="14311"/>
                </a:cubicBezTo>
                <a:cubicBezTo>
                  <a:pt x="45780" y="14311"/>
                  <a:pt x="45780" y="13211"/>
                  <a:pt x="45780" y="13211"/>
                </a:cubicBezTo>
                <a:cubicBezTo>
                  <a:pt x="45086" y="12110"/>
                  <a:pt x="45086" y="12110"/>
                  <a:pt x="45086" y="12110"/>
                </a:cubicBezTo>
                <a:cubicBezTo>
                  <a:pt x="43005" y="13211"/>
                  <a:pt x="43005" y="13211"/>
                  <a:pt x="43005" y="13211"/>
                </a:cubicBezTo>
                <a:cubicBezTo>
                  <a:pt x="43005" y="13211"/>
                  <a:pt x="43699" y="13211"/>
                  <a:pt x="43005" y="13211"/>
                </a:cubicBezTo>
                <a:cubicBezTo>
                  <a:pt x="43005" y="13211"/>
                  <a:pt x="41618" y="13211"/>
                  <a:pt x="41618" y="13211"/>
                </a:cubicBezTo>
                <a:cubicBezTo>
                  <a:pt x="41618" y="15412"/>
                  <a:pt x="41618" y="15412"/>
                  <a:pt x="41618" y="15412"/>
                </a:cubicBezTo>
                <a:cubicBezTo>
                  <a:pt x="41618" y="15412"/>
                  <a:pt x="40924" y="15412"/>
                  <a:pt x="40924" y="15412"/>
                </a:cubicBezTo>
                <a:cubicBezTo>
                  <a:pt x="40924" y="15412"/>
                  <a:pt x="40924" y="16513"/>
                  <a:pt x="40924" y="16513"/>
                </a:cubicBezTo>
                <a:cubicBezTo>
                  <a:pt x="40924" y="16513"/>
                  <a:pt x="40924" y="17614"/>
                  <a:pt x="40924" y="17614"/>
                </a:cubicBezTo>
                <a:cubicBezTo>
                  <a:pt x="40924" y="17614"/>
                  <a:pt x="40231" y="17614"/>
                  <a:pt x="40231" y="17614"/>
                </a:cubicBezTo>
                <a:cubicBezTo>
                  <a:pt x="40231" y="17614"/>
                  <a:pt x="39537" y="17614"/>
                  <a:pt x="39537" y="17614"/>
                </a:cubicBezTo>
                <a:cubicBezTo>
                  <a:pt x="39537" y="17614"/>
                  <a:pt x="38843" y="19816"/>
                  <a:pt x="38843" y="19816"/>
                </a:cubicBezTo>
                <a:cubicBezTo>
                  <a:pt x="38843" y="19816"/>
                  <a:pt x="38843" y="20917"/>
                  <a:pt x="38843" y="20917"/>
                </a:cubicBezTo>
                <a:cubicBezTo>
                  <a:pt x="38843" y="20917"/>
                  <a:pt x="38843" y="20917"/>
                  <a:pt x="38843" y="22018"/>
                </a:cubicBezTo>
                <a:cubicBezTo>
                  <a:pt x="38150" y="22018"/>
                  <a:pt x="37456" y="22018"/>
                  <a:pt x="37456" y="22018"/>
                </a:cubicBezTo>
                <a:cubicBezTo>
                  <a:pt x="37456" y="22018"/>
                  <a:pt x="36763" y="22018"/>
                  <a:pt x="36069" y="22018"/>
                </a:cubicBezTo>
                <a:cubicBezTo>
                  <a:pt x="36069" y="22018"/>
                  <a:pt x="35375" y="22018"/>
                  <a:pt x="35375" y="22018"/>
                </a:cubicBezTo>
                <a:cubicBezTo>
                  <a:pt x="34682" y="22018"/>
                  <a:pt x="34682" y="23119"/>
                  <a:pt x="34682" y="23119"/>
                </a:cubicBezTo>
                <a:cubicBezTo>
                  <a:pt x="34682" y="23119"/>
                  <a:pt x="33294" y="22018"/>
                  <a:pt x="33294" y="22018"/>
                </a:cubicBezTo>
                <a:cubicBezTo>
                  <a:pt x="32601" y="22018"/>
                  <a:pt x="32601" y="20917"/>
                  <a:pt x="32601" y="19816"/>
                </a:cubicBezTo>
                <a:cubicBezTo>
                  <a:pt x="32601" y="19816"/>
                  <a:pt x="31907" y="17614"/>
                  <a:pt x="31907" y="17614"/>
                </a:cubicBezTo>
                <a:cubicBezTo>
                  <a:pt x="31213" y="18715"/>
                  <a:pt x="31213" y="18715"/>
                  <a:pt x="31213" y="18715"/>
                </a:cubicBezTo>
                <a:cubicBezTo>
                  <a:pt x="29132" y="18715"/>
                  <a:pt x="29132" y="18715"/>
                  <a:pt x="29132" y="18715"/>
                </a:cubicBezTo>
                <a:cubicBezTo>
                  <a:pt x="27745" y="17614"/>
                  <a:pt x="27745" y="17614"/>
                  <a:pt x="27745" y="17614"/>
                </a:cubicBezTo>
                <a:cubicBezTo>
                  <a:pt x="27745" y="19816"/>
                  <a:pt x="27745" y="19816"/>
                  <a:pt x="27745" y="19816"/>
                </a:cubicBezTo>
                <a:cubicBezTo>
                  <a:pt x="27745" y="19816"/>
                  <a:pt x="28439" y="20917"/>
                  <a:pt x="28439" y="20917"/>
                </a:cubicBezTo>
                <a:cubicBezTo>
                  <a:pt x="28439" y="20917"/>
                  <a:pt x="27745" y="20917"/>
                  <a:pt x="27745" y="20917"/>
                </a:cubicBezTo>
                <a:cubicBezTo>
                  <a:pt x="27052" y="22018"/>
                  <a:pt x="27052" y="22018"/>
                  <a:pt x="27052" y="22018"/>
                </a:cubicBezTo>
                <a:cubicBezTo>
                  <a:pt x="26358" y="22018"/>
                  <a:pt x="26358" y="22018"/>
                  <a:pt x="26358" y="22018"/>
                </a:cubicBezTo>
                <a:cubicBezTo>
                  <a:pt x="26358" y="22018"/>
                  <a:pt x="25664" y="24220"/>
                  <a:pt x="25664" y="24220"/>
                </a:cubicBezTo>
                <a:cubicBezTo>
                  <a:pt x="25664" y="25321"/>
                  <a:pt x="24971" y="25321"/>
                  <a:pt x="24971" y="25321"/>
                </a:cubicBezTo>
                <a:cubicBezTo>
                  <a:pt x="24971" y="25321"/>
                  <a:pt x="24277" y="25321"/>
                  <a:pt x="24971" y="26422"/>
                </a:cubicBezTo>
                <a:cubicBezTo>
                  <a:pt x="25664" y="26422"/>
                  <a:pt x="26358" y="26422"/>
                  <a:pt x="26358" y="26422"/>
                </a:cubicBezTo>
                <a:cubicBezTo>
                  <a:pt x="27052" y="26422"/>
                  <a:pt x="27745" y="26422"/>
                  <a:pt x="27745" y="26422"/>
                </a:cubicBezTo>
                <a:cubicBezTo>
                  <a:pt x="27745" y="26422"/>
                  <a:pt x="29132" y="25321"/>
                  <a:pt x="29132" y="25321"/>
                </a:cubicBezTo>
                <a:cubicBezTo>
                  <a:pt x="29132" y="26422"/>
                  <a:pt x="29132" y="26422"/>
                  <a:pt x="29132" y="26422"/>
                </a:cubicBezTo>
                <a:cubicBezTo>
                  <a:pt x="29132" y="28623"/>
                  <a:pt x="29132" y="28623"/>
                  <a:pt x="29132" y="28623"/>
                </a:cubicBezTo>
                <a:cubicBezTo>
                  <a:pt x="28439" y="28623"/>
                  <a:pt x="28439" y="28623"/>
                  <a:pt x="28439" y="28623"/>
                </a:cubicBezTo>
                <a:cubicBezTo>
                  <a:pt x="28439" y="28623"/>
                  <a:pt x="28439" y="29724"/>
                  <a:pt x="28439" y="29724"/>
                </a:cubicBezTo>
                <a:cubicBezTo>
                  <a:pt x="27745" y="30825"/>
                  <a:pt x="27052" y="30825"/>
                  <a:pt x="27052" y="30825"/>
                </a:cubicBezTo>
                <a:cubicBezTo>
                  <a:pt x="26358" y="31926"/>
                  <a:pt x="26358" y="31926"/>
                  <a:pt x="26358" y="33027"/>
                </a:cubicBezTo>
                <a:cubicBezTo>
                  <a:pt x="26358" y="34128"/>
                  <a:pt x="25664" y="36330"/>
                  <a:pt x="25664" y="36330"/>
                </a:cubicBezTo>
                <a:cubicBezTo>
                  <a:pt x="24277" y="37431"/>
                  <a:pt x="24277" y="37431"/>
                  <a:pt x="24277" y="37431"/>
                </a:cubicBezTo>
                <a:cubicBezTo>
                  <a:pt x="22890" y="39633"/>
                  <a:pt x="22890" y="39633"/>
                  <a:pt x="22890" y="39633"/>
                </a:cubicBezTo>
                <a:cubicBezTo>
                  <a:pt x="22196" y="39633"/>
                  <a:pt x="22196" y="39633"/>
                  <a:pt x="22196" y="39633"/>
                </a:cubicBezTo>
                <a:cubicBezTo>
                  <a:pt x="21502" y="40733"/>
                  <a:pt x="21502" y="40733"/>
                  <a:pt x="21502" y="40733"/>
                </a:cubicBezTo>
                <a:cubicBezTo>
                  <a:pt x="21502" y="41834"/>
                  <a:pt x="21502" y="41834"/>
                  <a:pt x="21502" y="41834"/>
                </a:cubicBezTo>
                <a:cubicBezTo>
                  <a:pt x="20115" y="42935"/>
                  <a:pt x="20115" y="42935"/>
                  <a:pt x="20115" y="42935"/>
                </a:cubicBezTo>
                <a:cubicBezTo>
                  <a:pt x="20115" y="45137"/>
                  <a:pt x="20115" y="45137"/>
                  <a:pt x="20115" y="45137"/>
                </a:cubicBezTo>
                <a:cubicBezTo>
                  <a:pt x="19421" y="46238"/>
                  <a:pt x="19421" y="46238"/>
                  <a:pt x="19421" y="46238"/>
                </a:cubicBezTo>
                <a:cubicBezTo>
                  <a:pt x="18728" y="46238"/>
                  <a:pt x="18728" y="46238"/>
                  <a:pt x="18728" y="46238"/>
                </a:cubicBezTo>
                <a:cubicBezTo>
                  <a:pt x="18034" y="48440"/>
                  <a:pt x="18034" y="48440"/>
                  <a:pt x="18034" y="48440"/>
                </a:cubicBezTo>
                <a:cubicBezTo>
                  <a:pt x="18034" y="48440"/>
                  <a:pt x="17341" y="49541"/>
                  <a:pt x="17341" y="49541"/>
                </a:cubicBezTo>
                <a:cubicBezTo>
                  <a:pt x="16647" y="49541"/>
                  <a:pt x="15953" y="50642"/>
                  <a:pt x="15953" y="50642"/>
                </a:cubicBezTo>
                <a:cubicBezTo>
                  <a:pt x="14566" y="50642"/>
                  <a:pt x="14566" y="50642"/>
                  <a:pt x="14566" y="50642"/>
                </a:cubicBezTo>
                <a:cubicBezTo>
                  <a:pt x="14566" y="50642"/>
                  <a:pt x="13872" y="50642"/>
                  <a:pt x="13179" y="51743"/>
                </a:cubicBezTo>
                <a:cubicBezTo>
                  <a:pt x="13179" y="52844"/>
                  <a:pt x="13179" y="52844"/>
                  <a:pt x="13179" y="52844"/>
                </a:cubicBezTo>
                <a:cubicBezTo>
                  <a:pt x="13179" y="53944"/>
                  <a:pt x="13872" y="55045"/>
                  <a:pt x="13872" y="55045"/>
                </a:cubicBezTo>
                <a:cubicBezTo>
                  <a:pt x="13872" y="57247"/>
                  <a:pt x="13872" y="57247"/>
                  <a:pt x="13872" y="57247"/>
                </a:cubicBezTo>
                <a:cubicBezTo>
                  <a:pt x="13872" y="57247"/>
                  <a:pt x="13179" y="57247"/>
                  <a:pt x="13179" y="58348"/>
                </a:cubicBezTo>
                <a:cubicBezTo>
                  <a:pt x="13179" y="58348"/>
                  <a:pt x="13179" y="59449"/>
                  <a:pt x="13179" y="59449"/>
                </a:cubicBezTo>
                <a:cubicBezTo>
                  <a:pt x="13179" y="59449"/>
                  <a:pt x="13179" y="60550"/>
                  <a:pt x="13179" y="60550"/>
                </a:cubicBezTo>
                <a:cubicBezTo>
                  <a:pt x="13179" y="60550"/>
                  <a:pt x="13179" y="61651"/>
                  <a:pt x="13179" y="61651"/>
                </a:cubicBezTo>
                <a:cubicBezTo>
                  <a:pt x="13179" y="61651"/>
                  <a:pt x="13179" y="62752"/>
                  <a:pt x="12485" y="63853"/>
                </a:cubicBezTo>
                <a:cubicBezTo>
                  <a:pt x="12485" y="63853"/>
                  <a:pt x="11791" y="64954"/>
                  <a:pt x="11791" y="64954"/>
                </a:cubicBezTo>
                <a:cubicBezTo>
                  <a:pt x="11791" y="64954"/>
                  <a:pt x="10404" y="64954"/>
                  <a:pt x="10404" y="64954"/>
                </a:cubicBezTo>
                <a:cubicBezTo>
                  <a:pt x="10404" y="66055"/>
                  <a:pt x="9017" y="66055"/>
                  <a:pt x="9017" y="66055"/>
                </a:cubicBezTo>
                <a:cubicBezTo>
                  <a:pt x="7630" y="68256"/>
                  <a:pt x="7630" y="68256"/>
                  <a:pt x="7630" y="68256"/>
                </a:cubicBezTo>
                <a:cubicBezTo>
                  <a:pt x="4855" y="72660"/>
                  <a:pt x="4855" y="72660"/>
                  <a:pt x="4855" y="72660"/>
                </a:cubicBezTo>
                <a:cubicBezTo>
                  <a:pt x="4855" y="72660"/>
                  <a:pt x="4855" y="73761"/>
                  <a:pt x="4855" y="73761"/>
                </a:cubicBezTo>
                <a:cubicBezTo>
                  <a:pt x="4855" y="73761"/>
                  <a:pt x="4855" y="75963"/>
                  <a:pt x="4855" y="75963"/>
                </a:cubicBezTo>
                <a:cubicBezTo>
                  <a:pt x="4855" y="77064"/>
                  <a:pt x="4161" y="78165"/>
                  <a:pt x="4161" y="78165"/>
                </a:cubicBezTo>
                <a:cubicBezTo>
                  <a:pt x="3468" y="79266"/>
                  <a:pt x="3468" y="79266"/>
                  <a:pt x="3468" y="79266"/>
                </a:cubicBezTo>
                <a:cubicBezTo>
                  <a:pt x="3468" y="81467"/>
                  <a:pt x="3468" y="81467"/>
                  <a:pt x="3468" y="81467"/>
                </a:cubicBezTo>
                <a:cubicBezTo>
                  <a:pt x="3468" y="82568"/>
                  <a:pt x="3468" y="82568"/>
                  <a:pt x="3468" y="82568"/>
                </a:cubicBezTo>
                <a:cubicBezTo>
                  <a:pt x="4161" y="83669"/>
                  <a:pt x="4161" y="83669"/>
                  <a:pt x="4161" y="83669"/>
                </a:cubicBezTo>
                <a:cubicBezTo>
                  <a:pt x="4855" y="84770"/>
                  <a:pt x="4855" y="84770"/>
                  <a:pt x="4855" y="84770"/>
                </a:cubicBezTo>
                <a:cubicBezTo>
                  <a:pt x="4855" y="88073"/>
                  <a:pt x="4855" y="88073"/>
                  <a:pt x="4855" y="88073"/>
                </a:cubicBezTo>
                <a:cubicBezTo>
                  <a:pt x="4161" y="90275"/>
                  <a:pt x="4161" y="90275"/>
                  <a:pt x="4161" y="90275"/>
                </a:cubicBezTo>
                <a:cubicBezTo>
                  <a:pt x="4161" y="92477"/>
                  <a:pt x="4161" y="92477"/>
                  <a:pt x="4161" y="92477"/>
                </a:cubicBezTo>
                <a:cubicBezTo>
                  <a:pt x="2774" y="92477"/>
                  <a:pt x="2774" y="92477"/>
                  <a:pt x="2774" y="92477"/>
                </a:cubicBezTo>
                <a:cubicBezTo>
                  <a:pt x="2774" y="92477"/>
                  <a:pt x="2080" y="93577"/>
                  <a:pt x="1387" y="93577"/>
                </a:cubicBezTo>
                <a:cubicBezTo>
                  <a:pt x="1387" y="93577"/>
                  <a:pt x="693" y="94678"/>
                  <a:pt x="693" y="94678"/>
                </a:cubicBezTo>
                <a:cubicBezTo>
                  <a:pt x="0" y="95779"/>
                  <a:pt x="0" y="95779"/>
                  <a:pt x="0" y="95779"/>
                </a:cubicBezTo>
                <a:cubicBezTo>
                  <a:pt x="693" y="96880"/>
                  <a:pt x="693" y="96880"/>
                  <a:pt x="693" y="96880"/>
                </a:cubicBezTo>
                <a:cubicBezTo>
                  <a:pt x="693" y="99082"/>
                  <a:pt x="693" y="99082"/>
                  <a:pt x="693" y="99082"/>
                </a:cubicBezTo>
                <a:cubicBezTo>
                  <a:pt x="1387" y="99082"/>
                  <a:pt x="1387" y="99082"/>
                  <a:pt x="1387" y="99082"/>
                </a:cubicBezTo>
                <a:cubicBezTo>
                  <a:pt x="2774" y="97981"/>
                  <a:pt x="2774" y="97981"/>
                  <a:pt x="2774" y="97981"/>
                </a:cubicBezTo>
                <a:cubicBezTo>
                  <a:pt x="4161" y="99082"/>
                  <a:pt x="4161" y="99082"/>
                  <a:pt x="4161" y="99082"/>
                </a:cubicBezTo>
                <a:cubicBezTo>
                  <a:pt x="6242" y="97981"/>
                  <a:pt x="6242" y="97981"/>
                  <a:pt x="6242" y="97981"/>
                </a:cubicBezTo>
                <a:cubicBezTo>
                  <a:pt x="6242" y="97981"/>
                  <a:pt x="6242" y="96880"/>
                  <a:pt x="6936" y="95779"/>
                </a:cubicBezTo>
                <a:cubicBezTo>
                  <a:pt x="7630" y="94678"/>
                  <a:pt x="8323" y="94678"/>
                  <a:pt x="8323" y="94678"/>
                </a:cubicBezTo>
                <a:cubicBezTo>
                  <a:pt x="9017" y="92477"/>
                  <a:pt x="9017" y="92477"/>
                  <a:pt x="9017" y="92477"/>
                </a:cubicBezTo>
                <a:cubicBezTo>
                  <a:pt x="8323" y="92477"/>
                  <a:pt x="8323" y="92477"/>
                  <a:pt x="8323" y="92477"/>
                </a:cubicBezTo>
                <a:cubicBezTo>
                  <a:pt x="8323" y="90275"/>
                  <a:pt x="8323" y="90275"/>
                  <a:pt x="8323" y="90275"/>
                </a:cubicBezTo>
                <a:cubicBezTo>
                  <a:pt x="6936" y="89174"/>
                  <a:pt x="6936" y="89174"/>
                  <a:pt x="6936" y="89174"/>
                </a:cubicBezTo>
                <a:cubicBezTo>
                  <a:pt x="6936" y="89174"/>
                  <a:pt x="6936" y="88073"/>
                  <a:pt x="6936" y="88073"/>
                </a:cubicBezTo>
                <a:cubicBezTo>
                  <a:pt x="7630" y="86972"/>
                  <a:pt x="8323" y="84770"/>
                  <a:pt x="8323" y="84770"/>
                </a:cubicBezTo>
                <a:cubicBezTo>
                  <a:pt x="10404" y="83669"/>
                  <a:pt x="10404" y="83669"/>
                  <a:pt x="10404" y="83669"/>
                </a:cubicBezTo>
                <a:cubicBezTo>
                  <a:pt x="12485" y="82568"/>
                  <a:pt x="12485" y="82568"/>
                  <a:pt x="12485" y="82568"/>
                </a:cubicBezTo>
                <a:cubicBezTo>
                  <a:pt x="13179" y="81467"/>
                  <a:pt x="13179" y="81467"/>
                  <a:pt x="13179" y="81467"/>
                </a:cubicBezTo>
                <a:cubicBezTo>
                  <a:pt x="14566" y="80366"/>
                  <a:pt x="14566" y="80366"/>
                  <a:pt x="14566" y="80366"/>
                </a:cubicBezTo>
                <a:cubicBezTo>
                  <a:pt x="14566" y="80366"/>
                  <a:pt x="16647" y="80366"/>
                  <a:pt x="16647" y="80366"/>
                </a:cubicBezTo>
                <a:cubicBezTo>
                  <a:pt x="16647" y="80366"/>
                  <a:pt x="19421" y="80366"/>
                  <a:pt x="19421" y="80366"/>
                </a:cubicBezTo>
                <a:lnTo>
                  <a:pt x="21502" y="82568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3022;p256">
            <a:extLst>
              <a:ext uri="{FF2B5EF4-FFF2-40B4-BE49-F238E27FC236}">
                <a16:creationId xmlns:a16="http://schemas.microsoft.com/office/drawing/2014/main" id="{47565560-72AC-E8B7-0A56-8CBCE3346C25}"/>
              </a:ext>
            </a:extLst>
          </p:cNvPr>
          <p:cNvSpPr/>
          <p:nvPr/>
        </p:nvSpPr>
        <p:spPr>
          <a:xfrm>
            <a:off x="9806592" y="2084278"/>
            <a:ext cx="794686" cy="47565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506" y="40298"/>
                </a:moveTo>
                <a:cubicBezTo>
                  <a:pt x="13271" y="35820"/>
                  <a:pt x="13271" y="35820"/>
                  <a:pt x="13271" y="35820"/>
                </a:cubicBezTo>
                <a:cubicBezTo>
                  <a:pt x="13271" y="35820"/>
                  <a:pt x="16589" y="31343"/>
                  <a:pt x="17142" y="31343"/>
                </a:cubicBezTo>
                <a:cubicBezTo>
                  <a:pt x="18248" y="30447"/>
                  <a:pt x="19907" y="28656"/>
                  <a:pt x="19907" y="29552"/>
                </a:cubicBezTo>
                <a:cubicBezTo>
                  <a:pt x="19907" y="30447"/>
                  <a:pt x="20460" y="36716"/>
                  <a:pt x="20460" y="36716"/>
                </a:cubicBezTo>
                <a:cubicBezTo>
                  <a:pt x="23225" y="38507"/>
                  <a:pt x="23225" y="38507"/>
                  <a:pt x="23225" y="38507"/>
                </a:cubicBezTo>
                <a:cubicBezTo>
                  <a:pt x="25437" y="41194"/>
                  <a:pt x="25437" y="41194"/>
                  <a:pt x="25437" y="41194"/>
                </a:cubicBezTo>
                <a:cubicBezTo>
                  <a:pt x="29861" y="44776"/>
                  <a:pt x="29861" y="44776"/>
                  <a:pt x="29861" y="44776"/>
                </a:cubicBezTo>
                <a:cubicBezTo>
                  <a:pt x="30414" y="47462"/>
                  <a:pt x="30414" y="47462"/>
                  <a:pt x="30414" y="47462"/>
                </a:cubicBezTo>
                <a:cubicBezTo>
                  <a:pt x="30414" y="47462"/>
                  <a:pt x="29861" y="49253"/>
                  <a:pt x="30967" y="51940"/>
                </a:cubicBezTo>
                <a:cubicBezTo>
                  <a:pt x="32626" y="54626"/>
                  <a:pt x="33179" y="54626"/>
                  <a:pt x="33732" y="57313"/>
                </a:cubicBezTo>
                <a:cubicBezTo>
                  <a:pt x="34285" y="59104"/>
                  <a:pt x="36497" y="60895"/>
                  <a:pt x="36497" y="60895"/>
                </a:cubicBezTo>
                <a:cubicBezTo>
                  <a:pt x="39262" y="61791"/>
                  <a:pt x="39262" y="61791"/>
                  <a:pt x="39262" y="61791"/>
                </a:cubicBezTo>
                <a:cubicBezTo>
                  <a:pt x="39262" y="61791"/>
                  <a:pt x="42027" y="63582"/>
                  <a:pt x="42580" y="62686"/>
                </a:cubicBezTo>
                <a:cubicBezTo>
                  <a:pt x="43133" y="61791"/>
                  <a:pt x="45898" y="58208"/>
                  <a:pt x="45898" y="57313"/>
                </a:cubicBezTo>
                <a:cubicBezTo>
                  <a:pt x="46451" y="56417"/>
                  <a:pt x="48110" y="52835"/>
                  <a:pt x="48663" y="51940"/>
                </a:cubicBezTo>
                <a:cubicBezTo>
                  <a:pt x="49216" y="51044"/>
                  <a:pt x="50875" y="44776"/>
                  <a:pt x="50875" y="43880"/>
                </a:cubicBezTo>
                <a:cubicBezTo>
                  <a:pt x="50875" y="42089"/>
                  <a:pt x="48663" y="34925"/>
                  <a:pt x="48110" y="33134"/>
                </a:cubicBezTo>
                <a:cubicBezTo>
                  <a:pt x="48110" y="31343"/>
                  <a:pt x="47557" y="25970"/>
                  <a:pt x="47557" y="25970"/>
                </a:cubicBezTo>
                <a:cubicBezTo>
                  <a:pt x="45345" y="18805"/>
                  <a:pt x="45345" y="18805"/>
                  <a:pt x="45345" y="18805"/>
                </a:cubicBezTo>
                <a:cubicBezTo>
                  <a:pt x="45345" y="18805"/>
                  <a:pt x="45345" y="14328"/>
                  <a:pt x="45898" y="14328"/>
                </a:cubicBezTo>
                <a:cubicBezTo>
                  <a:pt x="46451" y="13432"/>
                  <a:pt x="49216" y="9850"/>
                  <a:pt x="49216" y="9850"/>
                </a:cubicBezTo>
                <a:cubicBezTo>
                  <a:pt x="51981" y="5373"/>
                  <a:pt x="51981" y="5373"/>
                  <a:pt x="51981" y="5373"/>
                </a:cubicBezTo>
                <a:cubicBezTo>
                  <a:pt x="54746" y="2686"/>
                  <a:pt x="54746" y="2686"/>
                  <a:pt x="54746" y="2686"/>
                </a:cubicBezTo>
                <a:cubicBezTo>
                  <a:pt x="56958" y="0"/>
                  <a:pt x="56958" y="0"/>
                  <a:pt x="56958" y="0"/>
                </a:cubicBezTo>
                <a:cubicBezTo>
                  <a:pt x="59723" y="1791"/>
                  <a:pt x="59723" y="1791"/>
                  <a:pt x="59723" y="1791"/>
                </a:cubicBezTo>
                <a:cubicBezTo>
                  <a:pt x="61935" y="1791"/>
                  <a:pt x="61935" y="1791"/>
                  <a:pt x="61935" y="1791"/>
                </a:cubicBezTo>
                <a:cubicBezTo>
                  <a:pt x="64147" y="3582"/>
                  <a:pt x="64147" y="3582"/>
                  <a:pt x="64147" y="3582"/>
                </a:cubicBezTo>
                <a:cubicBezTo>
                  <a:pt x="66912" y="3582"/>
                  <a:pt x="66912" y="3582"/>
                  <a:pt x="66912" y="3582"/>
                </a:cubicBezTo>
                <a:cubicBezTo>
                  <a:pt x="69124" y="4477"/>
                  <a:pt x="69124" y="4477"/>
                  <a:pt x="69124" y="4477"/>
                </a:cubicBezTo>
                <a:cubicBezTo>
                  <a:pt x="71889" y="6268"/>
                  <a:pt x="71889" y="6268"/>
                  <a:pt x="71889" y="6268"/>
                </a:cubicBezTo>
                <a:cubicBezTo>
                  <a:pt x="76866" y="11641"/>
                  <a:pt x="76866" y="11641"/>
                  <a:pt x="76866" y="11641"/>
                </a:cubicBezTo>
                <a:cubicBezTo>
                  <a:pt x="78525" y="15223"/>
                  <a:pt x="78525" y="15223"/>
                  <a:pt x="78525" y="15223"/>
                </a:cubicBezTo>
                <a:cubicBezTo>
                  <a:pt x="80184" y="16119"/>
                  <a:pt x="80184" y="16119"/>
                  <a:pt x="80184" y="16119"/>
                </a:cubicBezTo>
                <a:cubicBezTo>
                  <a:pt x="80184" y="16119"/>
                  <a:pt x="81290" y="17910"/>
                  <a:pt x="82396" y="17014"/>
                </a:cubicBezTo>
                <a:cubicBezTo>
                  <a:pt x="82949" y="17014"/>
                  <a:pt x="83502" y="16119"/>
                  <a:pt x="84055" y="15223"/>
                </a:cubicBezTo>
                <a:cubicBezTo>
                  <a:pt x="85161" y="14328"/>
                  <a:pt x="85714" y="12537"/>
                  <a:pt x="85714" y="12537"/>
                </a:cubicBezTo>
                <a:cubicBezTo>
                  <a:pt x="86820" y="12537"/>
                  <a:pt x="86820" y="12537"/>
                  <a:pt x="86820" y="12537"/>
                </a:cubicBezTo>
                <a:cubicBezTo>
                  <a:pt x="87926" y="9850"/>
                  <a:pt x="87926" y="9850"/>
                  <a:pt x="87926" y="9850"/>
                </a:cubicBezTo>
                <a:cubicBezTo>
                  <a:pt x="92350" y="11641"/>
                  <a:pt x="92350" y="11641"/>
                  <a:pt x="92350" y="11641"/>
                </a:cubicBezTo>
                <a:cubicBezTo>
                  <a:pt x="94562" y="11641"/>
                  <a:pt x="94562" y="11641"/>
                  <a:pt x="94562" y="11641"/>
                </a:cubicBezTo>
                <a:cubicBezTo>
                  <a:pt x="97880" y="9850"/>
                  <a:pt x="97880" y="9850"/>
                  <a:pt x="97880" y="9850"/>
                </a:cubicBezTo>
                <a:cubicBezTo>
                  <a:pt x="99539" y="12537"/>
                  <a:pt x="99539" y="12537"/>
                  <a:pt x="99539" y="12537"/>
                </a:cubicBezTo>
                <a:cubicBezTo>
                  <a:pt x="99539" y="15223"/>
                  <a:pt x="99539" y="15223"/>
                  <a:pt x="99539" y="15223"/>
                </a:cubicBezTo>
                <a:cubicBezTo>
                  <a:pt x="101751" y="16119"/>
                  <a:pt x="101751" y="16119"/>
                  <a:pt x="101751" y="16119"/>
                </a:cubicBezTo>
                <a:cubicBezTo>
                  <a:pt x="101751" y="16119"/>
                  <a:pt x="103410" y="17910"/>
                  <a:pt x="103963" y="17910"/>
                </a:cubicBezTo>
                <a:cubicBezTo>
                  <a:pt x="104516" y="17910"/>
                  <a:pt x="105622" y="18805"/>
                  <a:pt x="105622" y="18805"/>
                </a:cubicBezTo>
                <a:cubicBezTo>
                  <a:pt x="106175" y="27761"/>
                  <a:pt x="106175" y="27761"/>
                  <a:pt x="106175" y="27761"/>
                </a:cubicBezTo>
                <a:cubicBezTo>
                  <a:pt x="105069" y="30447"/>
                  <a:pt x="105069" y="30447"/>
                  <a:pt x="105069" y="30447"/>
                </a:cubicBezTo>
                <a:cubicBezTo>
                  <a:pt x="106175" y="37611"/>
                  <a:pt x="106175" y="37611"/>
                  <a:pt x="106175" y="37611"/>
                </a:cubicBezTo>
                <a:cubicBezTo>
                  <a:pt x="106175" y="41194"/>
                  <a:pt x="106175" y="41194"/>
                  <a:pt x="106175" y="41194"/>
                </a:cubicBezTo>
                <a:cubicBezTo>
                  <a:pt x="108387" y="38507"/>
                  <a:pt x="108387" y="38507"/>
                  <a:pt x="108387" y="38507"/>
                </a:cubicBezTo>
                <a:cubicBezTo>
                  <a:pt x="110599" y="41194"/>
                  <a:pt x="110599" y="41194"/>
                  <a:pt x="110599" y="41194"/>
                </a:cubicBezTo>
                <a:cubicBezTo>
                  <a:pt x="109493" y="43880"/>
                  <a:pt x="109493" y="43880"/>
                  <a:pt x="109493" y="43880"/>
                </a:cubicBezTo>
                <a:cubicBezTo>
                  <a:pt x="112258" y="47462"/>
                  <a:pt x="112258" y="47462"/>
                  <a:pt x="112258" y="47462"/>
                </a:cubicBezTo>
                <a:cubicBezTo>
                  <a:pt x="114470" y="49253"/>
                  <a:pt x="114470" y="49253"/>
                  <a:pt x="114470" y="49253"/>
                </a:cubicBezTo>
                <a:cubicBezTo>
                  <a:pt x="113917" y="51940"/>
                  <a:pt x="113917" y="51940"/>
                  <a:pt x="113917" y="51940"/>
                </a:cubicBezTo>
                <a:cubicBezTo>
                  <a:pt x="113917" y="51940"/>
                  <a:pt x="114470" y="52835"/>
                  <a:pt x="115023" y="52835"/>
                </a:cubicBezTo>
                <a:cubicBezTo>
                  <a:pt x="115576" y="53731"/>
                  <a:pt x="116682" y="54626"/>
                  <a:pt x="116682" y="54626"/>
                </a:cubicBezTo>
                <a:cubicBezTo>
                  <a:pt x="116682" y="54626"/>
                  <a:pt x="117235" y="57313"/>
                  <a:pt x="117235" y="59104"/>
                </a:cubicBezTo>
                <a:cubicBezTo>
                  <a:pt x="117788" y="60000"/>
                  <a:pt x="120000" y="62686"/>
                  <a:pt x="120000" y="62686"/>
                </a:cubicBezTo>
                <a:cubicBezTo>
                  <a:pt x="119447" y="67164"/>
                  <a:pt x="119447" y="67164"/>
                  <a:pt x="119447" y="67164"/>
                </a:cubicBezTo>
                <a:cubicBezTo>
                  <a:pt x="119447" y="67164"/>
                  <a:pt x="119447" y="68955"/>
                  <a:pt x="119447" y="69850"/>
                </a:cubicBezTo>
                <a:cubicBezTo>
                  <a:pt x="119447" y="70746"/>
                  <a:pt x="119447" y="71641"/>
                  <a:pt x="119447" y="72537"/>
                </a:cubicBezTo>
                <a:cubicBezTo>
                  <a:pt x="119447" y="71641"/>
                  <a:pt x="119447" y="71641"/>
                  <a:pt x="119447" y="71641"/>
                </a:cubicBezTo>
                <a:cubicBezTo>
                  <a:pt x="116682" y="74328"/>
                  <a:pt x="116682" y="74328"/>
                  <a:pt x="116682" y="74328"/>
                </a:cubicBezTo>
                <a:cubicBezTo>
                  <a:pt x="116129" y="80597"/>
                  <a:pt x="116129" y="80597"/>
                  <a:pt x="116129" y="80597"/>
                </a:cubicBezTo>
                <a:cubicBezTo>
                  <a:pt x="113364" y="85074"/>
                  <a:pt x="113364" y="85074"/>
                  <a:pt x="113364" y="85074"/>
                </a:cubicBezTo>
                <a:cubicBezTo>
                  <a:pt x="114470" y="89552"/>
                  <a:pt x="114470" y="89552"/>
                  <a:pt x="114470" y="89552"/>
                </a:cubicBezTo>
                <a:cubicBezTo>
                  <a:pt x="113364" y="92238"/>
                  <a:pt x="113364" y="92238"/>
                  <a:pt x="113364" y="92238"/>
                </a:cubicBezTo>
                <a:cubicBezTo>
                  <a:pt x="108940" y="92238"/>
                  <a:pt x="108940" y="92238"/>
                  <a:pt x="108940" y="92238"/>
                </a:cubicBezTo>
                <a:cubicBezTo>
                  <a:pt x="108940" y="92238"/>
                  <a:pt x="108387" y="92238"/>
                  <a:pt x="106175" y="92238"/>
                </a:cubicBezTo>
                <a:cubicBezTo>
                  <a:pt x="103963" y="92238"/>
                  <a:pt x="104516" y="92238"/>
                  <a:pt x="104516" y="92238"/>
                </a:cubicBezTo>
                <a:cubicBezTo>
                  <a:pt x="102857" y="94925"/>
                  <a:pt x="102857" y="94925"/>
                  <a:pt x="102857" y="94925"/>
                </a:cubicBezTo>
                <a:cubicBezTo>
                  <a:pt x="102304" y="100298"/>
                  <a:pt x="102304" y="100298"/>
                  <a:pt x="102304" y="100298"/>
                </a:cubicBezTo>
                <a:cubicBezTo>
                  <a:pt x="102304" y="100298"/>
                  <a:pt x="101198" y="100298"/>
                  <a:pt x="98986" y="101194"/>
                </a:cubicBezTo>
                <a:cubicBezTo>
                  <a:pt x="97880" y="102089"/>
                  <a:pt x="97880" y="102985"/>
                  <a:pt x="97880" y="102985"/>
                </a:cubicBezTo>
                <a:cubicBezTo>
                  <a:pt x="97880" y="102985"/>
                  <a:pt x="97880" y="102985"/>
                  <a:pt x="97880" y="102985"/>
                </a:cubicBezTo>
                <a:cubicBezTo>
                  <a:pt x="96221" y="102985"/>
                  <a:pt x="96221" y="102985"/>
                  <a:pt x="96221" y="102985"/>
                </a:cubicBezTo>
                <a:cubicBezTo>
                  <a:pt x="93456" y="102089"/>
                  <a:pt x="93456" y="102089"/>
                  <a:pt x="93456" y="102089"/>
                </a:cubicBezTo>
                <a:cubicBezTo>
                  <a:pt x="91244" y="102089"/>
                  <a:pt x="91244" y="102089"/>
                  <a:pt x="91244" y="102089"/>
                </a:cubicBezTo>
                <a:cubicBezTo>
                  <a:pt x="90138" y="98507"/>
                  <a:pt x="90138" y="98507"/>
                  <a:pt x="90138" y="98507"/>
                </a:cubicBezTo>
                <a:cubicBezTo>
                  <a:pt x="88479" y="97611"/>
                  <a:pt x="88479" y="97611"/>
                  <a:pt x="88479" y="97611"/>
                </a:cubicBezTo>
                <a:cubicBezTo>
                  <a:pt x="86820" y="94029"/>
                  <a:pt x="86820" y="94029"/>
                  <a:pt x="86820" y="94029"/>
                </a:cubicBezTo>
                <a:cubicBezTo>
                  <a:pt x="84608" y="93134"/>
                  <a:pt x="84608" y="93134"/>
                  <a:pt x="84608" y="93134"/>
                </a:cubicBezTo>
                <a:cubicBezTo>
                  <a:pt x="83502" y="90447"/>
                  <a:pt x="83502" y="90447"/>
                  <a:pt x="83502" y="90447"/>
                </a:cubicBezTo>
                <a:cubicBezTo>
                  <a:pt x="80737" y="90447"/>
                  <a:pt x="80737" y="90447"/>
                  <a:pt x="80737" y="90447"/>
                </a:cubicBezTo>
                <a:cubicBezTo>
                  <a:pt x="79078" y="88656"/>
                  <a:pt x="79078" y="88656"/>
                  <a:pt x="79078" y="88656"/>
                </a:cubicBezTo>
                <a:cubicBezTo>
                  <a:pt x="78525" y="86865"/>
                  <a:pt x="78525" y="86865"/>
                  <a:pt x="78525" y="86865"/>
                </a:cubicBezTo>
                <a:cubicBezTo>
                  <a:pt x="76866" y="86865"/>
                  <a:pt x="76866" y="86865"/>
                  <a:pt x="76866" y="86865"/>
                </a:cubicBezTo>
                <a:cubicBezTo>
                  <a:pt x="74654" y="87761"/>
                  <a:pt x="74654" y="87761"/>
                  <a:pt x="74654" y="87761"/>
                </a:cubicBezTo>
                <a:cubicBezTo>
                  <a:pt x="70783" y="89552"/>
                  <a:pt x="70783" y="89552"/>
                  <a:pt x="70783" y="89552"/>
                </a:cubicBezTo>
                <a:cubicBezTo>
                  <a:pt x="68571" y="86865"/>
                  <a:pt x="68571" y="86865"/>
                  <a:pt x="68571" y="86865"/>
                </a:cubicBezTo>
                <a:cubicBezTo>
                  <a:pt x="68018" y="85970"/>
                  <a:pt x="68018" y="85970"/>
                  <a:pt x="68018" y="85970"/>
                </a:cubicBezTo>
                <a:cubicBezTo>
                  <a:pt x="65806" y="83283"/>
                  <a:pt x="65806" y="83283"/>
                  <a:pt x="65806" y="83283"/>
                </a:cubicBezTo>
                <a:cubicBezTo>
                  <a:pt x="64700" y="77910"/>
                  <a:pt x="64700" y="77910"/>
                  <a:pt x="64700" y="77910"/>
                </a:cubicBezTo>
                <a:cubicBezTo>
                  <a:pt x="64700" y="77910"/>
                  <a:pt x="62488" y="80597"/>
                  <a:pt x="61935" y="80597"/>
                </a:cubicBezTo>
                <a:cubicBezTo>
                  <a:pt x="61935" y="80597"/>
                  <a:pt x="60276" y="85074"/>
                  <a:pt x="60276" y="85074"/>
                </a:cubicBezTo>
                <a:cubicBezTo>
                  <a:pt x="59723" y="88656"/>
                  <a:pt x="59723" y="88656"/>
                  <a:pt x="59723" y="88656"/>
                </a:cubicBezTo>
                <a:cubicBezTo>
                  <a:pt x="56405" y="86865"/>
                  <a:pt x="56405" y="86865"/>
                  <a:pt x="56405" y="86865"/>
                </a:cubicBezTo>
                <a:cubicBezTo>
                  <a:pt x="56405" y="86865"/>
                  <a:pt x="54746" y="90447"/>
                  <a:pt x="54746" y="91343"/>
                </a:cubicBezTo>
                <a:cubicBezTo>
                  <a:pt x="54193" y="91343"/>
                  <a:pt x="51981" y="89552"/>
                  <a:pt x="51981" y="89552"/>
                </a:cubicBezTo>
                <a:cubicBezTo>
                  <a:pt x="48663" y="89552"/>
                  <a:pt x="48663" y="89552"/>
                  <a:pt x="48663" y="89552"/>
                </a:cubicBezTo>
                <a:cubicBezTo>
                  <a:pt x="48663" y="89552"/>
                  <a:pt x="45345" y="89552"/>
                  <a:pt x="44792" y="88656"/>
                </a:cubicBezTo>
                <a:cubicBezTo>
                  <a:pt x="44239" y="88656"/>
                  <a:pt x="44239" y="89552"/>
                  <a:pt x="44239" y="89552"/>
                </a:cubicBezTo>
                <a:cubicBezTo>
                  <a:pt x="41474" y="90447"/>
                  <a:pt x="41474" y="90447"/>
                  <a:pt x="41474" y="90447"/>
                </a:cubicBezTo>
                <a:cubicBezTo>
                  <a:pt x="38156" y="91343"/>
                  <a:pt x="38156" y="91343"/>
                  <a:pt x="38156" y="91343"/>
                </a:cubicBezTo>
                <a:cubicBezTo>
                  <a:pt x="38156" y="91343"/>
                  <a:pt x="37603" y="94925"/>
                  <a:pt x="37050" y="95820"/>
                </a:cubicBezTo>
                <a:cubicBezTo>
                  <a:pt x="36497" y="95820"/>
                  <a:pt x="34838" y="93134"/>
                  <a:pt x="34285" y="92238"/>
                </a:cubicBezTo>
                <a:cubicBezTo>
                  <a:pt x="34285" y="91343"/>
                  <a:pt x="32626" y="90447"/>
                  <a:pt x="32626" y="90447"/>
                </a:cubicBezTo>
                <a:cubicBezTo>
                  <a:pt x="30414" y="93134"/>
                  <a:pt x="30414" y="93134"/>
                  <a:pt x="30414" y="93134"/>
                </a:cubicBezTo>
                <a:cubicBezTo>
                  <a:pt x="30414" y="93134"/>
                  <a:pt x="26543" y="94029"/>
                  <a:pt x="25990" y="94029"/>
                </a:cubicBezTo>
                <a:cubicBezTo>
                  <a:pt x="25437" y="94029"/>
                  <a:pt x="22672" y="95820"/>
                  <a:pt x="22672" y="95820"/>
                </a:cubicBezTo>
                <a:cubicBezTo>
                  <a:pt x="18801" y="94925"/>
                  <a:pt x="18801" y="94925"/>
                  <a:pt x="18801" y="94925"/>
                </a:cubicBezTo>
                <a:cubicBezTo>
                  <a:pt x="17142" y="97611"/>
                  <a:pt x="17142" y="97611"/>
                  <a:pt x="17142" y="97611"/>
                </a:cubicBezTo>
                <a:cubicBezTo>
                  <a:pt x="13824" y="101194"/>
                  <a:pt x="13824" y="101194"/>
                  <a:pt x="13824" y="101194"/>
                </a:cubicBezTo>
                <a:cubicBezTo>
                  <a:pt x="11612" y="101194"/>
                  <a:pt x="11612" y="101194"/>
                  <a:pt x="11612" y="101194"/>
                </a:cubicBezTo>
                <a:cubicBezTo>
                  <a:pt x="10506" y="105671"/>
                  <a:pt x="10506" y="105671"/>
                  <a:pt x="10506" y="105671"/>
                </a:cubicBezTo>
                <a:cubicBezTo>
                  <a:pt x="8294" y="107462"/>
                  <a:pt x="8294" y="107462"/>
                  <a:pt x="8294" y="107462"/>
                </a:cubicBezTo>
                <a:cubicBezTo>
                  <a:pt x="7741" y="109253"/>
                  <a:pt x="7741" y="109253"/>
                  <a:pt x="7741" y="109253"/>
                </a:cubicBezTo>
                <a:cubicBezTo>
                  <a:pt x="7188" y="114626"/>
                  <a:pt x="7188" y="114626"/>
                  <a:pt x="7188" y="114626"/>
                </a:cubicBezTo>
                <a:cubicBezTo>
                  <a:pt x="7188" y="114626"/>
                  <a:pt x="5529" y="115522"/>
                  <a:pt x="4423" y="115522"/>
                </a:cubicBezTo>
                <a:cubicBezTo>
                  <a:pt x="3870" y="116417"/>
                  <a:pt x="4976" y="117313"/>
                  <a:pt x="4976" y="117313"/>
                </a:cubicBezTo>
                <a:cubicBezTo>
                  <a:pt x="4423" y="120000"/>
                  <a:pt x="4423" y="120000"/>
                  <a:pt x="4423" y="120000"/>
                </a:cubicBezTo>
                <a:cubicBezTo>
                  <a:pt x="4423" y="120000"/>
                  <a:pt x="3870" y="119104"/>
                  <a:pt x="3870" y="119104"/>
                </a:cubicBezTo>
                <a:cubicBezTo>
                  <a:pt x="3870" y="119104"/>
                  <a:pt x="3317" y="116417"/>
                  <a:pt x="2764" y="114626"/>
                </a:cubicBezTo>
                <a:cubicBezTo>
                  <a:pt x="1658" y="112835"/>
                  <a:pt x="552" y="104776"/>
                  <a:pt x="552" y="104776"/>
                </a:cubicBezTo>
                <a:cubicBezTo>
                  <a:pt x="1658" y="101194"/>
                  <a:pt x="1658" y="101194"/>
                  <a:pt x="1658" y="101194"/>
                </a:cubicBezTo>
                <a:cubicBezTo>
                  <a:pt x="1658" y="101194"/>
                  <a:pt x="1658" y="97611"/>
                  <a:pt x="1658" y="96716"/>
                </a:cubicBezTo>
                <a:cubicBezTo>
                  <a:pt x="1105" y="94925"/>
                  <a:pt x="552" y="86865"/>
                  <a:pt x="552" y="86865"/>
                </a:cubicBezTo>
                <a:cubicBezTo>
                  <a:pt x="552" y="86865"/>
                  <a:pt x="0" y="83283"/>
                  <a:pt x="0" y="82388"/>
                </a:cubicBezTo>
                <a:cubicBezTo>
                  <a:pt x="0" y="81492"/>
                  <a:pt x="3870" y="74328"/>
                  <a:pt x="3870" y="74328"/>
                </a:cubicBezTo>
                <a:cubicBezTo>
                  <a:pt x="3870" y="73432"/>
                  <a:pt x="4423" y="66268"/>
                  <a:pt x="4423" y="66268"/>
                </a:cubicBezTo>
                <a:cubicBezTo>
                  <a:pt x="3317" y="60895"/>
                  <a:pt x="3317" y="60895"/>
                  <a:pt x="3317" y="60895"/>
                </a:cubicBezTo>
                <a:cubicBezTo>
                  <a:pt x="4423" y="53731"/>
                  <a:pt x="4423" y="53731"/>
                  <a:pt x="4423" y="53731"/>
                </a:cubicBezTo>
                <a:cubicBezTo>
                  <a:pt x="5529" y="45671"/>
                  <a:pt x="5529" y="45671"/>
                  <a:pt x="5529" y="45671"/>
                </a:cubicBezTo>
                <a:cubicBezTo>
                  <a:pt x="5529" y="45671"/>
                  <a:pt x="6082" y="42089"/>
                  <a:pt x="6635" y="42089"/>
                </a:cubicBezTo>
                <a:cubicBezTo>
                  <a:pt x="7188" y="41194"/>
                  <a:pt x="10506" y="40298"/>
                  <a:pt x="10506" y="40298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" name="Google Shape;3023;p256">
            <a:extLst>
              <a:ext uri="{FF2B5EF4-FFF2-40B4-BE49-F238E27FC236}">
                <a16:creationId xmlns:a16="http://schemas.microsoft.com/office/drawing/2014/main" id="{26DAE527-94CD-BC34-2F08-6447A83A13BF}"/>
              </a:ext>
            </a:extLst>
          </p:cNvPr>
          <p:cNvSpPr/>
          <p:nvPr/>
        </p:nvSpPr>
        <p:spPr>
          <a:xfrm>
            <a:off x="9455131" y="4654934"/>
            <a:ext cx="577340" cy="494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0126" y="71654"/>
                </a:moveTo>
                <a:cubicBezTo>
                  <a:pt x="110886" y="71654"/>
                  <a:pt x="110886" y="71654"/>
                  <a:pt x="110886" y="71654"/>
                </a:cubicBezTo>
                <a:cubicBezTo>
                  <a:pt x="110886" y="71654"/>
                  <a:pt x="110886" y="71654"/>
                  <a:pt x="110886" y="71654"/>
                </a:cubicBezTo>
                <a:cubicBezTo>
                  <a:pt x="110126" y="71654"/>
                  <a:pt x="110126" y="71654"/>
                  <a:pt x="110126" y="71654"/>
                </a:cubicBezTo>
                <a:close/>
                <a:moveTo>
                  <a:pt x="100253" y="7769"/>
                </a:moveTo>
                <a:cubicBezTo>
                  <a:pt x="100253" y="7769"/>
                  <a:pt x="100253" y="7769"/>
                  <a:pt x="100253" y="7769"/>
                </a:cubicBezTo>
                <a:cubicBezTo>
                  <a:pt x="104810" y="8633"/>
                  <a:pt x="104810" y="8633"/>
                  <a:pt x="104810" y="8633"/>
                </a:cubicBezTo>
                <a:cubicBezTo>
                  <a:pt x="107088" y="9496"/>
                  <a:pt x="107088" y="9496"/>
                  <a:pt x="107088" y="9496"/>
                </a:cubicBezTo>
                <a:cubicBezTo>
                  <a:pt x="107088" y="12086"/>
                  <a:pt x="107088" y="12086"/>
                  <a:pt x="107088" y="12086"/>
                </a:cubicBezTo>
                <a:cubicBezTo>
                  <a:pt x="107088" y="15539"/>
                  <a:pt x="107088" y="15539"/>
                  <a:pt x="107088" y="15539"/>
                </a:cubicBezTo>
                <a:cubicBezTo>
                  <a:pt x="107088" y="18129"/>
                  <a:pt x="107088" y="18129"/>
                  <a:pt x="107088" y="18129"/>
                </a:cubicBezTo>
                <a:cubicBezTo>
                  <a:pt x="104810" y="21582"/>
                  <a:pt x="104810" y="21582"/>
                  <a:pt x="104810" y="21582"/>
                </a:cubicBezTo>
                <a:cubicBezTo>
                  <a:pt x="104810" y="21582"/>
                  <a:pt x="104050" y="24172"/>
                  <a:pt x="104050" y="24172"/>
                </a:cubicBezTo>
                <a:cubicBezTo>
                  <a:pt x="104050" y="25035"/>
                  <a:pt x="103291" y="26762"/>
                  <a:pt x="103291" y="26762"/>
                </a:cubicBezTo>
                <a:cubicBezTo>
                  <a:pt x="103291" y="26762"/>
                  <a:pt x="101772" y="25899"/>
                  <a:pt x="102531" y="28489"/>
                </a:cubicBezTo>
                <a:cubicBezTo>
                  <a:pt x="102531" y="31079"/>
                  <a:pt x="103291" y="30215"/>
                  <a:pt x="103291" y="31079"/>
                </a:cubicBezTo>
                <a:cubicBezTo>
                  <a:pt x="103291" y="31942"/>
                  <a:pt x="103291" y="33669"/>
                  <a:pt x="103291" y="34532"/>
                </a:cubicBezTo>
                <a:cubicBezTo>
                  <a:pt x="102531" y="35395"/>
                  <a:pt x="103291" y="35395"/>
                  <a:pt x="102531" y="36258"/>
                </a:cubicBezTo>
                <a:cubicBezTo>
                  <a:pt x="102531" y="37122"/>
                  <a:pt x="104050" y="37985"/>
                  <a:pt x="105569" y="37985"/>
                </a:cubicBezTo>
                <a:cubicBezTo>
                  <a:pt x="107088" y="38848"/>
                  <a:pt x="107088" y="37985"/>
                  <a:pt x="107848" y="37985"/>
                </a:cubicBezTo>
                <a:cubicBezTo>
                  <a:pt x="108607" y="37985"/>
                  <a:pt x="109367" y="38848"/>
                  <a:pt x="110126" y="38848"/>
                </a:cubicBezTo>
                <a:cubicBezTo>
                  <a:pt x="110886" y="39712"/>
                  <a:pt x="110886" y="39712"/>
                  <a:pt x="110886" y="40575"/>
                </a:cubicBezTo>
                <a:cubicBezTo>
                  <a:pt x="111645" y="41438"/>
                  <a:pt x="112405" y="42302"/>
                  <a:pt x="113164" y="43165"/>
                </a:cubicBezTo>
                <a:cubicBezTo>
                  <a:pt x="113924" y="43165"/>
                  <a:pt x="113924" y="42302"/>
                  <a:pt x="114683" y="42302"/>
                </a:cubicBezTo>
                <a:cubicBezTo>
                  <a:pt x="114683" y="43165"/>
                  <a:pt x="115443" y="44028"/>
                  <a:pt x="116202" y="44028"/>
                </a:cubicBezTo>
                <a:cubicBezTo>
                  <a:pt x="116202" y="44892"/>
                  <a:pt x="116962" y="45755"/>
                  <a:pt x="117721" y="45755"/>
                </a:cubicBezTo>
                <a:cubicBezTo>
                  <a:pt x="117721" y="45755"/>
                  <a:pt x="119240" y="46618"/>
                  <a:pt x="119240" y="46618"/>
                </a:cubicBezTo>
                <a:cubicBezTo>
                  <a:pt x="120000" y="47482"/>
                  <a:pt x="119240" y="48345"/>
                  <a:pt x="119240" y="48345"/>
                </a:cubicBezTo>
                <a:cubicBezTo>
                  <a:pt x="118481" y="48345"/>
                  <a:pt x="118481" y="50071"/>
                  <a:pt x="117721" y="50071"/>
                </a:cubicBezTo>
                <a:cubicBezTo>
                  <a:pt x="117721" y="50071"/>
                  <a:pt x="115443" y="50935"/>
                  <a:pt x="115443" y="50935"/>
                </a:cubicBezTo>
                <a:cubicBezTo>
                  <a:pt x="114683" y="50935"/>
                  <a:pt x="113924" y="50935"/>
                  <a:pt x="113164" y="50935"/>
                </a:cubicBezTo>
                <a:cubicBezTo>
                  <a:pt x="112405" y="50935"/>
                  <a:pt x="111645" y="50935"/>
                  <a:pt x="110886" y="50071"/>
                </a:cubicBezTo>
                <a:cubicBezTo>
                  <a:pt x="110126" y="50071"/>
                  <a:pt x="110126" y="50071"/>
                  <a:pt x="109367" y="50071"/>
                </a:cubicBezTo>
                <a:cubicBezTo>
                  <a:pt x="109367" y="50935"/>
                  <a:pt x="109367" y="52661"/>
                  <a:pt x="109367" y="52661"/>
                </a:cubicBezTo>
                <a:cubicBezTo>
                  <a:pt x="109367" y="52661"/>
                  <a:pt x="110126" y="53525"/>
                  <a:pt x="110886" y="54388"/>
                </a:cubicBezTo>
                <a:cubicBezTo>
                  <a:pt x="110886" y="54388"/>
                  <a:pt x="112405" y="56115"/>
                  <a:pt x="113164" y="56115"/>
                </a:cubicBezTo>
                <a:cubicBezTo>
                  <a:pt x="113164" y="56115"/>
                  <a:pt x="113924" y="56978"/>
                  <a:pt x="114683" y="57841"/>
                </a:cubicBezTo>
                <a:cubicBezTo>
                  <a:pt x="115443" y="59568"/>
                  <a:pt x="115443" y="60431"/>
                  <a:pt x="115443" y="60431"/>
                </a:cubicBezTo>
                <a:cubicBezTo>
                  <a:pt x="119240" y="63884"/>
                  <a:pt x="119240" y="63884"/>
                  <a:pt x="119240" y="63884"/>
                </a:cubicBezTo>
                <a:cubicBezTo>
                  <a:pt x="119240" y="63884"/>
                  <a:pt x="119240" y="64748"/>
                  <a:pt x="119240" y="67338"/>
                </a:cubicBezTo>
                <a:cubicBezTo>
                  <a:pt x="119240" y="70791"/>
                  <a:pt x="118481" y="69064"/>
                  <a:pt x="117721" y="69064"/>
                </a:cubicBezTo>
                <a:cubicBezTo>
                  <a:pt x="116962" y="69064"/>
                  <a:pt x="116202" y="69064"/>
                  <a:pt x="114683" y="68201"/>
                </a:cubicBezTo>
                <a:cubicBezTo>
                  <a:pt x="113924" y="68201"/>
                  <a:pt x="113924" y="68201"/>
                  <a:pt x="113924" y="68201"/>
                </a:cubicBezTo>
                <a:cubicBezTo>
                  <a:pt x="112405" y="70791"/>
                  <a:pt x="112405" y="70791"/>
                  <a:pt x="112405" y="70791"/>
                </a:cubicBezTo>
                <a:cubicBezTo>
                  <a:pt x="112405" y="70791"/>
                  <a:pt x="110886" y="70791"/>
                  <a:pt x="110126" y="71654"/>
                </a:cubicBezTo>
                <a:cubicBezTo>
                  <a:pt x="109367" y="71654"/>
                  <a:pt x="109367" y="71654"/>
                  <a:pt x="109367" y="71654"/>
                </a:cubicBezTo>
                <a:cubicBezTo>
                  <a:pt x="109367" y="71654"/>
                  <a:pt x="107848" y="72517"/>
                  <a:pt x="107848" y="72517"/>
                </a:cubicBezTo>
                <a:cubicBezTo>
                  <a:pt x="107848" y="72517"/>
                  <a:pt x="107088" y="73381"/>
                  <a:pt x="107088" y="73381"/>
                </a:cubicBezTo>
                <a:cubicBezTo>
                  <a:pt x="106329" y="73381"/>
                  <a:pt x="106329" y="73381"/>
                  <a:pt x="106329" y="73381"/>
                </a:cubicBezTo>
                <a:cubicBezTo>
                  <a:pt x="105569" y="72517"/>
                  <a:pt x="105569" y="72517"/>
                  <a:pt x="105569" y="72517"/>
                </a:cubicBezTo>
                <a:cubicBezTo>
                  <a:pt x="104810" y="71654"/>
                  <a:pt x="104810" y="71654"/>
                  <a:pt x="104810" y="71654"/>
                </a:cubicBezTo>
                <a:cubicBezTo>
                  <a:pt x="103291" y="73381"/>
                  <a:pt x="103291" y="73381"/>
                  <a:pt x="103291" y="73381"/>
                </a:cubicBezTo>
                <a:cubicBezTo>
                  <a:pt x="102531" y="74244"/>
                  <a:pt x="102531" y="74244"/>
                  <a:pt x="102531" y="74244"/>
                </a:cubicBezTo>
                <a:cubicBezTo>
                  <a:pt x="102531" y="74244"/>
                  <a:pt x="102531" y="75107"/>
                  <a:pt x="102531" y="75107"/>
                </a:cubicBezTo>
                <a:cubicBezTo>
                  <a:pt x="102531" y="75107"/>
                  <a:pt x="104050" y="75107"/>
                  <a:pt x="104050" y="75107"/>
                </a:cubicBezTo>
                <a:cubicBezTo>
                  <a:pt x="104050" y="76834"/>
                  <a:pt x="104050" y="76834"/>
                  <a:pt x="104050" y="76834"/>
                </a:cubicBezTo>
                <a:cubicBezTo>
                  <a:pt x="104050" y="76834"/>
                  <a:pt x="104050" y="76834"/>
                  <a:pt x="104810" y="76834"/>
                </a:cubicBezTo>
                <a:cubicBezTo>
                  <a:pt x="104810" y="76834"/>
                  <a:pt x="105569" y="77697"/>
                  <a:pt x="105569" y="77697"/>
                </a:cubicBezTo>
                <a:cubicBezTo>
                  <a:pt x="106329" y="78561"/>
                  <a:pt x="106329" y="78561"/>
                  <a:pt x="106329" y="78561"/>
                </a:cubicBezTo>
                <a:cubicBezTo>
                  <a:pt x="106329" y="80287"/>
                  <a:pt x="106329" y="80287"/>
                  <a:pt x="106329" y="80287"/>
                </a:cubicBezTo>
                <a:cubicBezTo>
                  <a:pt x="107848" y="81151"/>
                  <a:pt x="107848" y="81151"/>
                  <a:pt x="107848" y="81151"/>
                </a:cubicBezTo>
                <a:cubicBezTo>
                  <a:pt x="107848" y="82877"/>
                  <a:pt x="107848" y="82877"/>
                  <a:pt x="107848" y="82877"/>
                </a:cubicBezTo>
                <a:cubicBezTo>
                  <a:pt x="107088" y="83741"/>
                  <a:pt x="107088" y="83741"/>
                  <a:pt x="107088" y="83741"/>
                </a:cubicBezTo>
                <a:cubicBezTo>
                  <a:pt x="106329" y="84604"/>
                  <a:pt x="106329" y="84604"/>
                  <a:pt x="106329" y="84604"/>
                </a:cubicBezTo>
                <a:cubicBezTo>
                  <a:pt x="104810" y="84604"/>
                  <a:pt x="104810" y="84604"/>
                  <a:pt x="104810" y="84604"/>
                </a:cubicBezTo>
                <a:cubicBezTo>
                  <a:pt x="104810" y="83741"/>
                  <a:pt x="104810" y="83741"/>
                  <a:pt x="104810" y="83741"/>
                </a:cubicBezTo>
                <a:cubicBezTo>
                  <a:pt x="104050" y="82014"/>
                  <a:pt x="104050" y="82014"/>
                  <a:pt x="104050" y="82014"/>
                </a:cubicBezTo>
                <a:cubicBezTo>
                  <a:pt x="103291" y="81151"/>
                  <a:pt x="103291" y="81151"/>
                  <a:pt x="103291" y="81151"/>
                </a:cubicBezTo>
                <a:cubicBezTo>
                  <a:pt x="101012" y="82014"/>
                  <a:pt x="101012" y="82014"/>
                  <a:pt x="101012" y="82014"/>
                </a:cubicBezTo>
                <a:cubicBezTo>
                  <a:pt x="101012" y="83741"/>
                  <a:pt x="101012" y="83741"/>
                  <a:pt x="101012" y="83741"/>
                </a:cubicBezTo>
                <a:cubicBezTo>
                  <a:pt x="97215" y="87194"/>
                  <a:pt x="97215" y="87194"/>
                  <a:pt x="97215" y="87194"/>
                </a:cubicBezTo>
                <a:cubicBezTo>
                  <a:pt x="97974" y="88920"/>
                  <a:pt x="97974" y="88920"/>
                  <a:pt x="97974" y="88920"/>
                </a:cubicBezTo>
                <a:cubicBezTo>
                  <a:pt x="96455" y="90647"/>
                  <a:pt x="96455" y="90647"/>
                  <a:pt x="96455" y="90647"/>
                </a:cubicBezTo>
                <a:cubicBezTo>
                  <a:pt x="96455" y="93237"/>
                  <a:pt x="96455" y="93237"/>
                  <a:pt x="96455" y="93237"/>
                </a:cubicBezTo>
                <a:cubicBezTo>
                  <a:pt x="97215" y="95827"/>
                  <a:pt x="97215" y="95827"/>
                  <a:pt x="97215" y="95827"/>
                </a:cubicBezTo>
                <a:cubicBezTo>
                  <a:pt x="97215" y="97553"/>
                  <a:pt x="97215" y="97553"/>
                  <a:pt x="97215" y="97553"/>
                </a:cubicBezTo>
                <a:cubicBezTo>
                  <a:pt x="94177" y="98417"/>
                  <a:pt x="94177" y="98417"/>
                  <a:pt x="94177" y="98417"/>
                </a:cubicBezTo>
                <a:cubicBezTo>
                  <a:pt x="91898" y="99280"/>
                  <a:pt x="91898" y="99280"/>
                  <a:pt x="91898" y="99280"/>
                </a:cubicBezTo>
                <a:cubicBezTo>
                  <a:pt x="91898" y="101870"/>
                  <a:pt x="91898" y="101870"/>
                  <a:pt x="91898" y="101870"/>
                </a:cubicBezTo>
                <a:cubicBezTo>
                  <a:pt x="91898" y="102733"/>
                  <a:pt x="91898" y="102733"/>
                  <a:pt x="91898" y="102733"/>
                </a:cubicBezTo>
                <a:cubicBezTo>
                  <a:pt x="94177" y="106187"/>
                  <a:pt x="94177" y="106187"/>
                  <a:pt x="94177" y="106187"/>
                </a:cubicBezTo>
                <a:cubicBezTo>
                  <a:pt x="93417" y="107050"/>
                  <a:pt x="93417" y="107050"/>
                  <a:pt x="93417" y="107050"/>
                </a:cubicBezTo>
                <a:cubicBezTo>
                  <a:pt x="92658" y="107913"/>
                  <a:pt x="92658" y="107913"/>
                  <a:pt x="92658" y="107913"/>
                </a:cubicBezTo>
                <a:cubicBezTo>
                  <a:pt x="94936" y="111366"/>
                  <a:pt x="94936" y="111366"/>
                  <a:pt x="94936" y="111366"/>
                </a:cubicBezTo>
                <a:cubicBezTo>
                  <a:pt x="95696" y="112230"/>
                  <a:pt x="95696" y="112230"/>
                  <a:pt x="95696" y="112230"/>
                </a:cubicBezTo>
                <a:cubicBezTo>
                  <a:pt x="97215" y="112230"/>
                  <a:pt x="97215" y="112230"/>
                  <a:pt x="97215" y="112230"/>
                </a:cubicBezTo>
                <a:cubicBezTo>
                  <a:pt x="97215" y="113956"/>
                  <a:pt x="97215" y="113956"/>
                  <a:pt x="97215" y="113956"/>
                </a:cubicBezTo>
                <a:cubicBezTo>
                  <a:pt x="97215" y="114820"/>
                  <a:pt x="97215" y="114820"/>
                  <a:pt x="97215" y="114820"/>
                </a:cubicBezTo>
                <a:cubicBezTo>
                  <a:pt x="97215" y="116546"/>
                  <a:pt x="97215" y="116546"/>
                  <a:pt x="97215" y="116546"/>
                </a:cubicBezTo>
                <a:cubicBezTo>
                  <a:pt x="95696" y="118273"/>
                  <a:pt x="95696" y="118273"/>
                  <a:pt x="95696" y="118273"/>
                </a:cubicBezTo>
                <a:cubicBezTo>
                  <a:pt x="96455" y="120000"/>
                  <a:pt x="96455" y="120000"/>
                  <a:pt x="96455" y="120000"/>
                </a:cubicBezTo>
                <a:cubicBezTo>
                  <a:pt x="94936" y="119136"/>
                  <a:pt x="94936" y="119136"/>
                  <a:pt x="94936" y="119136"/>
                </a:cubicBezTo>
                <a:cubicBezTo>
                  <a:pt x="94177" y="120000"/>
                  <a:pt x="94177" y="120000"/>
                  <a:pt x="94177" y="120000"/>
                </a:cubicBezTo>
                <a:cubicBezTo>
                  <a:pt x="94177" y="120000"/>
                  <a:pt x="94177" y="120000"/>
                  <a:pt x="94177" y="120000"/>
                </a:cubicBezTo>
                <a:cubicBezTo>
                  <a:pt x="91898" y="119136"/>
                  <a:pt x="91898" y="119136"/>
                  <a:pt x="91898" y="119136"/>
                </a:cubicBezTo>
                <a:cubicBezTo>
                  <a:pt x="91898" y="119136"/>
                  <a:pt x="90379" y="120000"/>
                  <a:pt x="89620" y="120000"/>
                </a:cubicBezTo>
                <a:cubicBezTo>
                  <a:pt x="89620" y="120000"/>
                  <a:pt x="88860" y="120000"/>
                  <a:pt x="88860" y="120000"/>
                </a:cubicBezTo>
                <a:cubicBezTo>
                  <a:pt x="88860" y="120000"/>
                  <a:pt x="87341" y="119136"/>
                  <a:pt x="86582" y="119136"/>
                </a:cubicBezTo>
                <a:cubicBezTo>
                  <a:pt x="86582" y="119136"/>
                  <a:pt x="86582" y="119136"/>
                  <a:pt x="86582" y="119136"/>
                </a:cubicBezTo>
                <a:cubicBezTo>
                  <a:pt x="86582" y="119136"/>
                  <a:pt x="86582" y="119136"/>
                  <a:pt x="86582" y="119136"/>
                </a:cubicBezTo>
                <a:cubicBezTo>
                  <a:pt x="86582" y="119136"/>
                  <a:pt x="86582" y="119136"/>
                  <a:pt x="86582" y="119136"/>
                </a:cubicBezTo>
                <a:cubicBezTo>
                  <a:pt x="86582" y="119136"/>
                  <a:pt x="86582" y="119136"/>
                  <a:pt x="86582" y="119136"/>
                </a:cubicBezTo>
                <a:cubicBezTo>
                  <a:pt x="86582" y="119136"/>
                  <a:pt x="86582" y="119136"/>
                  <a:pt x="86582" y="119136"/>
                </a:cubicBezTo>
                <a:cubicBezTo>
                  <a:pt x="86582" y="118273"/>
                  <a:pt x="86582" y="118273"/>
                  <a:pt x="86582" y="118273"/>
                </a:cubicBezTo>
                <a:cubicBezTo>
                  <a:pt x="86582" y="118273"/>
                  <a:pt x="86582" y="118273"/>
                  <a:pt x="86582" y="118273"/>
                </a:cubicBezTo>
                <a:cubicBezTo>
                  <a:pt x="86582" y="118273"/>
                  <a:pt x="86582" y="118273"/>
                  <a:pt x="86582" y="118273"/>
                </a:cubicBezTo>
                <a:cubicBezTo>
                  <a:pt x="86582" y="118273"/>
                  <a:pt x="86582" y="118273"/>
                  <a:pt x="8658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822" y="118273"/>
                  <a:pt x="85822" y="118273"/>
                  <a:pt x="85822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5063" y="118273"/>
                  <a:pt x="85063" y="118273"/>
                  <a:pt x="85063" y="118273"/>
                </a:cubicBezTo>
                <a:cubicBezTo>
                  <a:pt x="80506" y="115683"/>
                  <a:pt x="80506" y="115683"/>
                  <a:pt x="80506" y="115683"/>
                </a:cubicBezTo>
                <a:cubicBezTo>
                  <a:pt x="76708" y="113093"/>
                  <a:pt x="76708" y="113093"/>
                  <a:pt x="76708" y="113093"/>
                </a:cubicBezTo>
                <a:cubicBezTo>
                  <a:pt x="75189" y="111366"/>
                  <a:pt x="75189" y="111366"/>
                  <a:pt x="75189" y="111366"/>
                </a:cubicBezTo>
                <a:cubicBezTo>
                  <a:pt x="74430" y="107913"/>
                  <a:pt x="74430" y="107913"/>
                  <a:pt x="74430" y="107913"/>
                </a:cubicBezTo>
                <a:cubicBezTo>
                  <a:pt x="70632" y="107050"/>
                  <a:pt x="70632" y="107050"/>
                  <a:pt x="70632" y="107050"/>
                </a:cubicBezTo>
                <a:cubicBezTo>
                  <a:pt x="70632" y="104460"/>
                  <a:pt x="66075" y="108776"/>
                  <a:pt x="67594" y="103597"/>
                </a:cubicBezTo>
                <a:cubicBezTo>
                  <a:pt x="67594" y="103597"/>
                  <a:pt x="67594" y="102733"/>
                  <a:pt x="67594" y="102733"/>
                </a:cubicBezTo>
                <a:cubicBezTo>
                  <a:pt x="67594" y="102733"/>
                  <a:pt x="67594" y="102733"/>
                  <a:pt x="67594" y="102733"/>
                </a:cubicBezTo>
                <a:cubicBezTo>
                  <a:pt x="67594" y="101870"/>
                  <a:pt x="66075" y="100143"/>
                  <a:pt x="66075" y="100143"/>
                </a:cubicBezTo>
                <a:cubicBezTo>
                  <a:pt x="61518" y="97553"/>
                  <a:pt x="60759" y="94964"/>
                  <a:pt x="58481" y="94100"/>
                </a:cubicBezTo>
                <a:cubicBezTo>
                  <a:pt x="57721" y="94100"/>
                  <a:pt x="57721" y="94100"/>
                  <a:pt x="57721" y="94100"/>
                </a:cubicBezTo>
                <a:cubicBezTo>
                  <a:pt x="54683" y="90647"/>
                  <a:pt x="54683" y="90647"/>
                  <a:pt x="54683" y="90647"/>
                </a:cubicBezTo>
                <a:cubicBezTo>
                  <a:pt x="53164" y="89784"/>
                  <a:pt x="53164" y="89784"/>
                  <a:pt x="53164" y="89784"/>
                </a:cubicBezTo>
                <a:cubicBezTo>
                  <a:pt x="51645" y="88057"/>
                  <a:pt x="51645" y="88057"/>
                  <a:pt x="51645" y="88057"/>
                </a:cubicBezTo>
                <a:cubicBezTo>
                  <a:pt x="51645" y="86330"/>
                  <a:pt x="51645" y="86330"/>
                  <a:pt x="51645" y="86330"/>
                </a:cubicBezTo>
                <a:cubicBezTo>
                  <a:pt x="50886" y="82877"/>
                  <a:pt x="50886" y="82877"/>
                  <a:pt x="50886" y="82877"/>
                </a:cubicBezTo>
                <a:cubicBezTo>
                  <a:pt x="50886" y="82877"/>
                  <a:pt x="50886" y="82877"/>
                  <a:pt x="50886" y="82877"/>
                </a:cubicBezTo>
                <a:cubicBezTo>
                  <a:pt x="50886" y="82877"/>
                  <a:pt x="47848" y="82014"/>
                  <a:pt x="46329" y="81151"/>
                </a:cubicBezTo>
                <a:cubicBezTo>
                  <a:pt x="44810" y="80287"/>
                  <a:pt x="44810" y="80287"/>
                  <a:pt x="44810" y="80287"/>
                </a:cubicBezTo>
                <a:cubicBezTo>
                  <a:pt x="43291" y="77697"/>
                  <a:pt x="43291" y="77697"/>
                  <a:pt x="43291" y="77697"/>
                </a:cubicBezTo>
                <a:cubicBezTo>
                  <a:pt x="42531" y="76834"/>
                  <a:pt x="42531" y="76834"/>
                  <a:pt x="42531" y="76834"/>
                </a:cubicBezTo>
                <a:cubicBezTo>
                  <a:pt x="40253" y="74244"/>
                  <a:pt x="40253" y="74244"/>
                  <a:pt x="40253" y="74244"/>
                </a:cubicBezTo>
                <a:cubicBezTo>
                  <a:pt x="39493" y="74244"/>
                  <a:pt x="39493" y="74244"/>
                  <a:pt x="39493" y="74244"/>
                </a:cubicBezTo>
                <a:cubicBezTo>
                  <a:pt x="35696" y="72517"/>
                  <a:pt x="35696" y="72517"/>
                  <a:pt x="35696" y="72517"/>
                </a:cubicBezTo>
                <a:cubicBezTo>
                  <a:pt x="34936" y="70791"/>
                  <a:pt x="34936" y="70791"/>
                  <a:pt x="34936" y="70791"/>
                </a:cubicBezTo>
                <a:cubicBezTo>
                  <a:pt x="33417" y="69928"/>
                  <a:pt x="33417" y="69928"/>
                  <a:pt x="33417" y="69928"/>
                </a:cubicBezTo>
                <a:cubicBezTo>
                  <a:pt x="32658" y="68201"/>
                  <a:pt x="32658" y="68201"/>
                  <a:pt x="32658" y="68201"/>
                </a:cubicBezTo>
                <a:cubicBezTo>
                  <a:pt x="30379" y="67338"/>
                  <a:pt x="30379" y="67338"/>
                  <a:pt x="30379" y="67338"/>
                </a:cubicBezTo>
                <a:cubicBezTo>
                  <a:pt x="29620" y="65611"/>
                  <a:pt x="29620" y="65611"/>
                  <a:pt x="29620" y="65611"/>
                </a:cubicBezTo>
                <a:cubicBezTo>
                  <a:pt x="28860" y="64748"/>
                  <a:pt x="28860" y="64748"/>
                  <a:pt x="28860" y="64748"/>
                </a:cubicBezTo>
                <a:cubicBezTo>
                  <a:pt x="26582" y="61294"/>
                  <a:pt x="26582" y="61294"/>
                  <a:pt x="26582" y="61294"/>
                </a:cubicBezTo>
                <a:cubicBezTo>
                  <a:pt x="24303" y="59568"/>
                  <a:pt x="24303" y="59568"/>
                  <a:pt x="24303" y="59568"/>
                </a:cubicBezTo>
                <a:cubicBezTo>
                  <a:pt x="23544" y="58705"/>
                  <a:pt x="23544" y="58705"/>
                  <a:pt x="23544" y="58705"/>
                </a:cubicBezTo>
                <a:cubicBezTo>
                  <a:pt x="22784" y="57841"/>
                  <a:pt x="22784" y="57841"/>
                  <a:pt x="22784" y="57841"/>
                </a:cubicBezTo>
                <a:cubicBezTo>
                  <a:pt x="21265" y="55251"/>
                  <a:pt x="21265" y="55251"/>
                  <a:pt x="21265" y="55251"/>
                </a:cubicBezTo>
                <a:cubicBezTo>
                  <a:pt x="18987" y="52661"/>
                  <a:pt x="18987" y="52661"/>
                  <a:pt x="18987" y="52661"/>
                </a:cubicBezTo>
                <a:cubicBezTo>
                  <a:pt x="17468" y="50935"/>
                  <a:pt x="17468" y="50935"/>
                  <a:pt x="17468" y="50935"/>
                </a:cubicBezTo>
                <a:cubicBezTo>
                  <a:pt x="15949" y="48345"/>
                  <a:pt x="15949" y="48345"/>
                  <a:pt x="15949" y="48345"/>
                </a:cubicBezTo>
                <a:cubicBezTo>
                  <a:pt x="17468" y="46618"/>
                  <a:pt x="17468" y="46618"/>
                  <a:pt x="17468" y="46618"/>
                </a:cubicBezTo>
                <a:cubicBezTo>
                  <a:pt x="16708" y="45755"/>
                  <a:pt x="15949" y="45755"/>
                  <a:pt x="15949" y="44892"/>
                </a:cubicBezTo>
                <a:cubicBezTo>
                  <a:pt x="15189" y="44892"/>
                  <a:pt x="13670" y="44028"/>
                  <a:pt x="14430" y="43165"/>
                </a:cubicBezTo>
                <a:cubicBezTo>
                  <a:pt x="14430" y="42302"/>
                  <a:pt x="13670" y="41438"/>
                  <a:pt x="13670" y="39712"/>
                </a:cubicBezTo>
                <a:cubicBezTo>
                  <a:pt x="13670" y="38848"/>
                  <a:pt x="13670" y="37985"/>
                  <a:pt x="12911" y="37985"/>
                </a:cubicBezTo>
                <a:cubicBezTo>
                  <a:pt x="12151" y="37122"/>
                  <a:pt x="12151" y="37122"/>
                  <a:pt x="12151" y="37122"/>
                </a:cubicBezTo>
                <a:cubicBezTo>
                  <a:pt x="11392" y="37122"/>
                  <a:pt x="10632" y="37122"/>
                  <a:pt x="10632" y="37122"/>
                </a:cubicBezTo>
                <a:cubicBezTo>
                  <a:pt x="9873" y="37122"/>
                  <a:pt x="9873" y="37122"/>
                  <a:pt x="9873" y="37122"/>
                </a:cubicBezTo>
                <a:cubicBezTo>
                  <a:pt x="9873" y="37122"/>
                  <a:pt x="10632" y="35395"/>
                  <a:pt x="10632" y="33669"/>
                </a:cubicBezTo>
                <a:cubicBezTo>
                  <a:pt x="7594" y="32805"/>
                  <a:pt x="7594" y="32805"/>
                  <a:pt x="7594" y="32805"/>
                </a:cubicBezTo>
                <a:cubicBezTo>
                  <a:pt x="7594" y="32805"/>
                  <a:pt x="7594" y="30215"/>
                  <a:pt x="6075" y="29352"/>
                </a:cubicBezTo>
                <a:cubicBezTo>
                  <a:pt x="4556" y="29352"/>
                  <a:pt x="4556" y="29352"/>
                  <a:pt x="4556" y="29352"/>
                </a:cubicBezTo>
                <a:cubicBezTo>
                  <a:pt x="3797" y="30215"/>
                  <a:pt x="3797" y="31079"/>
                  <a:pt x="3797" y="31079"/>
                </a:cubicBezTo>
                <a:cubicBezTo>
                  <a:pt x="759" y="27625"/>
                  <a:pt x="759" y="27625"/>
                  <a:pt x="759" y="27625"/>
                </a:cubicBezTo>
                <a:cubicBezTo>
                  <a:pt x="759" y="27625"/>
                  <a:pt x="759" y="26762"/>
                  <a:pt x="1518" y="25035"/>
                </a:cubicBezTo>
                <a:cubicBezTo>
                  <a:pt x="3037" y="23309"/>
                  <a:pt x="1518" y="22446"/>
                  <a:pt x="1518" y="22446"/>
                </a:cubicBezTo>
                <a:cubicBezTo>
                  <a:pt x="759" y="19856"/>
                  <a:pt x="759" y="19856"/>
                  <a:pt x="759" y="19856"/>
                </a:cubicBezTo>
                <a:cubicBezTo>
                  <a:pt x="1518" y="18129"/>
                  <a:pt x="1518" y="18129"/>
                  <a:pt x="1518" y="18129"/>
                </a:cubicBezTo>
                <a:cubicBezTo>
                  <a:pt x="759" y="17266"/>
                  <a:pt x="759" y="17266"/>
                  <a:pt x="759" y="17266"/>
                </a:cubicBezTo>
                <a:cubicBezTo>
                  <a:pt x="0" y="16402"/>
                  <a:pt x="0" y="16402"/>
                  <a:pt x="0" y="16402"/>
                </a:cubicBezTo>
                <a:cubicBezTo>
                  <a:pt x="0" y="16402"/>
                  <a:pt x="0" y="16402"/>
                  <a:pt x="0" y="16402"/>
                </a:cubicBezTo>
                <a:cubicBezTo>
                  <a:pt x="0" y="16402"/>
                  <a:pt x="0" y="16402"/>
                  <a:pt x="0" y="16402"/>
                </a:cubicBezTo>
                <a:cubicBezTo>
                  <a:pt x="1518" y="12949"/>
                  <a:pt x="1518" y="12949"/>
                  <a:pt x="1518" y="12949"/>
                </a:cubicBezTo>
                <a:cubicBezTo>
                  <a:pt x="1518" y="12949"/>
                  <a:pt x="759" y="11223"/>
                  <a:pt x="759" y="9496"/>
                </a:cubicBezTo>
                <a:cubicBezTo>
                  <a:pt x="759" y="9496"/>
                  <a:pt x="1518" y="8633"/>
                  <a:pt x="1518" y="8633"/>
                </a:cubicBezTo>
                <a:cubicBezTo>
                  <a:pt x="1518" y="8633"/>
                  <a:pt x="1518" y="8633"/>
                  <a:pt x="1518" y="8633"/>
                </a:cubicBezTo>
                <a:cubicBezTo>
                  <a:pt x="1518" y="7769"/>
                  <a:pt x="1518" y="7769"/>
                  <a:pt x="1518" y="7769"/>
                </a:cubicBezTo>
                <a:cubicBezTo>
                  <a:pt x="1518" y="7769"/>
                  <a:pt x="1518" y="7769"/>
                  <a:pt x="1518" y="7769"/>
                </a:cubicBezTo>
                <a:cubicBezTo>
                  <a:pt x="2278" y="7769"/>
                  <a:pt x="2278" y="7769"/>
                  <a:pt x="2278" y="7769"/>
                </a:cubicBezTo>
                <a:cubicBezTo>
                  <a:pt x="2278" y="7769"/>
                  <a:pt x="2278" y="7769"/>
                  <a:pt x="2278" y="7769"/>
                </a:cubicBezTo>
                <a:cubicBezTo>
                  <a:pt x="2278" y="6906"/>
                  <a:pt x="6075" y="6043"/>
                  <a:pt x="6075" y="6043"/>
                </a:cubicBezTo>
                <a:cubicBezTo>
                  <a:pt x="7594" y="5179"/>
                  <a:pt x="7594" y="5179"/>
                  <a:pt x="7594" y="5179"/>
                </a:cubicBezTo>
                <a:cubicBezTo>
                  <a:pt x="10632" y="9496"/>
                  <a:pt x="10632" y="9496"/>
                  <a:pt x="10632" y="9496"/>
                </a:cubicBezTo>
                <a:cubicBezTo>
                  <a:pt x="13670" y="12949"/>
                  <a:pt x="13670" y="12949"/>
                  <a:pt x="13670" y="12949"/>
                </a:cubicBezTo>
                <a:cubicBezTo>
                  <a:pt x="15949" y="14676"/>
                  <a:pt x="15949" y="14676"/>
                  <a:pt x="15949" y="14676"/>
                </a:cubicBezTo>
                <a:cubicBezTo>
                  <a:pt x="15949" y="14676"/>
                  <a:pt x="16708" y="13812"/>
                  <a:pt x="17468" y="13812"/>
                </a:cubicBezTo>
                <a:cubicBezTo>
                  <a:pt x="17468" y="12949"/>
                  <a:pt x="17468" y="11223"/>
                  <a:pt x="17468" y="11223"/>
                </a:cubicBezTo>
                <a:cubicBezTo>
                  <a:pt x="18987" y="9496"/>
                  <a:pt x="18987" y="9496"/>
                  <a:pt x="18987" y="9496"/>
                </a:cubicBezTo>
                <a:cubicBezTo>
                  <a:pt x="19746" y="7769"/>
                  <a:pt x="19746" y="7769"/>
                  <a:pt x="19746" y="7769"/>
                </a:cubicBezTo>
                <a:cubicBezTo>
                  <a:pt x="19746" y="6043"/>
                  <a:pt x="19746" y="6043"/>
                  <a:pt x="19746" y="6043"/>
                </a:cubicBezTo>
                <a:cubicBezTo>
                  <a:pt x="21265" y="5179"/>
                  <a:pt x="21265" y="5179"/>
                  <a:pt x="21265" y="5179"/>
                </a:cubicBezTo>
                <a:cubicBezTo>
                  <a:pt x="23544" y="4316"/>
                  <a:pt x="23544" y="4316"/>
                  <a:pt x="23544" y="4316"/>
                </a:cubicBezTo>
                <a:cubicBezTo>
                  <a:pt x="26582" y="3453"/>
                  <a:pt x="26582" y="3453"/>
                  <a:pt x="26582" y="3453"/>
                </a:cubicBezTo>
                <a:cubicBezTo>
                  <a:pt x="26582" y="3453"/>
                  <a:pt x="28860" y="4316"/>
                  <a:pt x="29620" y="4316"/>
                </a:cubicBezTo>
                <a:cubicBezTo>
                  <a:pt x="29620" y="4316"/>
                  <a:pt x="30379" y="4316"/>
                  <a:pt x="30379" y="4316"/>
                </a:cubicBezTo>
                <a:cubicBezTo>
                  <a:pt x="31898" y="1726"/>
                  <a:pt x="31898" y="1726"/>
                  <a:pt x="31898" y="1726"/>
                </a:cubicBezTo>
                <a:cubicBezTo>
                  <a:pt x="31898" y="1726"/>
                  <a:pt x="31898" y="1726"/>
                  <a:pt x="31898" y="1726"/>
                </a:cubicBezTo>
                <a:cubicBezTo>
                  <a:pt x="32658" y="0"/>
                  <a:pt x="32658" y="0"/>
                  <a:pt x="32658" y="0"/>
                </a:cubicBezTo>
                <a:cubicBezTo>
                  <a:pt x="36455" y="1726"/>
                  <a:pt x="36455" y="1726"/>
                  <a:pt x="36455" y="1726"/>
                </a:cubicBezTo>
                <a:cubicBezTo>
                  <a:pt x="37974" y="3453"/>
                  <a:pt x="37974" y="3453"/>
                  <a:pt x="37974" y="3453"/>
                </a:cubicBezTo>
                <a:cubicBezTo>
                  <a:pt x="41772" y="4316"/>
                  <a:pt x="41772" y="4316"/>
                  <a:pt x="41772" y="4316"/>
                </a:cubicBezTo>
                <a:cubicBezTo>
                  <a:pt x="41772" y="4316"/>
                  <a:pt x="41772" y="4316"/>
                  <a:pt x="41772" y="4316"/>
                </a:cubicBezTo>
                <a:cubicBezTo>
                  <a:pt x="43291" y="4316"/>
                  <a:pt x="43291" y="4316"/>
                  <a:pt x="43291" y="4316"/>
                </a:cubicBezTo>
                <a:cubicBezTo>
                  <a:pt x="43291" y="3453"/>
                  <a:pt x="43291" y="3453"/>
                  <a:pt x="43291" y="3453"/>
                </a:cubicBezTo>
                <a:cubicBezTo>
                  <a:pt x="46329" y="3453"/>
                  <a:pt x="46329" y="3453"/>
                  <a:pt x="46329" y="3453"/>
                </a:cubicBezTo>
                <a:cubicBezTo>
                  <a:pt x="50126" y="4316"/>
                  <a:pt x="50126" y="4316"/>
                  <a:pt x="50126" y="4316"/>
                </a:cubicBezTo>
                <a:cubicBezTo>
                  <a:pt x="52405" y="4316"/>
                  <a:pt x="52405" y="4316"/>
                  <a:pt x="52405" y="4316"/>
                </a:cubicBezTo>
                <a:cubicBezTo>
                  <a:pt x="56202" y="4316"/>
                  <a:pt x="56202" y="4316"/>
                  <a:pt x="56202" y="4316"/>
                </a:cubicBezTo>
                <a:cubicBezTo>
                  <a:pt x="58481" y="5179"/>
                  <a:pt x="58481" y="5179"/>
                  <a:pt x="58481" y="5179"/>
                </a:cubicBezTo>
                <a:cubicBezTo>
                  <a:pt x="60000" y="6043"/>
                  <a:pt x="60000" y="6043"/>
                  <a:pt x="60000" y="6043"/>
                </a:cubicBezTo>
                <a:cubicBezTo>
                  <a:pt x="60000" y="6043"/>
                  <a:pt x="60000" y="6043"/>
                  <a:pt x="60759" y="5179"/>
                </a:cubicBezTo>
                <a:cubicBezTo>
                  <a:pt x="60759" y="5179"/>
                  <a:pt x="63037" y="5179"/>
                  <a:pt x="63037" y="5179"/>
                </a:cubicBezTo>
                <a:cubicBezTo>
                  <a:pt x="63797" y="2589"/>
                  <a:pt x="63797" y="2589"/>
                  <a:pt x="63797" y="2589"/>
                </a:cubicBezTo>
                <a:cubicBezTo>
                  <a:pt x="64556" y="4316"/>
                  <a:pt x="64556" y="4316"/>
                  <a:pt x="64556" y="4316"/>
                </a:cubicBezTo>
                <a:cubicBezTo>
                  <a:pt x="65316" y="4316"/>
                  <a:pt x="66835" y="4316"/>
                  <a:pt x="66835" y="4316"/>
                </a:cubicBezTo>
                <a:cubicBezTo>
                  <a:pt x="67594" y="1726"/>
                  <a:pt x="67594" y="1726"/>
                  <a:pt x="67594" y="1726"/>
                </a:cubicBezTo>
                <a:cubicBezTo>
                  <a:pt x="68354" y="2589"/>
                  <a:pt x="68354" y="2589"/>
                  <a:pt x="68354" y="2589"/>
                </a:cubicBezTo>
                <a:cubicBezTo>
                  <a:pt x="69113" y="2589"/>
                  <a:pt x="69113" y="2589"/>
                  <a:pt x="69873" y="2589"/>
                </a:cubicBezTo>
                <a:cubicBezTo>
                  <a:pt x="70632" y="2589"/>
                  <a:pt x="71392" y="1726"/>
                  <a:pt x="71392" y="1726"/>
                </a:cubicBezTo>
                <a:cubicBezTo>
                  <a:pt x="71392" y="1726"/>
                  <a:pt x="72151" y="2589"/>
                  <a:pt x="72151" y="2589"/>
                </a:cubicBezTo>
                <a:cubicBezTo>
                  <a:pt x="72151" y="2589"/>
                  <a:pt x="72911" y="1726"/>
                  <a:pt x="73670" y="1726"/>
                </a:cubicBezTo>
                <a:cubicBezTo>
                  <a:pt x="73670" y="1726"/>
                  <a:pt x="73670" y="1726"/>
                  <a:pt x="73670" y="1726"/>
                </a:cubicBezTo>
                <a:cubicBezTo>
                  <a:pt x="73670" y="1726"/>
                  <a:pt x="73670" y="1726"/>
                  <a:pt x="7367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4430" y="1726"/>
                  <a:pt x="74430" y="1726"/>
                  <a:pt x="74430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1726"/>
                  <a:pt x="75189" y="1726"/>
                  <a:pt x="75189" y="1726"/>
                </a:cubicBezTo>
                <a:cubicBezTo>
                  <a:pt x="75189" y="863"/>
                  <a:pt x="75189" y="863"/>
                  <a:pt x="75189" y="863"/>
                </a:cubicBezTo>
                <a:cubicBezTo>
                  <a:pt x="75189" y="863"/>
                  <a:pt x="75189" y="863"/>
                  <a:pt x="75189" y="863"/>
                </a:cubicBezTo>
                <a:cubicBezTo>
                  <a:pt x="75189" y="863"/>
                  <a:pt x="75189" y="863"/>
                  <a:pt x="75189" y="863"/>
                </a:cubicBezTo>
                <a:cubicBezTo>
                  <a:pt x="75189" y="863"/>
                  <a:pt x="75189" y="863"/>
                  <a:pt x="75189" y="863"/>
                </a:cubicBezTo>
                <a:cubicBezTo>
                  <a:pt x="75189" y="863"/>
                  <a:pt x="75189" y="863"/>
                  <a:pt x="7518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5949" y="863"/>
                  <a:pt x="75949" y="863"/>
                </a:cubicBezTo>
                <a:cubicBezTo>
                  <a:pt x="75949" y="863"/>
                  <a:pt x="76708" y="2589"/>
                  <a:pt x="78227" y="3453"/>
                </a:cubicBezTo>
                <a:cubicBezTo>
                  <a:pt x="78227" y="3453"/>
                  <a:pt x="78227" y="3453"/>
                  <a:pt x="78227" y="3453"/>
                </a:cubicBezTo>
                <a:cubicBezTo>
                  <a:pt x="79746" y="3453"/>
                  <a:pt x="79746" y="3453"/>
                  <a:pt x="79746" y="3453"/>
                </a:cubicBezTo>
                <a:cubicBezTo>
                  <a:pt x="79746" y="3453"/>
                  <a:pt x="79746" y="3453"/>
                  <a:pt x="79746" y="3453"/>
                </a:cubicBezTo>
                <a:cubicBezTo>
                  <a:pt x="79746" y="3453"/>
                  <a:pt x="80506" y="2589"/>
                  <a:pt x="81265" y="2589"/>
                </a:cubicBezTo>
                <a:cubicBezTo>
                  <a:pt x="82784" y="2589"/>
                  <a:pt x="83544" y="2589"/>
                  <a:pt x="84303" y="2589"/>
                </a:cubicBezTo>
                <a:cubicBezTo>
                  <a:pt x="85822" y="2589"/>
                  <a:pt x="86582" y="4316"/>
                  <a:pt x="86582" y="4316"/>
                </a:cubicBezTo>
                <a:cubicBezTo>
                  <a:pt x="88860" y="6906"/>
                  <a:pt x="88860" y="6906"/>
                  <a:pt x="88860" y="6906"/>
                </a:cubicBezTo>
                <a:cubicBezTo>
                  <a:pt x="88860" y="6906"/>
                  <a:pt x="89620" y="8633"/>
                  <a:pt x="89620" y="9496"/>
                </a:cubicBezTo>
                <a:cubicBezTo>
                  <a:pt x="90379" y="10359"/>
                  <a:pt x="90379" y="11223"/>
                  <a:pt x="90379" y="11223"/>
                </a:cubicBezTo>
                <a:cubicBezTo>
                  <a:pt x="90379" y="11223"/>
                  <a:pt x="90379" y="11223"/>
                  <a:pt x="90379" y="11223"/>
                </a:cubicBezTo>
                <a:cubicBezTo>
                  <a:pt x="91139" y="11223"/>
                  <a:pt x="96455" y="13812"/>
                  <a:pt x="97215" y="13812"/>
                </a:cubicBezTo>
                <a:cubicBezTo>
                  <a:pt x="97215" y="13812"/>
                  <a:pt x="97974" y="13812"/>
                  <a:pt x="97974" y="13812"/>
                </a:cubicBezTo>
                <a:cubicBezTo>
                  <a:pt x="97974" y="12086"/>
                  <a:pt x="97215" y="11223"/>
                  <a:pt x="98734" y="10359"/>
                </a:cubicBezTo>
                <a:cubicBezTo>
                  <a:pt x="99493" y="10359"/>
                  <a:pt x="100253" y="12086"/>
                  <a:pt x="100253" y="10359"/>
                </a:cubicBezTo>
                <a:cubicBezTo>
                  <a:pt x="100253" y="8633"/>
                  <a:pt x="101012" y="9496"/>
                  <a:pt x="100253" y="7769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" name="Google Shape;3024;p256">
            <a:extLst>
              <a:ext uri="{FF2B5EF4-FFF2-40B4-BE49-F238E27FC236}">
                <a16:creationId xmlns:a16="http://schemas.microsoft.com/office/drawing/2014/main" id="{F4156A24-17B5-FDC7-D3A0-02A06C47954C}"/>
              </a:ext>
            </a:extLst>
          </p:cNvPr>
          <p:cNvSpPr/>
          <p:nvPr/>
        </p:nvSpPr>
        <p:spPr>
          <a:xfrm>
            <a:off x="8398989" y="2322174"/>
            <a:ext cx="517582" cy="5937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2340" y="23712"/>
                </a:moveTo>
                <a:cubicBezTo>
                  <a:pt x="37446" y="21556"/>
                  <a:pt x="37446" y="21556"/>
                  <a:pt x="37446" y="21556"/>
                </a:cubicBezTo>
                <a:cubicBezTo>
                  <a:pt x="40000" y="17245"/>
                  <a:pt x="40000" y="17245"/>
                  <a:pt x="40000" y="17245"/>
                </a:cubicBezTo>
                <a:cubicBezTo>
                  <a:pt x="43404" y="12215"/>
                  <a:pt x="43404" y="12215"/>
                  <a:pt x="43404" y="12215"/>
                </a:cubicBezTo>
                <a:cubicBezTo>
                  <a:pt x="45106" y="10059"/>
                  <a:pt x="45106" y="10059"/>
                  <a:pt x="45106" y="10059"/>
                </a:cubicBezTo>
                <a:cubicBezTo>
                  <a:pt x="46808" y="6467"/>
                  <a:pt x="46808" y="6467"/>
                  <a:pt x="46808" y="6467"/>
                </a:cubicBezTo>
                <a:cubicBezTo>
                  <a:pt x="51914" y="5029"/>
                  <a:pt x="51914" y="5029"/>
                  <a:pt x="51914" y="5029"/>
                </a:cubicBezTo>
                <a:cubicBezTo>
                  <a:pt x="51914" y="5029"/>
                  <a:pt x="55319" y="4311"/>
                  <a:pt x="56170" y="4311"/>
                </a:cubicBezTo>
                <a:cubicBezTo>
                  <a:pt x="57021" y="3592"/>
                  <a:pt x="62127" y="0"/>
                  <a:pt x="62127" y="0"/>
                </a:cubicBezTo>
                <a:cubicBezTo>
                  <a:pt x="62978" y="0"/>
                  <a:pt x="62978" y="0"/>
                  <a:pt x="62978" y="0"/>
                </a:cubicBezTo>
                <a:cubicBezTo>
                  <a:pt x="60425" y="3592"/>
                  <a:pt x="60425" y="3592"/>
                  <a:pt x="60425" y="3592"/>
                </a:cubicBezTo>
                <a:cubicBezTo>
                  <a:pt x="60425" y="5748"/>
                  <a:pt x="60425" y="5748"/>
                  <a:pt x="60425" y="5748"/>
                </a:cubicBezTo>
                <a:cubicBezTo>
                  <a:pt x="60425" y="7185"/>
                  <a:pt x="60425" y="7185"/>
                  <a:pt x="60425" y="7185"/>
                </a:cubicBezTo>
                <a:cubicBezTo>
                  <a:pt x="61276" y="10059"/>
                  <a:pt x="61276" y="10059"/>
                  <a:pt x="61276" y="10059"/>
                </a:cubicBezTo>
                <a:cubicBezTo>
                  <a:pt x="62127" y="10778"/>
                  <a:pt x="62127" y="10778"/>
                  <a:pt x="62127" y="10778"/>
                </a:cubicBezTo>
                <a:cubicBezTo>
                  <a:pt x="62127" y="13652"/>
                  <a:pt x="62127" y="13652"/>
                  <a:pt x="62127" y="13652"/>
                </a:cubicBezTo>
                <a:cubicBezTo>
                  <a:pt x="62127" y="16526"/>
                  <a:pt x="62127" y="16526"/>
                  <a:pt x="62127" y="16526"/>
                </a:cubicBezTo>
                <a:cubicBezTo>
                  <a:pt x="62127" y="16526"/>
                  <a:pt x="64680" y="17964"/>
                  <a:pt x="63829" y="18682"/>
                </a:cubicBezTo>
                <a:cubicBezTo>
                  <a:pt x="62127" y="19401"/>
                  <a:pt x="60425" y="21556"/>
                  <a:pt x="60425" y="21556"/>
                </a:cubicBezTo>
                <a:cubicBezTo>
                  <a:pt x="59574" y="25868"/>
                  <a:pt x="59574" y="25868"/>
                  <a:pt x="59574" y="25868"/>
                </a:cubicBezTo>
                <a:cubicBezTo>
                  <a:pt x="56170" y="29461"/>
                  <a:pt x="56170" y="29461"/>
                  <a:pt x="56170" y="29461"/>
                </a:cubicBezTo>
                <a:cubicBezTo>
                  <a:pt x="57021" y="33772"/>
                  <a:pt x="57021" y="33772"/>
                  <a:pt x="57021" y="33772"/>
                </a:cubicBezTo>
                <a:cubicBezTo>
                  <a:pt x="57872" y="37365"/>
                  <a:pt x="57872" y="37365"/>
                  <a:pt x="57872" y="37365"/>
                </a:cubicBezTo>
                <a:cubicBezTo>
                  <a:pt x="57021" y="40239"/>
                  <a:pt x="57021" y="40239"/>
                  <a:pt x="57021" y="40239"/>
                </a:cubicBezTo>
                <a:cubicBezTo>
                  <a:pt x="59574" y="42395"/>
                  <a:pt x="59574" y="42395"/>
                  <a:pt x="59574" y="42395"/>
                </a:cubicBezTo>
                <a:cubicBezTo>
                  <a:pt x="58723" y="43832"/>
                  <a:pt x="58723" y="43832"/>
                  <a:pt x="58723" y="43832"/>
                </a:cubicBezTo>
                <a:cubicBezTo>
                  <a:pt x="59574" y="45988"/>
                  <a:pt x="59574" y="45988"/>
                  <a:pt x="59574" y="45988"/>
                </a:cubicBezTo>
                <a:cubicBezTo>
                  <a:pt x="62127" y="47425"/>
                  <a:pt x="62127" y="47425"/>
                  <a:pt x="62127" y="47425"/>
                </a:cubicBezTo>
                <a:cubicBezTo>
                  <a:pt x="62127" y="47425"/>
                  <a:pt x="63829" y="47425"/>
                  <a:pt x="64680" y="47425"/>
                </a:cubicBezTo>
                <a:cubicBezTo>
                  <a:pt x="65531" y="47425"/>
                  <a:pt x="68085" y="46706"/>
                  <a:pt x="68936" y="46706"/>
                </a:cubicBezTo>
                <a:cubicBezTo>
                  <a:pt x="69787" y="46706"/>
                  <a:pt x="71489" y="47425"/>
                  <a:pt x="71489" y="47425"/>
                </a:cubicBezTo>
                <a:cubicBezTo>
                  <a:pt x="74042" y="50299"/>
                  <a:pt x="74042" y="50299"/>
                  <a:pt x="74042" y="50299"/>
                </a:cubicBezTo>
                <a:cubicBezTo>
                  <a:pt x="74042" y="52455"/>
                  <a:pt x="74042" y="52455"/>
                  <a:pt x="74042" y="52455"/>
                </a:cubicBezTo>
                <a:cubicBezTo>
                  <a:pt x="74042" y="52455"/>
                  <a:pt x="73191" y="53892"/>
                  <a:pt x="73191" y="54610"/>
                </a:cubicBezTo>
                <a:cubicBezTo>
                  <a:pt x="72340" y="55329"/>
                  <a:pt x="71489" y="56766"/>
                  <a:pt x="71489" y="56766"/>
                </a:cubicBezTo>
                <a:cubicBezTo>
                  <a:pt x="69787" y="58203"/>
                  <a:pt x="69787" y="58203"/>
                  <a:pt x="69787" y="58203"/>
                </a:cubicBezTo>
                <a:cubicBezTo>
                  <a:pt x="68936" y="60359"/>
                  <a:pt x="68936" y="60359"/>
                  <a:pt x="68936" y="60359"/>
                </a:cubicBezTo>
                <a:cubicBezTo>
                  <a:pt x="68085" y="61796"/>
                  <a:pt x="68085" y="61796"/>
                  <a:pt x="68085" y="61796"/>
                </a:cubicBezTo>
                <a:cubicBezTo>
                  <a:pt x="68085" y="61796"/>
                  <a:pt x="68085" y="61796"/>
                  <a:pt x="68085" y="61796"/>
                </a:cubicBezTo>
                <a:cubicBezTo>
                  <a:pt x="66382" y="60359"/>
                  <a:pt x="66382" y="60359"/>
                  <a:pt x="66382" y="60359"/>
                </a:cubicBezTo>
                <a:cubicBezTo>
                  <a:pt x="66382" y="60359"/>
                  <a:pt x="66382" y="58203"/>
                  <a:pt x="65531" y="58922"/>
                </a:cubicBezTo>
                <a:cubicBezTo>
                  <a:pt x="64680" y="58922"/>
                  <a:pt x="63829" y="60359"/>
                  <a:pt x="63829" y="60359"/>
                </a:cubicBezTo>
                <a:cubicBezTo>
                  <a:pt x="64680" y="61796"/>
                  <a:pt x="64680" y="61796"/>
                  <a:pt x="64680" y="61796"/>
                </a:cubicBezTo>
                <a:cubicBezTo>
                  <a:pt x="64680" y="61796"/>
                  <a:pt x="65531" y="63952"/>
                  <a:pt x="64680" y="63952"/>
                </a:cubicBezTo>
                <a:cubicBezTo>
                  <a:pt x="63829" y="63952"/>
                  <a:pt x="62978" y="63952"/>
                  <a:pt x="62978" y="63952"/>
                </a:cubicBezTo>
                <a:cubicBezTo>
                  <a:pt x="62127" y="61077"/>
                  <a:pt x="62127" y="61077"/>
                  <a:pt x="62127" y="61077"/>
                </a:cubicBezTo>
                <a:cubicBezTo>
                  <a:pt x="59574" y="60359"/>
                  <a:pt x="59574" y="60359"/>
                  <a:pt x="59574" y="60359"/>
                </a:cubicBezTo>
                <a:cubicBezTo>
                  <a:pt x="61276" y="57485"/>
                  <a:pt x="61276" y="57485"/>
                  <a:pt x="61276" y="57485"/>
                </a:cubicBezTo>
                <a:cubicBezTo>
                  <a:pt x="59574" y="56766"/>
                  <a:pt x="59574" y="56766"/>
                  <a:pt x="59574" y="56766"/>
                </a:cubicBezTo>
                <a:cubicBezTo>
                  <a:pt x="59574" y="56766"/>
                  <a:pt x="58723" y="56766"/>
                  <a:pt x="57872" y="57485"/>
                </a:cubicBezTo>
                <a:cubicBezTo>
                  <a:pt x="57872" y="58203"/>
                  <a:pt x="57021" y="61077"/>
                  <a:pt x="57021" y="61077"/>
                </a:cubicBezTo>
                <a:cubicBezTo>
                  <a:pt x="56170" y="63952"/>
                  <a:pt x="56170" y="63952"/>
                  <a:pt x="56170" y="63952"/>
                </a:cubicBezTo>
                <a:cubicBezTo>
                  <a:pt x="56170" y="63952"/>
                  <a:pt x="57021" y="64670"/>
                  <a:pt x="57021" y="65389"/>
                </a:cubicBezTo>
                <a:cubicBezTo>
                  <a:pt x="57021" y="66107"/>
                  <a:pt x="56170" y="66826"/>
                  <a:pt x="56170" y="66826"/>
                </a:cubicBezTo>
                <a:cubicBezTo>
                  <a:pt x="56170" y="66826"/>
                  <a:pt x="56170" y="67544"/>
                  <a:pt x="56170" y="68263"/>
                </a:cubicBezTo>
                <a:cubicBezTo>
                  <a:pt x="56170" y="68263"/>
                  <a:pt x="57021" y="69700"/>
                  <a:pt x="57021" y="70419"/>
                </a:cubicBezTo>
                <a:cubicBezTo>
                  <a:pt x="57021" y="70419"/>
                  <a:pt x="57021" y="71137"/>
                  <a:pt x="56170" y="71137"/>
                </a:cubicBezTo>
                <a:cubicBezTo>
                  <a:pt x="56170" y="71856"/>
                  <a:pt x="56170" y="71856"/>
                  <a:pt x="56170" y="72574"/>
                </a:cubicBezTo>
                <a:cubicBezTo>
                  <a:pt x="55319" y="72574"/>
                  <a:pt x="54468" y="73293"/>
                  <a:pt x="54468" y="73293"/>
                </a:cubicBezTo>
                <a:cubicBezTo>
                  <a:pt x="54468" y="73293"/>
                  <a:pt x="52765" y="74011"/>
                  <a:pt x="52765" y="74011"/>
                </a:cubicBezTo>
                <a:cubicBezTo>
                  <a:pt x="52765" y="74011"/>
                  <a:pt x="51914" y="73293"/>
                  <a:pt x="51063" y="73293"/>
                </a:cubicBezTo>
                <a:cubicBezTo>
                  <a:pt x="50212" y="73293"/>
                  <a:pt x="50212" y="72574"/>
                  <a:pt x="49361" y="73293"/>
                </a:cubicBezTo>
                <a:cubicBezTo>
                  <a:pt x="48510" y="74011"/>
                  <a:pt x="48510" y="74011"/>
                  <a:pt x="48510" y="74011"/>
                </a:cubicBezTo>
                <a:cubicBezTo>
                  <a:pt x="49361" y="74730"/>
                  <a:pt x="49361" y="74730"/>
                  <a:pt x="49361" y="74730"/>
                </a:cubicBezTo>
                <a:cubicBezTo>
                  <a:pt x="51063" y="74730"/>
                  <a:pt x="51063" y="74730"/>
                  <a:pt x="51063" y="74730"/>
                </a:cubicBezTo>
                <a:cubicBezTo>
                  <a:pt x="51063" y="76167"/>
                  <a:pt x="51063" y="76167"/>
                  <a:pt x="51063" y="76167"/>
                </a:cubicBezTo>
                <a:cubicBezTo>
                  <a:pt x="51063" y="76167"/>
                  <a:pt x="51914" y="76167"/>
                  <a:pt x="51914" y="76886"/>
                </a:cubicBezTo>
                <a:cubicBezTo>
                  <a:pt x="51063" y="77604"/>
                  <a:pt x="50212" y="78323"/>
                  <a:pt x="50212" y="78323"/>
                </a:cubicBezTo>
                <a:cubicBezTo>
                  <a:pt x="48510" y="79760"/>
                  <a:pt x="48510" y="79760"/>
                  <a:pt x="48510" y="79760"/>
                </a:cubicBezTo>
                <a:cubicBezTo>
                  <a:pt x="46808" y="80479"/>
                  <a:pt x="46808" y="80479"/>
                  <a:pt x="46808" y="80479"/>
                </a:cubicBezTo>
                <a:cubicBezTo>
                  <a:pt x="46808" y="80479"/>
                  <a:pt x="45106" y="79760"/>
                  <a:pt x="45106" y="80479"/>
                </a:cubicBezTo>
                <a:cubicBezTo>
                  <a:pt x="44255" y="80479"/>
                  <a:pt x="43404" y="80479"/>
                  <a:pt x="43404" y="80479"/>
                </a:cubicBezTo>
                <a:cubicBezTo>
                  <a:pt x="43404" y="81197"/>
                  <a:pt x="45106" y="82634"/>
                  <a:pt x="45106" y="82634"/>
                </a:cubicBezTo>
                <a:cubicBezTo>
                  <a:pt x="41702" y="79760"/>
                  <a:pt x="41702" y="79760"/>
                  <a:pt x="41702" y="79760"/>
                </a:cubicBezTo>
                <a:cubicBezTo>
                  <a:pt x="40000" y="79760"/>
                  <a:pt x="40000" y="79760"/>
                  <a:pt x="40000" y="79760"/>
                </a:cubicBezTo>
                <a:cubicBezTo>
                  <a:pt x="42553" y="81197"/>
                  <a:pt x="42553" y="81197"/>
                  <a:pt x="42553" y="81197"/>
                </a:cubicBezTo>
                <a:cubicBezTo>
                  <a:pt x="43404" y="82634"/>
                  <a:pt x="43404" y="82634"/>
                  <a:pt x="43404" y="82634"/>
                </a:cubicBezTo>
                <a:cubicBezTo>
                  <a:pt x="45106" y="83353"/>
                  <a:pt x="45106" y="83353"/>
                  <a:pt x="45106" y="83353"/>
                </a:cubicBezTo>
                <a:cubicBezTo>
                  <a:pt x="44255" y="84071"/>
                  <a:pt x="44255" y="84071"/>
                  <a:pt x="44255" y="84071"/>
                </a:cubicBezTo>
                <a:cubicBezTo>
                  <a:pt x="43404" y="84790"/>
                  <a:pt x="43404" y="84790"/>
                  <a:pt x="43404" y="84790"/>
                </a:cubicBezTo>
                <a:cubicBezTo>
                  <a:pt x="41702" y="86227"/>
                  <a:pt x="41702" y="86227"/>
                  <a:pt x="41702" y="86227"/>
                </a:cubicBezTo>
                <a:cubicBezTo>
                  <a:pt x="41702" y="86227"/>
                  <a:pt x="40851" y="86946"/>
                  <a:pt x="40000" y="86946"/>
                </a:cubicBezTo>
                <a:cubicBezTo>
                  <a:pt x="40000" y="86946"/>
                  <a:pt x="37446" y="86946"/>
                  <a:pt x="37446" y="86946"/>
                </a:cubicBezTo>
                <a:cubicBezTo>
                  <a:pt x="38297" y="87664"/>
                  <a:pt x="38297" y="87664"/>
                  <a:pt x="38297" y="87664"/>
                </a:cubicBezTo>
                <a:cubicBezTo>
                  <a:pt x="40000" y="88383"/>
                  <a:pt x="40000" y="88383"/>
                  <a:pt x="40000" y="88383"/>
                </a:cubicBezTo>
                <a:cubicBezTo>
                  <a:pt x="40000" y="88383"/>
                  <a:pt x="40851" y="87664"/>
                  <a:pt x="40851" y="88383"/>
                </a:cubicBezTo>
                <a:cubicBezTo>
                  <a:pt x="40000" y="88383"/>
                  <a:pt x="40000" y="88383"/>
                  <a:pt x="40000" y="89101"/>
                </a:cubicBezTo>
                <a:cubicBezTo>
                  <a:pt x="40000" y="90538"/>
                  <a:pt x="40000" y="92694"/>
                  <a:pt x="40000" y="92694"/>
                </a:cubicBezTo>
                <a:cubicBezTo>
                  <a:pt x="41702" y="94850"/>
                  <a:pt x="41702" y="94850"/>
                  <a:pt x="41702" y="94850"/>
                </a:cubicBezTo>
                <a:cubicBezTo>
                  <a:pt x="42553" y="95568"/>
                  <a:pt x="42553" y="95568"/>
                  <a:pt x="42553" y="95568"/>
                </a:cubicBezTo>
                <a:cubicBezTo>
                  <a:pt x="42553" y="95568"/>
                  <a:pt x="42553" y="95568"/>
                  <a:pt x="42553" y="96287"/>
                </a:cubicBezTo>
                <a:cubicBezTo>
                  <a:pt x="42553" y="96287"/>
                  <a:pt x="42553" y="97005"/>
                  <a:pt x="42553" y="97005"/>
                </a:cubicBezTo>
                <a:cubicBezTo>
                  <a:pt x="42553" y="98443"/>
                  <a:pt x="42553" y="98443"/>
                  <a:pt x="42553" y="98443"/>
                </a:cubicBezTo>
                <a:cubicBezTo>
                  <a:pt x="42553" y="98443"/>
                  <a:pt x="41702" y="99161"/>
                  <a:pt x="40851" y="99161"/>
                </a:cubicBezTo>
                <a:cubicBezTo>
                  <a:pt x="40851" y="99161"/>
                  <a:pt x="37446" y="99880"/>
                  <a:pt x="37446" y="99880"/>
                </a:cubicBezTo>
                <a:cubicBezTo>
                  <a:pt x="36595" y="101317"/>
                  <a:pt x="36595" y="101317"/>
                  <a:pt x="36595" y="101317"/>
                </a:cubicBezTo>
                <a:cubicBezTo>
                  <a:pt x="38297" y="102035"/>
                  <a:pt x="38297" y="102035"/>
                  <a:pt x="38297" y="102035"/>
                </a:cubicBezTo>
                <a:cubicBezTo>
                  <a:pt x="38297" y="102035"/>
                  <a:pt x="38297" y="103473"/>
                  <a:pt x="38297" y="103473"/>
                </a:cubicBezTo>
                <a:cubicBezTo>
                  <a:pt x="38297" y="104191"/>
                  <a:pt x="37446" y="104910"/>
                  <a:pt x="37446" y="104910"/>
                </a:cubicBezTo>
                <a:cubicBezTo>
                  <a:pt x="39148" y="104910"/>
                  <a:pt x="39148" y="104910"/>
                  <a:pt x="39148" y="104910"/>
                </a:cubicBezTo>
                <a:cubicBezTo>
                  <a:pt x="41702" y="105628"/>
                  <a:pt x="41702" y="105628"/>
                  <a:pt x="41702" y="105628"/>
                </a:cubicBezTo>
                <a:cubicBezTo>
                  <a:pt x="45106" y="109221"/>
                  <a:pt x="45106" y="109221"/>
                  <a:pt x="45106" y="109221"/>
                </a:cubicBezTo>
                <a:cubicBezTo>
                  <a:pt x="44255" y="112095"/>
                  <a:pt x="44255" y="112095"/>
                  <a:pt x="44255" y="112095"/>
                </a:cubicBezTo>
                <a:cubicBezTo>
                  <a:pt x="42553" y="113532"/>
                  <a:pt x="42553" y="113532"/>
                  <a:pt x="42553" y="113532"/>
                </a:cubicBezTo>
                <a:cubicBezTo>
                  <a:pt x="40851" y="110658"/>
                  <a:pt x="40851" y="110658"/>
                  <a:pt x="40851" y="110658"/>
                </a:cubicBezTo>
                <a:cubicBezTo>
                  <a:pt x="40851" y="110658"/>
                  <a:pt x="40000" y="110658"/>
                  <a:pt x="40000" y="111377"/>
                </a:cubicBezTo>
                <a:cubicBezTo>
                  <a:pt x="39148" y="111377"/>
                  <a:pt x="36595" y="112814"/>
                  <a:pt x="36595" y="112814"/>
                </a:cubicBezTo>
                <a:cubicBezTo>
                  <a:pt x="36595" y="112814"/>
                  <a:pt x="34893" y="113532"/>
                  <a:pt x="34042" y="113532"/>
                </a:cubicBezTo>
                <a:cubicBezTo>
                  <a:pt x="34042" y="113532"/>
                  <a:pt x="33191" y="113532"/>
                  <a:pt x="33191" y="113532"/>
                </a:cubicBezTo>
                <a:cubicBezTo>
                  <a:pt x="30638" y="112814"/>
                  <a:pt x="30638" y="112814"/>
                  <a:pt x="30638" y="112814"/>
                </a:cubicBezTo>
                <a:cubicBezTo>
                  <a:pt x="27234" y="111377"/>
                  <a:pt x="27234" y="111377"/>
                  <a:pt x="27234" y="111377"/>
                </a:cubicBezTo>
                <a:cubicBezTo>
                  <a:pt x="27234" y="111377"/>
                  <a:pt x="25531" y="110658"/>
                  <a:pt x="24680" y="110658"/>
                </a:cubicBezTo>
                <a:cubicBezTo>
                  <a:pt x="23829" y="110658"/>
                  <a:pt x="19574" y="109221"/>
                  <a:pt x="19574" y="109221"/>
                </a:cubicBezTo>
                <a:cubicBezTo>
                  <a:pt x="17872" y="109940"/>
                  <a:pt x="17872" y="109940"/>
                  <a:pt x="17872" y="109940"/>
                </a:cubicBezTo>
                <a:cubicBezTo>
                  <a:pt x="15319" y="109940"/>
                  <a:pt x="15319" y="109940"/>
                  <a:pt x="15319" y="109940"/>
                </a:cubicBezTo>
                <a:cubicBezTo>
                  <a:pt x="13617" y="109221"/>
                  <a:pt x="13617" y="109221"/>
                  <a:pt x="13617" y="109221"/>
                </a:cubicBezTo>
                <a:cubicBezTo>
                  <a:pt x="11914" y="107065"/>
                  <a:pt x="11914" y="107065"/>
                  <a:pt x="11914" y="107065"/>
                </a:cubicBezTo>
                <a:cubicBezTo>
                  <a:pt x="11914" y="107065"/>
                  <a:pt x="11063" y="105628"/>
                  <a:pt x="11063" y="105628"/>
                </a:cubicBezTo>
                <a:cubicBezTo>
                  <a:pt x="11063" y="105628"/>
                  <a:pt x="13617" y="104191"/>
                  <a:pt x="13617" y="104191"/>
                </a:cubicBezTo>
                <a:cubicBezTo>
                  <a:pt x="14468" y="104191"/>
                  <a:pt x="14468" y="103473"/>
                  <a:pt x="14468" y="103473"/>
                </a:cubicBezTo>
                <a:cubicBezTo>
                  <a:pt x="14468" y="100598"/>
                  <a:pt x="14468" y="100598"/>
                  <a:pt x="14468" y="100598"/>
                </a:cubicBezTo>
                <a:cubicBezTo>
                  <a:pt x="14468" y="100598"/>
                  <a:pt x="14468" y="99161"/>
                  <a:pt x="14468" y="99161"/>
                </a:cubicBezTo>
                <a:cubicBezTo>
                  <a:pt x="14468" y="98443"/>
                  <a:pt x="15319" y="97724"/>
                  <a:pt x="15319" y="97724"/>
                </a:cubicBezTo>
                <a:cubicBezTo>
                  <a:pt x="15319" y="97724"/>
                  <a:pt x="15319" y="95568"/>
                  <a:pt x="14468" y="94850"/>
                </a:cubicBezTo>
                <a:cubicBezTo>
                  <a:pt x="14468" y="93413"/>
                  <a:pt x="14468" y="91976"/>
                  <a:pt x="14468" y="91976"/>
                </a:cubicBezTo>
                <a:cubicBezTo>
                  <a:pt x="12765" y="89820"/>
                  <a:pt x="12765" y="89820"/>
                  <a:pt x="12765" y="89820"/>
                </a:cubicBezTo>
                <a:cubicBezTo>
                  <a:pt x="12765" y="89820"/>
                  <a:pt x="11914" y="89820"/>
                  <a:pt x="10212" y="89101"/>
                </a:cubicBezTo>
                <a:cubicBezTo>
                  <a:pt x="8510" y="88383"/>
                  <a:pt x="5957" y="87664"/>
                  <a:pt x="5957" y="87664"/>
                </a:cubicBezTo>
                <a:cubicBezTo>
                  <a:pt x="5957" y="85508"/>
                  <a:pt x="5957" y="85508"/>
                  <a:pt x="5957" y="85508"/>
                </a:cubicBezTo>
                <a:cubicBezTo>
                  <a:pt x="5106" y="84790"/>
                  <a:pt x="5106" y="84790"/>
                  <a:pt x="5106" y="84790"/>
                </a:cubicBezTo>
                <a:cubicBezTo>
                  <a:pt x="5106" y="84790"/>
                  <a:pt x="3404" y="84790"/>
                  <a:pt x="3404" y="85508"/>
                </a:cubicBezTo>
                <a:cubicBezTo>
                  <a:pt x="3404" y="85508"/>
                  <a:pt x="3404" y="86227"/>
                  <a:pt x="3404" y="86227"/>
                </a:cubicBezTo>
                <a:cubicBezTo>
                  <a:pt x="1702" y="85508"/>
                  <a:pt x="1702" y="85508"/>
                  <a:pt x="1702" y="85508"/>
                </a:cubicBezTo>
                <a:cubicBezTo>
                  <a:pt x="1702" y="85508"/>
                  <a:pt x="0" y="83353"/>
                  <a:pt x="0" y="82634"/>
                </a:cubicBezTo>
                <a:cubicBezTo>
                  <a:pt x="851" y="82634"/>
                  <a:pt x="1702" y="81916"/>
                  <a:pt x="1702" y="81197"/>
                </a:cubicBezTo>
                <a:cubicBezTo>
                  <a:pt x="2553" y="80479"/>
                  <a:pt x="3404" y="79041"/>
                  <a:pt x="3404" y="78323"/>
                </a:cubicBezTo>
                <a:cubicBezTo>
                  <a:pt x="3404" y="78323"/>
                  <a:pt x="3404" y="75449"/>
                  <a:pt x="3404" y="75449"/>
                </a:cubicBezTo>
                <a:cubicBezTo>
                  <a:pt x="3404" y="75449"/>
                  <a:pt x="2553" y="74730"/>
                  <a:pt x="3404" y="74730"/>
                </a:cubicBezTo>
                <a:cubicBezTo>
                  <a:pt x="4255" y="74730"/>
                  <a:pt x="3404" y="74730"/>
                  <a:pt x="4255" y="74730"/>
                </a:cubicBezTo>
                <a:cubicBezTo>
                  <a:pt x="5106" y="74011"/>
                  <a:pt x="7659" y="72574"/>
                  <a:pt x="7659" y="72574"/>
                </a:cubicBezTo>
                <a:cubicBezTo>
                  <a:pt x="7659" y="71137"/>
                  <a:pt x="7659" y="71137"/>
                  <a:pt x="7659" y="71137"/>
                </a:cubicBezTo>
                <a:cubicBezTo>
                  <a:pt x="7659" y="71137"/>
                  <a:pt x="6808" y="69700"/>
                  <a:pt x="6808" y="68982"/>
                </a:cubicBezTo>
                <a:cubicBezTo>
                  <a:pt x="6808" y="68982"/>
                  <a:pt x="6808" y="68982"/>
                  <a:pt x="6808" y="68263"/>
                </a:cubicBezTo>
                <a:cubicBezTo>
                  <a:pt x="6808" y="66826"/>
                  <a:pt x="3404" y="63952"/>
                  <a:pt x="3404" y="63952"/>
                </a:cubicBezTo>
                <a:cubicBezTo>
                  <a:pt x="1702" y="63952"/>
                  <a:pt x="1702" y="63952"/>
                  <a:pt x="1702" y="63952"/>
                </a:cubicBezTo>
                <a:cubicBezTo>
                  <a:pt x="1702" y="63952"/>
                  <a:pt x="1702" y="63233"/>
                  <a:pt x="1702" y="62514"/>
                </a:cubicBezTo>
                <a:cubicBezTo>
                  <a:pt x="1702" y="62514"/>
                  <a:pt x="1702" y="60359"/>
                  <a:pt x="1702" y="60359"/>
                </a:cubicBezTo>
                <a:cubicBezTo>
                  <a:pt x="2553" y="57485"/>
                  <a:pt x="2553" y="57485"/>
                  <a:pt x="2553" y="57485"/>
                </a:cubicBezTo>
                <a:cubicBezTo>
                  <a:pt x="1702" y="52455"/>
                  <a:pt x="1702" y="52455"/>
                  <a:pt x="1702" y="52455"/>
                </a:cubicBezTo>
                <a:cubicBezTo>
                  <a:pt x="1702" y="48862"/>
                  <a:pt x="1702" y="48862"/>
                  <a:pt x="1702" y="48862"/>
                </a:cubicBezTo>
                <a:cubicBezTo>
                  <a:pt x="1702" y="48862"/>
                  <a:pt x="1702" y="45988"/>
                  <a:pt x="1702" y="45269"/>
                </a:cubicBezTo>
                <a:cubicBezTo>
                  <a:pt x="1702" y="45269"/>
                  <a:pt x="3404" y="42395"/>
                  <a:pt x="3404" y="42395"/>
                </a:cubicBezTo>
                <a:cubicBezTo>
                  <a:pt x="4255" y="40958"/>
                  <a:pt x="4255" y="40958"/>
                  <a:pt x="4255" y="40958"/>
                </a:cubicBezTo>
                <a:cubicBezTo>
                  <a:pt x="5106" y="43113"/>
                  <a:pt x="5106" y="43113"/>
                  <a:pt x="5106" y="43113"/>
                </a:cubicBezTo>
                <a:cubicBezTo>
                  <a:pt x="5106" y="43113"/>
                  <a:pt x="4255" y="43832"/>
                  <a:pt x="5106" y="44550"/>
                </a:cubicBezTo>
                <a:cubicBezTo>
                  <a:pt x="5957" y="44550"/>
                  <a:pt x="6808" y="44550"/>
                  <a:pt x="7659" y="44550"/>
                </a:cubicBezTo>
                <a:cubicBezTo>
                  <a:pt x="7659" y="44550"/>
                  <a:pt x="8510" y="45269"/>
                  <a:pt x="8510" y="45269"/>
                </a:cubicBezTo>
                <a:cubicBezTo>
                  <a:pt x="11063" y="46706"/>
                  <a:pt x="11063" y="46706"/>
                  <a:pt x="11063" y="46706"/>
                </a:cubicBezTo>
                <a:cubicBezTo>
                  <a:pt x="12765" y="48143"/>
                  <a:pt x="12765" y="48143"/>
                  <a:pt x="12765" y="48143"/>
                </a:cubicBezTo>
                <a:cubicBezTo>
                  <a:pt x="14468" y="48862"/>
                  <a:pt x="14468" y="48862"/>
                  <a:pt x="14468" y="48862"/>
                </a:cubicBezTo>
                <a:cubicBezTo>
                  <a:pt x="16170" y="48862"/>
                  <a:pt x="16170" y="48862"/>
                  <a:pt x="16170" y="48862"/>
                </a:cubicBezTo>
                <a:cubicBezTo>
                  <a:pt x="17021" y="48143"/>
                  <a:pt x="17021" y="48143"/>
                  <a:pt x="17021" y="48143"/>
                </a:cubicBezTo>
                <a:cubicBezTo>
                  <a:pt x="17021" y="48143"/>
                  <a:pt x="17021" y="47425"/>
                  <a:pt x="17021" y="47425"/>
                </a:cubicBezTo>
                <a:cubicBezTo>
                  <a:pt x="17021" y="47425"/>
                  <a:pt x="16170" y="45988"/>
                  <a:pt x="16170" y="45988"/>
                </a:cubicBezTo>
                <a:cubicBezTo>
                  <a:pt x="16170" y="45269"/>
                  <a:pt x="15319" y="44550"/>
                  <a:pt x="15319" y="44550"/>
                </a:cubicBezTo>
                <a:cubicBezTo>
                  <a:pt x="17872" y="43113"/>
                  <a:pt x="17872" y="43113"/>
                  <a:pt x="17872" y="43113"/>
                </a:cubicBezTo>
                <a:cubicBezTo>
                  <a:pt x="18723" y="41676"/>
                  <a:pt x="18723" y="41676"/>
                  <a:pt x="18723" y="41676"/>
                </a:cubicBezTo>
                <a:cubicBezTo>
                  <a:pt x="18723" y="41676"/>
                  <a:pt x="18723" y="40958"/>
                  <a:pt x="17872" y="40958"/>
                </a:cubicBezTo>
                <a:cubicBezTo>
                  <a:pt x="17021" y="40958"/>
                  <a:pt x="15319" y="40958"/>
                  <a:pt x="15319" y="40958"/>
                </a:cubicBezTo>
                <a:cubicBezTo>
                  <a:pt x="15319" y="40958"/>
                  <a:pt x="14468" y="40239"/>
                  <a:pt x="14468" y="40239"/>
                </a:cubicBezTo>
                <a:cubicBezTo>
                  <a:pt x="14468" y="40239"/>
                  <a:pt x="13617" y="38802"/>
                  <a:pt x="13617" y="38802"/>
                </a:cubicBezTo>
                <a:cubicBezTo>
                  <a:pt x="13617" y="38802"/>
                  <a:pt x="13617" y="37365"/>
                  <a:pt x="14468" y="37365"/>
                </a:cubicBezTo>
                <a:cubicBezTo>
                  <a:pt x="14468" y="36646"/>
                  <a:pt x="15319" y="34491"/>
                  <a:pt x="15319" y="34491"/>
                </a:cubicBezTo>
                <a:cubicBezTo>
                  <a:pt x="15319" y="34491"/>
                  <a:pt x="14468" y="33053"/>
                  <a:pt x="16170" y="33053"/>
                </a:cubicBezTo>
                <a:cubicBezTo>
                  <a:pt x="17872" y="33053"/>
                  <a:pt x="18723" y="33053"/>
                  <a:pt x="18723" y="33053"/>
                </a:cubicBezTo>
                <a:cubicBezTo>
                  <a:pt x="18723" y="33053"/>
                  <a:pt x="19574" y="31616"/>
                  <a:pt x="20425" y="31616"/>
                </a:cubicBezTo>
                <a:cubicBezTo>
                  <a:pt x="20425" y="31616"/>
                  <a:pt x="21276" y="30898"/>
                  <a:pt x="21276" y="31616"/>
                </a:cubicBezTo>
                <a:cubicBezTo>
                  <a:pt x="22127" y="31616"/>
                  <a:pt x="21276" y="33772"/>
                  <a:pt x="21276" y="33772"/>
                </a:cubicBezTo>
                <a:cubicBezTo>
                  <a:pt x="19574" y="35209"/>
                  <a:pt x="19574" y="35209"/>
                  <a:pt x="19574" y="35209"/>
                </a:cubicBezTo>
                <a:cubicBezTo>
                  <a:pt x="19574" y="35209"/>
                  <a:pt x="20425" y="35928"/>
                  <a:pt x="20425" y="36646"/>
                </a:cubicBezTo>
                <a:cubicBezTo>
                  <a:pt x="20425" y="37365"/>
                  <a:pt x="20425" y="38083"/>
                  <a:pt x="20425" y="38083"/>
                </a:cubicBezTo>
                <a:cubicBezTo>
                  <a:pt x="18723" y="40239"/>
                  <a:pt x="18723" y="40239"/>
                  <a:pt x="18723" y="40239"/>
                </a:cubicBezTo>
                <a:cubicBezTo>
                  <a:pt x="18723" y="40239"/>
                  <a:pt x="19574" y="40239"/>
                  <a:pt x="19574" y="40239"/>
                </a:cubicBezTo>
                <a:cubicBezTo>
                  <a:pt x="19574" y="40958"/>
                  <a:pt x="19574" y="41676"/>
                  <a:pt x="19574" y="41676"/>
                </a:cubicBezTo>
                <a:cubicBezTo>
                  <a:pt x="22127" y="40958"/>
                  <a:pt x="22127" y="40958"/>
                  <a:pt x="22127" y="40958"/>
                </a:cubicBezTo>
                <a:cubicBezTo>
                  <a:pt x="22127" y="40958"/>
                  <a:pt x="21276" y="40239"/>
                  <a:pt x="21276" y="40239"/>
                </a:cubicBezTo>
                <a:cubicBezTo>
                  <a:pt x="21276" y="40239"/>
                  <a:pt x="20425" y="39520"/>
                  <a:pt x="21276" y="38802"/>
                </a:cubicBezTo>
                <a:cubicBezTo>
                  <a:pt x="22127" y="38083"/>
                  <a:pt x="22127" y="37365"/>
                  <a:pt x="22978" y="37365"/>
                </a:cubicBezTo>
                <a:cubicBezTo>
                  <a:pt x="22978" y="36646"/>
                  <a:pt x="22978" y="36646"/>
                  <a:pt x="24680" y="36646"/>
                </a:cubicBezTo>
                <a:cubicBezTo>
                  <a:pt x="25531" y="36646"/>
                  <a:pt x="27234" y="38083"/>
                  <a:pt x="27234" y="38083"/>
                </a:cubicBezTo>
                <a:cubicBezTo>
                  <a:pt x="27234" y="38083"/>
                  <a:pt x="28085" y="38802"/>
                  <a:pt x="27234" y="38802"/>
                </a:cubicBezTo>
                <a:cubicBezTo>
                  <a:pt x="27234" y="39520"/>
                  <a:pt x="26382" y="40239"/>
                  <a:pt x="26382" y="40239"/>
                </a:cubicBezTo>
                <a:cubicBezTo>
                  <a:pt x="28085" y="42395"/>
                  <a:pt x="28085" y="42395"/>
                  <a:pt x="28085" y="42395"/>
                </a:cubicBezTo>
                <a:cubicBezTo>
                  <a:pt x="28085" y="42395"/>
                  <a:pt x="27234" y="42395"/>
                  <a:pt x="26382" y="43113"/>
                </a:cubicBezTo>
                <a:cubicBezTo>
                  <a:pt x="26382" y="43113"/>
                  <a:pt x="26382" y="43832"/>
                  <a:pt x="26382" y="43832"/>
                </a:cubicBezTo>
                <a:cubicBezTo>
                  <a:pt x="26382" y="44550"/>
                  <a:pt x="23829" y="45269"/>
                  <a:pt x="26382" y="45269"/>
                </a:cubicBezTo>
                <a:cubicBezTo>
                  <a:pt x="28085" y="45269"/>
                  <a:pt x="28085" y="45269"/>
                  <a:pt x="28085" y="44550"/>
                </a:cubicBezTo>
                <a:cubicBezTo>
                  <a:pt x="28085" y="44550"/>
                  <a:pt x="28085" y="43113"/>
                  <a:pt x="28085" y="43113"/>
                </a:cubicBezTo>
                <a:cubicBezTo>
                  <a:pt x="28085" y="43113"/>
                  <a:pt x="28936" y="43113"/>
                  <a:pt x="28936" y="43113"/>
                </a:cubicBezTo>
                <a:cubicBezTo>
                  <a:pt x="29787" y="43113"/>
                  <a:pt x="30638" y="43113"/>
                  <a:pt x="30638" y="43113"/>
                </a:cubicBezTo>
                <a:cubicBezTo>
                  <a:pt x="31489" y="43832"/>
                  <a:pt x="31489" y="43832"/>
                  <a:pt x="31489" y="43832"/>
                </a:cubicBezTo>
                <a:cubicBezTo>
                  <a:pt x="31489" y="43832"/>
                  <a:pt x="31489" y="44550"/>
                  <a:pt x="31489" y="45269"/>
                </a:cubicBezTo>
                <a:cubicBezTo>
                  <a:pt x="31489" y="45269"/>
                  <a:pt x="31489" y="45988"/>
                  <a:pt x="31489" y="45988"/>
                </a:cubicBezTo>
                <a:cubicBezTo>
                  <a:pt x="31489" y="45988"/>
                  <a:pt x="33191" y="47425"/>
                  <a:pt x="33191" y="46706"/>
                </a:cubicBezTo>
                <a:cubicBezTo>
                  <a:pt x="33191" y="45988"/>
                  <a:pt x="34042" y="46706"/>
                  <a:pt x="33191" y="45269"/>
                </a:cubicBezTo>
                <a:cubicBezTo>
                  <a:pt x="32340" y="44550"/>
                  <a:pt x="32340" y="43113"/>
                  <a:pt x="32340" y="43113"/>
                </a:cubicBezTo>
                <a:cubicBezTo>
                  <a:pt x="32340" y="43113"/>
                  <a:pt x="32340" y="43113"/>
                  <a:pt x="32340" y="42395"/>
                </a:cubicBezTo>
                <a:cubicBezTo>
                  <a:pt x="32340" y="42395"/>
                  <a:pt x="32340" y="41676"/>
                  <a:pt x="32340" y="41676"/>
                </a:cubicBezTo>
                <a:cubicBezTo>
                  <a:pt x="31489" y="40958"/>
                  <a:pt x="30638" y="40958"/>
                  <a:pt x="30638" y="40239"/>
                </a:cubicBezTo>
                <a:cubicBezTo>
                  <a:pt x="30638" y="40239"/>
                  <a:pt x="28085" y="38083"/>
                  <a:pt x="28085" y="38083"/>
                </a:cubicBezTo>
                <a:cubicBezTo>
                  <a:pt x="28085" y="38083"/>
                  <a:pt x="28085" y="37365"/>
                  <a:pt x="28085" y="36646"/>
                </a:cubicBezTo>
                <a:cubicBezTo>
                  <a:pt x="28085" y="35209"/>
                  <a:pt x="28085" y="34491"/>
                  <a:pt x="28085" y="33772"/>
                </a:cubicBezTo>
                <a:cubicBezTo>
                  <a:pt x="28085" y="33772"/>
                  <a:pt x="28936" y="32335"/>
                  <a:pt x="28936" y="32335"/>
                </a:cubicBezTo>
                <a:cubicBezTo>
                  <a:pt x="28936" y="32335"/>
                  <a:pt x="28936" y="30898"/>
                  <a:pt x="29787" y="30179"/>
                </a:cubicBezTo>
                <a:cubicBezTo>
                  <a:pt x="30638" y="30179"/>
                  <a:pt x="29787" y="29461"/>
                  <a:pt x="30638" y="29461"/>
                </a:cubicBezTo>
                <a:cubicBezTo>
                  <a:pt x="32340" y="28742"/>
                  <a:pt x="31489" y="28742"/>
                  <a:pt x="33191" y="28742"/>
                </a:cubicBezTo>
                <a:cubicBezTo>
                  <a:pt x="34042" y="28742"/>
                  <a:pt x="35744" y="29461"/>
                  <a:pt x="36595" y="29461"/>
                </a:cubicBezTo>
                <a:cubicBezTo>
                  <a:pt x="36595" y="29461"/>
                  <a:pt x="39148" y="30179"/>
                  <a:pt x="39148" y="30179"/>
                </a:cubicBezTo>
                <a:cubicBezTo>
                  <a:pt x="39148" y="30179"/>
                  <a:pt x="39148" y="29461"/>
                  <a:pt x="39148" y="29461"/>
                </a:cubicBezTo>
                <a:cubicBezTo>
                  <a:pt x="40000" y="29461"/>
                  <a:pt x="40000" y="28023"/>
                  <a:pt x="40000" y="28742"/>
                </a:cubicBezTo>
                <a:cubicBezTo>
                  <a:pt x="40851" y="28742"/>
                  <a:pt x="40851" y="29461"/>
                  <a:pt x="41702" y="28742"/>
                </a:cubicBezTo>
                <a:cubicBezTo>
                  <a:pt x="42553" y="28023"/>
                  <a:pt x="42553" y="27305"/>
                  <a:pt x="42553" y="27305"/>
                </a:cubicBezTo>
                <a:cubicBezTo>
                  <a:pt x="42553" y="27305"/>
                  <a:pt x="43404" y="27305"/>
                  <a:pt x="44255" y="26586"/>
                </a:cubicBezTo>
                <a:cubicBezTo>
                  <a:pt x="44255" y="26586"/>
                  <a:pt x="43404" y="25868"/>
                  <a:pt x="42553" y="25868"/>
                </a:cubicBezTo>
                <a:cubicBezTo>
                  <a:pt x="42553" y="25868"/>
                  <a:pt x="40851" y="25868"/>
                  <a:pt x="40000" y="26586"/>
                </a:cubicBezTo>
                <a:cubicBezTo>
                  <a:pt x="39148" y="26586"/>
                  <a:pt x="40000" y="26586"/>
                  <a:pt x="38297" y="26586"/>
                </a:cubicBezTo>
                <a:cubicBezTo>
                  <a:pt x="37446" y="27305"/>
                  <a:pt x="37446" y="27305"/>
                  <a:pt x="35744" y="27305"/>
                </a:cubicBezTo>
                <a:cubicBezTo>
                  <a:pt x="34042" y="27305"/>
                  <a:pt x="34042" y="27305"/>
                  <a:pt x="33191" y="28023"/>
                </a:cubicBezTo>
                <a:cubicBezTo>
                  <a:pt x="32340" y="28742"/>
                  <a:pt x="31489" y="28742"/>
                  <a:pt x="31489" y="28742"/>
                </a:cubicBezTo>
                <a:cubicBezTo>
                  <a:pt x="30638" y="28742"/>
                  <a:pt x="30638" y="28742"/>
                  <a:pt x="30638" y="28742"/>
                </a:cubicBezTo>
                <a:cubicBezTo>
                  <a:pt x="30638" y="28742"/>
                  <a:pt x="29787" y="28742"/>
                  <a:pt x="28936" y="28742"/>
                </a:cubicBezTo>
                <a:cubicBezTo>
                  <a:pt x="28936" y="28742"/>
                  <a:pt x="28085" y="28023"/>
                  <a:pt x="28085" y="28023"/>
                </a:cubicBezTo>
                <a:cubicBezTo>
                  <a:pt x="28085" y="28023"/>
                  <a:pt x="28085" y="28023"/>
                  <a:pt x="27234" y="28023"/>
                </a:cubicBezTo>
                <a:cubicBezTo>
                  <a:pt x="26382" y="28023"/>
                  <a:pt x="25531" y="28742"/>
                  <a:pt x="25531" y="28742"/>
                </a:cubicBezTo>
                <a:cubicBezTo>
                  <a:pt x="23829" y="28742"/>
                  <a:pt x="23829" y="28742"/>
                  <a:pt x="23829" y="28742"/>
                </a:cubicBezTo>
                <a:cubicBezTo>
                  <a:pt x="23829" y="28742"/>
                  <a:pt x="22978" y="28742"/>
                  <a:pt x="22127" y="28742"/>
                </a:cubicBezTo>
                <a:cubicBezTo>
                  <a:pt x="22127" y="29461"/>
                  <a:pt x="20425" y="29461"/>
                  <a:pt x="20425" y="29461"/>
                </a:cubicBezTo>
                <a:cubicBezTo>
                  <a:pt x="20425" y="29461"/>
                  <a:pt x="20425" y="29461"/>
                  <a:pt x="19574" y="29461"/>
                </a:cubicBezTo>
                <a:cubicBezTo>
                  <a:pt x="19574" y="30179"/>
                  <a:pt x="20425" y="30179"/>
                  <a:pt x="19574" y="30898"/>
                </a:cubicBezTo>
                <a:cubicBezTo>
                  <a:pt x="18723" y="30898"/>
                  <a:pt x="17021" y="30898"/>
                  <a:pt x="17021" y="30898"/>
                </a:cubicBezTo>
                <a:cubicBezTo>
                  <a:pt x="16170" y="31616"/>
                  <a:pt x="16170" y="31616"/>
                  <a:pt x="16170" y="31616"/>
                </a:cubicBezTo>
                <a:cubicBezTo>
                  <a:pt x="15319" y="33053"/>
                  <a:pt x="15319" y="33053"/>
                  <a:pt x="15319" y="33053"/>
                </a:cubicBezTo>
                <a:cubicBezTo>
                  <a:pt x="14468" y="33053"/>
                  <a:pt x="14468" y="33053"/>
                  <a:pt x="14468" y="33053"/>
                </a:cubicBezTo>
                <a:cubicBezTo>
                  <a:pt x="13617" y="35209"/>
                  <a:pt x="13617" y="35209"/>
                  <a:pt x="13617" y="35209"/>
                </a:cubicBezTo>
                <a:cubicBezTo>
                  <a:pt x="13617" y="35928"/>
                  <a:pt x="13617" y="35928"/>
                  <a:pt x="13617" y="35928"/>
                </a:cubicBezTo>
                <a:cubicBezTo>
                  <a:pt x="11914" y="37365"/>
                  <a:pt x="11914" y="37365"/>
                  <a:pt x="11914" y="37365"/>
                </a:cubicBezTo>
                <a:cubicBezTo>
                  <a:pt x="11063" y="38083"/>
                  <a:pt x="11063" y="38083"/>
                  <a:pt x="11063" y="38083"/>
                </a:cubicBezTo>
                <a:cubicBezTo>
                  <a:pt x="11063" y="38083"/>
                  <a:pt x="11063" y="38083"/>
                  <a:pt x="11914" y="38802"/>
                </a:cubicBezTo>
                <a:cubicBezTo>
                  <a:pt x="11914" y="38802"/>
                  <a:pt x="11914" y="39520"/>
                  <a:pt x="11914" y="39520"/>
                </a:cubicBezTo>
                <a:cubicBezTo>
                  <a:pt x="11063" y="40239"/>
                  <a:pt x="11063" y="40239"/>
                  <a:pt x="11063" y="40239"/>
                </a:cubicBezTo>
                <a:cubicBezTo>
                  <a:pt x="11914" y="41676"/>
                  <a:pt x="11914" y="41676"/>
                  <a:pt x="11914" y="41676"/>
                </a:cubicBezTo>
                <a:cubicBezTo>
                  <a:pt x="13617" y="40958"/>
                  <a:pt x="13617" y="40958"/>
                  <a:pt x="13617" y="40958"/>
                </a:cubicBezTo>
                <a:cubicBezTo>
                  <a:pt x="14468" y="42395"/>
                  <a:pt x="14468" y="42395"/>
                  <a:pt x="14468" y="42395"/>
                </a:cubicBezTo>
                <a:cubicBezTo>
                  <a:pt x="13617" y="43832"/>
                  <a:pt x="13617" y="43832"/>
                  <a:pt x="13617" y="43832"/>
                </a:cubicBezTo>
                <a:cubicBezTo>
                  <a:pt x="13617" y="43832"/>
                  <a:pt x="12765" y="44550"/>
                  <a:pt x="11914" y="44550"/>
                </a:cubicBezTo>
                <a:cubicBezTo>
                  <a:pt x="11914" y="44550"/>
                  <a:pt x="11063" y="43832"/>
                  <a:pt x="11063" y="43832"/>
                </a:cubicBezTo>
                <a:cubicBezTo>
                  <a:pt x="10212" y="42395"/>
                  <a:pt x="10212" y="42395"/>
                  <a:pt x="10212" y="42395"/>
                </a:cubicBezTo>
                <a:cubicBezTo>
                  <a:pt x="10212" y="41676"/>
                  <a:pt x="10212" y="41676"/>
                  <a:pt x="10212" y="41676"/>
                </a:cubicBezTo>
                <a:cubicBezTo>
                  <a:pt x="10212" y="40958"/>
                  <a:pt x="10212" y="40958"/>
                  <a:pt x="10212" y="40958"/>
                </a:cubicBezTo>
                <a:cubicBezTo>
                  <a:pt x="7659" y="41676"/>
                  <a:pt x="7659" y="41676"/>
                  <a:pt x="7659" y="41676"/>
                </a:cubicBezTo>
                <a:cubicBezTo>
                  <a:pt x="7659" y="40958"/>
                  <a:pt x="7659" y="40958"/>
                  <a:pt x="7659" y="40958"/>
                </a:cubicBezTo>
                <a:cubicBezTo>
                  <a:pt x="7659" y="40958"/>
                  <a:pt x="6808" y="40239"/>
                  <a:pt x="6808" y="40239"/>
                </a:cubicBezTo>
                <a:cubicBezTo>
                  <a:pt x="6808" y="39520"/>
                  <a:pt x="5957" y="38802"/>
                  <a:pt x="5957" y="38802"/>
                </a:cubicBezTo>
                <a:cubicBezTo>
                  <a:pt x="4255" y="36646"/>
                  <a:pt x="4255" y="36646"/>
                  <a:pt x="4255" y="36646"/>
                </a:cubicBezTo>
                <a:cubicBezTo>
                  <a:pt x="4255" y="36646"/>
                  <a:pt x="4255" y="36646"/>
                  <a:pt x="5106" y="36646"/>
                </a:cubicBezTo>
                <a:cubicBezTo>
                  <a:pt x="5106" y="35928"/>
                  <a:pt x="5106" y="35928"/>
                  <a:pt x="5957" y="35209"/>
                </a:cubicBezTo>
                <a:cubicBezTo>
                  <a:pt x="5957" y="34491"/>
                  <a:pt x="7659" y="33053"/>
                  <a:pt x="7659" y="33053"/>
                </a:cubicBezTo>
                <a:cubicBezTo>
                  <a:pt x="8510" y="30898"/>
                  <a:pt x="8510" y="30898"/>
                  <a:pt x="8510" y="30898"/>
                </a:cubicBezTo>
                <a:cubicBezTo>
                  <a:pt x="10212" y="29461"/>
                  <a:pt x="10212" y="29461"/>
                  <a:pt x="10212" y="29461"/>
                </a:cubicBezTo>
                <a:cubicBezTo>
                  <a:pt x="11063" y="28023"/>
                  <a:pt x="11063" y="28023"/>
                  <a:pt x="11063" y="28023"/>
                </a:cubicBezTo>
                <a:cubicBezTo>
                  <a:pt x="12765" y="25868"/>
                  <a:pt x="12765" y="25868"/>
                  <a:pt x="12765" y="25868"/>
                </a:cubicBezTo>
                <a:cubicBezTo>
                  <a:pt x="14468" y="24431"/>
                  <a:pt x="14468" y="24431"/>
                  <a:pt x="14468" y="24431"/>
                </a:cubicBezTo>
                <a:cubicBezTo>
                  <a:pt x="17021" y="24431"/>
                  <a:pt x="17021" y="24431"/>
                  <a:pt x="17021" y="24431"/>
                </a:cubicBezTo>
                <a:cubicBezTo>
                  <a:pt x="17021" y="24431"/>
                  <a:pt x="18723" y="25149"/>
                  <a:pt x="18723" y="25149"/>
                </a:cubicBezTo>
                <a:cubicBezTo>
                  <a:pt x="19574" y="24431"/>
                  <a:pt x="20425" y="23712"/>
                  <a:pt x="20425" y="23712"/>
                </a:cubicBezTo>
                <a:cubicBezTo>
                  <a:pt x="23829" y="22994"/>
                  <a:pt x="23829" y="22994"/>
                  <a:pt x="23829" y="22994"/>
                </a:cubicBezTo>
                <a:cubicBezTo>
                  <a:pt x="24680" y="22994"/>
                  <a:pt x="24680" y="22994"/>
                  <a:pt x="24680" y="22994"/>
                </a:cubicBezTo>
                <a:cubicBezTo>
                  <a:pt x="27234" y="23712"/>
                  <a:pt x="27234" y="23712"/>
                  <a:pt x="27234" y="23712"/>
                </a:cubicBezTo>
                <a:cubicBezTo>
                  <a:pt x="28936" y="23712"/>
                  <a:pt x="28936" y="23712"/>
                  <a:pt x="28936" y="23712"/>
                </a:cubicBezTo>
                <a:cubicBezTo>
                  <a:pt x="32340" y="23712"/>
                  <a:pt x="32340" y="23712"/>
                  <a:pt x="32340" y="23712"/>
                </a:cubicBezTo>
                <a:close/>
                <a:moveTo>
                  <a:pt x="13617" y="99880"/>
                </a:moveTo>
                <a:cubicBezTo>
                  <a:pt x="13617" y="99880"/>
                  <a:pt x="13617" y="99880"/>
                  <a:pt x="13617" y="99880"/>
                </a:cubicBezTo>
                <a:cubicBezTo>
                  <a:pt x="13617" y="99880"/>
                  <a:pt x="11914" y="99161"/>
                  <a:pt x="11914" y="99161"/>
                </a:cubicBezTo>
                <a:cubicBezTo>
                  <a:pt x="11914" y="99880"/>
                  <a:pt x="11063" y="100598"/>
                  <a:pt x="11063" y="100598"/>
                </a:cubicBezTo>
                <a:cubicBezTo>
                  <a:pt x="10212" y="102754"/>
                  <a:pt x="10212" y="102754"/>
                  <a:pt x="10212" y="102754"/>
                </a:cubicBezTo>
                <a:cubicBezTo>
                  <a:pt x="9361" y="103473"/>
                  <a:pt x="9361" y="103473"/>
                  <a:pt x="9361" y="103473"/>
                </a:cubicBezTo>
                <a:cubicBezTo>
                  <a:pt x="9361" y="104910"/>
                  <a:pt x="9361" y="104910"/>
                  <a:pt x="9361" y="104910"/>
                </a:cubicBezTo>
                <a:cubicBezTo>
                  <a:pt x="6808" y="105628"/>
                  <a:pt x="6808" y="105628"/>
                  <a:pt x="6808" y="105628"/>
                </a:cubicBezTo>
                <a:cubicBezTo>
                  <a:pt x="6808" y="105628"/>
                  <a:pt x="6808" y="106347"/>
                  <a:pt x="7659" y="106347"/>
                </a:cubicBezTo>
                <a:cubicBezTo>
                  <a:pt x="8510" y="106347"/>
                  <a:pt x="9361" y="106347"/>
                  <a:pt x="9361" y="106347"/>
                </a:cubicBezTo>
                <a:cubicBezTo>
                  <a:pt x="9361" y="105628"/>
                  <a:pt x="10212" y="104910"/>
                  <a:pt x="10212" y="104910"/>
                </a:cubicBezTo>
                <a:cubicBezTo>
                  <a:pt x="10212" y="104910"/>
                  <a:pt x="11063" y="104191"/>
                  <a:pt x="11063" y="104191"/>
                </a:cubicBezTo>
                <a:cubicBezTo>
                  <a:pt x="11914" y="104191"/>
                  <a:pt x="13617" y="104191"/>
                  <a:pt x="13617" y="103473"/>
                </a:cubicBezTo>
                <a:cubicBezTo>
                  <a:pt x="13617" y="102754"/>
                  <a:pt x="13617" y="102035"/>
                  <a:pt x="13617" y="102035"/>
                </a:cubicBezTo>
                <a:cubicBezTo>
                  <a:pt x="13617" y="101317"/>
                  <a:pt x="13617" y="101317"/>
                  <a:pt x="13617" y="101317"/>
                </a:cubicBezTo>
                <a:cubicBezTo>
                  <a:pt x="13617" y="99880"/>
                  <a:pt x="13617" y="99880"/>
                  <a:pt x="13617" y="99880"/>
                </a:cubicBezTo>
                <a:close/>
                <a:moveTo>
                  <a:pt x="57872" y="80479"/>
                </a:moveTo>
                <a:cubicBezTo>
                  <a:pt x="57872" y="80479"/>
                  <a:pt x="57872" y="80479"/>
                  <a:pt x="57872" y="80479"/>
                </a:cubicBezTo>
                <a:cubicBezTo>
                  <a:pt x="57872" y="80479"/>
                  <a:pt x="57872" y="80479"/>
                  <a:pt x="57872" y="80479"/>
                </a:cubicBezTo>
                <a:cubicBezTo>
                  <a:pt x="57872" y="80479"/>
                  <a:pt x="58723" y="79760"/>
                  <a:pt x="58723" y="79760"/>
                </a:cubicBezTo>
                <a:cubicBezTo>
                  <a:pt x="58723" y="79041"/>
                  <a:pt x="57872" y="78323"/>
                  <a:pt x="57872" y="78323"/>
                </a:cubicBezTo>
                <a:cubicBezTo>
                  <a:pt x="57872" y="77604"/>
                  <a:pt x="58723" y="77604"/>
                  <a:pt x="58723" y="77604"/>
                </a:cubicBezTo>
                <a:cubicBezTo>
                  <a:pt x="58723" y="77604"/>
                  <a:pt x="58723" y="76886"/>
                  <a:pt x="58723" y="76886"/>
                </a:cubicBezTo>
                <a:cubicBezTo>
                  <a:pt x="58723" y="76886"/>
                  <a:pt x="57872" y="76886"/>
                  <a:pt x="57872" y="76886"/>
                </a:cubicBezTo>
                <a:cubicBezTo>
                  <a:pt x="57021" y="76886"/>
                  <a:pt x="57021" y="77604"/>
                  <a:pt x="57021" y="77604"/>
                </a:cubicBezTo>
                <a:cubicBezTo>
                  <a:pt x="57021" y="77604"/>
                  <a:pt x="57021" y="78323"/>
                  <a:pt x="57021" y="78323"/>
                </a:cubicBezTo>
                <a:cubicBezTo>
                  <a:pt x="57021" y="78323"/>
                  <a:pt x="57021" y="79041"/>
                  <a:pt x="57021" y="79041"/>
                </a:cubicBezTo>
                <a:cubicBezTo>
                  <a:pt x="57021" y="79041"/>
                  <a:pt x="57872" y="80479"/>
                  <a:pt x="57872" y="80479"/>
                </a:cubicBezTo>
                <a:close/>
                <a:moveTo>
                  <a:pt x="80851" y="99880"/>
                </a:moveTo>
                <a:cubicBezTo>
                  <a:pt x="80851" y="99880"/>
                  <a:pt x="80851" y="99880"/>
                  <a:pt x="80851" y="99880"/>
                </a:cubicBezTo>
                <a:cubicBezTo>
                  <a:pt x="81702" y="99161"/>
                  <a:pt x="81702" y="99161"/>
                  <a:pt x="81702" y="99161"/>
                </a:cubicBezTo>
                <a:cubicBezTo>
                  <a:pt x="82553" y="99880"/>
                  <a:pt x="82553" y="99880"/>
                  <a:pt x="82553" y="99880"/>
                </a:cubicBezTo>
                <a:cubicBezTo>
                  <a:pt x="82553" y="99880"/>
                  <a:pt x="81702" y="100598"/>
                  <a:pt x="81702" y="100598"/>
                </a:cubicBezTo>
                <a:cubicBezTo>
                  <a:pt x="81702" y="100598"/>
                  <a:pt x="80851" y="99880"/>
                  <a:pt x="80851" y="99880"/>
                </a:cubicBezTo>
                <a:cubicBezTo>
                  <a:pt x="80851" y="99880"/>
                  <a:pt x="80851" y="99880"/>
                  <a:pt x="80851" y="99880"/>
                </a:cubicBezTo>
                <a:close/>
                <a:moveTo>
                  <a:pt x="90212" y="109221"/>
                </a:moveTo>
                <a:cubicBezTo>
                  <a:pt x="90212" y="109221"/>
                  <a:pt x="90212" y="109221"/>
                  <a:pt x="90212" y="109221"/>
                </a:cubicBezTo>
                <a:cubicBezTo>
                  <a:pt x="91063" y="109221"/>
                  <a:pt x="91063" y="109221"/>
                  <a:pt x="91063" y="109221"/>
                </a:cubicBezTo>
                <a:cubicBezTo>
                  <a:pt x="91063" y="109940"/>
                  <a:pt x="91063" y="109940"/>
                  <a:pt x="91063" y="109940"/>
                </a:cubicBezTo>
                <a:cubicBezTo>
                  <a:pt x="90212" y="110658"/>
                  <a:pt x="90212" y="110658"/>
                  <a:pt x="90212" y="110658"/>
                </a:cubicBezTo>
                <a:cubicBezTo>
                  <a:pt x="90212" y="109940"/>
                  <a:pt x="90212" y="109940"/>
                  <a:pt x="90212" y="109940"/>
                </a:cubicBezTo>
                <a:cubicBezTo>
                  <a:pt x="90212" y="109221"/>
                  <a:pt x="90212" y="109221"/>
                  <a:pt x="90212" y="109221"/>
                </a:cubicBezTo>
                <a:close/>
                <a:moveTo>
                  <a:pt x="87659" y="107784"/>
                </a:moveTo>
                <a:cubicBezTo>
                  <a:pt x="87659" y="107784"/>
                  <a:pt x="87659" y="107784"/>
                  <a:pt x="87659" y="107784"/>
                </a:cubicBezTo>
                <a:cubicBezTo>
                  <a:pt x="86808" y="107065"/>
                  <a:pt x="86808" y="107065"/>
                  <a:pt x="86808" y="107065"/>
                </a:cubicBezTo>
                <a:cubicBezTo>
                  <a:pt x="88510" y="107065"/>
                  <a:pt x="88510" y="107065"/>
                  <a:pt x="88510" y="107065"/>
                </a:cubicBezTo>
                <a:cubicBezTo>
                  <a:pt x="88510" y="107065"/>
                  <a:pt x="88510" y="107065"/>
                  <a:pt x="89361" y="107065"/>
                </a:cubicBezTo>
                <a:cubicBezTo>
                  <a:pt x="89361" y="107065"/>
                  <a:pt x="90212" y="107784"/>
                  <a:pt x="90212" y="107784"/>
                </a:cubicBezTo>
                <a:cubicBezTo>
                  <a:pt x="90212" y="107784"/>
                  <a:pt x="90212" y="107784"/>
                  <a:pt x="90212" y="107784"/>
                </a:cubicBezTo>
                <a:cubicBezTo>
                  <a:pt x="89361" y="107784"/>
                  <a:pt x="89361" y="108502"/>
                  <a:pt x="89361" y="108502"/>
                </a:cubicBezTo>
                <a:cubicBezTo>
                  <a:pt x="88510" y="108502"/>
                  <a:pt x="87659" y="107784"/>
                  <a:pt x="87659" y="107784"/>
                </a:cubicBezTo>
                <a:close/>
                <a:moveTo>
                  <a:pt x="91914" y="107784"/>
                </a:moveTo>
                <a:cubicBezTo>
                  <a:pt x="91914" y="107784"/>
                  <a:pt x="91914" y="107784"/>
                  <a:pt x="91914" y="107784"/>
                </a:cubicBezTo>
                <a:cubicBezTo>
                  <a:pt x="91063" y="106347"/>
                  <a:pt x="91063" y="106347"/>
                  <a:pt x="91063" y="106347"/>
                </a:cubicBezTo>
                <a:cubicBezTo>
                  <a:pt x="91914" y="105628"/>
                  <a:pt x="91914" y="105628"/>
                  <a:pt x="91914" y="105628"/>
                </a:cubicBezTo>
                <a:cubicBezTo>
                  <a:pt x="91914" y="105628"/>
                  <a:pt x="92765" y="106347"/>
                  <a:pt x="92765" y="106347"/>
                </a:cubicBezTo>
                <a:cubicBezTo>
                  <a:pt x="92765" y="106347"/>
                  <a:pt x="91914" y="107065"/>
                  <a:pt x="91914" y="107065"/>
                </a:cubicBezTo>
                <a:cubicBezTo>
                  <a:pt x="91914" y="107784"/>
                  <a:pt x="91914" y="107784"/>
                  <a:pt x="91914" y="107784"/>
                </a:cubicBezTo>
                <a:close/>
                <a:moveTo>
                  <a:pt x="109787" y="103473"/>
                </a:moveTo>
                <a:cubicBezTo>
                  <a:pt x="109787" y="103473"/>
                  <a:pt x="109787" y="103473"/>
                  <a:pt x="109787" y="103473"/>
                </a:cubicBezTo>
                <a:cubicBezTo>
                  <a:pt x="108936" y="102754"/>
                  <a:pt x="108936" y="102754"/>
                  <a:pt x="108936" y="102754"/>
                </a:cubicBezTo>
                <a:cubicBezTo>
                  <a:pt x="108936" y="102754"/>
                  <a:pt x="109787" y="102035"/>
                  <a:pt x="109787" y="102035"/>
                </a:cubicBezTo>
                <a:cubicBezTo>
                  <a:pt x="110638" y="102035"/>
                  <a:pt x="111489" y="102035"/>
                  <a:pt x="111489" y="102035"/>
                </a:cubicBezTo>
                <a:cubicBezTo>
                  <a:pt x="109787" y="103473"/>
                  <a:pt x="109787" y="103473"/>
                  <a:pt x="109787" y="103473"/>
                </a:cubicBezTo>
                <a:close/>
                <a:moveTo>
                  <a:pt x="108085" y="104191"/>
                </a:moveTo>
                <a:cubicBezTo>
                  <a:pt x="108085" y="104191"/>
                  <a:pt x="108085" y="104191"/>
                  <a:pt x="108085" y="104191"/>
                </a:cubicBezTo>
                <a:cubicBezTo>
                  <a:pt x="108085" y="102035"/>
                  <a:pt x="108085" y="102035"/>
                  <a:pt x="108085" y="102035"/>
                </a:cubicBezTo>
                <a:cubicBezTo>
                  <a:pt x="108936" y="101317"/>
                  <a:pt x="108936" y="101317"/>
                  <a:pt x="108936" y="101317"/>
                </a:cubicBezTo>
                <a:cubicBezTo>
                  <a:pt x="108085" y="100598"/>
                  <a:pt x="108085" y="100598"/>
                  <a:pt x="108085" y="100598"/>
                </a:cubicBezTo>
                <a:cubicBezTo>
                  <a:pt x="107234" y="100598"/>
                  <a:pt x="107234" y="100598"/>
                  <a:pt x="107234" y="100598"/>
                </a:cubicBezTo>
                <a:cubicBezTo>
                  <a:pt x="107234" y="100598"/>
                  <a:pt x="106382" y="99161"/>
                  <a:pt x="106382" y="99161"/>
                </a:cubicBezTo>
                <a:cubicBezTo>
                  <a:pt x="106382" y="99161"/>
                  <a:pt x="105531" y="99161"/>
                  <a:pt x="105531" y="99161"/>
                </a:cubicBezTo>
                <a:cubicBezTo>
                  <a:pt x="105531" y="99161"/>
                  <a:pt x="104680" y="99161"/>
                  <a:pt x="104680" y="99161"/>
                </a:cubicBezTo>
                <a:cubicBezTo>
                  <a:pt x="104680" y="99161"/>
                  <a:pt x="105531" y="98443"/>
                  <a:pt x="105531" y="98443"/>
                </a:cubicBezTo>
                <a:cubicBezTo>
                  <a:pt x="105531" y="98443"/>
                  <a:pt x="105531" y="98443"/>
                  <a:pt x="106382" y="98443"/>
                </a:cubicBezTo>
                <a:cubicBezTo>
                  <a:pt x="107234" y="97724"/>
                  <a:pt x="107234" y="97724"/>
                  <a:pt x="107234" y="97724"/>
                </a:cubicBezTo>
                <a:cubicBezTo>
                  <a:pt x="107234" y="97724"/>
                  <a:pt x="108936" y="95568"/>
                  <a:pt x="110638" y="95568"/>
                </a:cubicBezTo>
                <a:cubicBezTo>
                  <a:pt x="111489" y="95568"/>
                  <a:pt x="113191" y="95568"/>
                  <a:pt x="113191" y="95568"/>
                </a:cubicBezTo>
                <a:cubicBezTo>
                  <a:pt x="114893" y="94131"/>
                  <a:pt x="114893" y="94131"/>
                  <a:pt x="114893" y="94131"/>
                </a:cubicBezTo>
                <a:cubicBezTo>
                  <a:pt x="114893" y="94131"/>
                  <a:pt x="114893" y="93413"/>
                  <a:pt x="114893" y="93413"/>
                </a:cubicBezTo>
                <a:cubicBezTo>
                  <a:pt x="115744" y="93413"/>
                  <a:pt x="114893" y="91976"/>
                  <a:pt x="114893" y="91976"/>
                </a:cubicBezTo>
                <a:cubicBezTo>
                  <a:pt x="114893" y="90538"/>
                  <a:pt x="114893" y="90538"/>
                  <a:pt x="114893" y="90538"/>
                </a:cubicBezTo>
                <a:cubicBezTo>
                  <a:pt x="114893" y="90538"/>
                  <a:pt x="112340" y="89101"/>
                  <a:pt x="112340" y="89101"/>
                </a:cubicBezTo>
                <a:cubicBezTo>
                  <a:pt x="112340" y="89101"/>
                  <a:pt x="108936" y="87664"/>
                  <a:pt x="108936" y="87664"/>
                </a:cubicBezTo>
                <a:cubicBezTo>
                  <a:pt x="108936" y="87664"/>
                  <a:pt x="108936" y="86227"/>
                  <a:pt x="108085" y="86227"/>
                </a:cubicBezTo>
                <a:cubicBezTo>
                  <a:pt x="108085" y="86227"/>
                  <a:pt x="108936" y="84790"/>
                  <a:pt x="108936" y="84790"/>
                </a:cubicBezTo>
                <a:cubicBezTo>
                  <a:pt x="108936" y="84790"/>
                  <a:pt x="110638" y="82634"/>
                  <a:pt x="112340" y="81916"/>
                </a:cubicBezTo>
                <a:cubicBezTo>
                  <a:pt x="113191" y="81197"/>
                  <a:pt x="114042" y="81197"/>
                  <a:pt x="114042" y="81197"/>
                </a:cubicBezTo>
                <a:cubicBezTo>
                  <a:pt x="114893" y="81197"/>
                  <a:pt x="115744" y="81916"/>
                  <a:pt x="116595" y="82634"/>
                </a:cubicBezTo>
                <a:cubicBezTo>
                  <a:pt x="116595" y="82634"/>
                  <a:pt x="117446" y="82634"/>
                  <a:pt x="118297" y="82634"/>
                </a:cubicBezTo>
                <a:cubicBezTo>
                  <a:pt x="119148" y="82634"/>
                  <a:pt x="120000" y="82634"/>
                  <a:pt x="120000" y="82634"/>
                </a:cubicBezTo>
                <a:cubicBezTo>
                  <a:pt x="120000" y="82634"/>
                  <a:pt x="120000" y="81197"/>
                  <a:pt x="120000" y="80479"/>
                </a:cubicBezTo>
                <a:cubicBezTo>
                  <a:pt x="120000" y="79760"/>
                  <a:pt x="120000" y="80479"/>
                  <a:pt x="119148" y="79760"/>
                </a:cubicBezTo>
                <a:cubicBezTo>
                  <a:pt x="119148" y="79760"/>
                  <a:pt x="118297" y="79041"/>
                  <a:pt x="118297" y="79041"/>
                </a:cubicBezTo>
                <a:cubicBezTo>
                  <a:pt x="118297" y="79041"/>
                  <a:pt x="118297" y="78323"/>
                  <a:pt x="118297" y="78323"/>
                </a:cubicBezTo>
                <a:cubicBezTo>
                  <a:pt x="118297" y="78323"/>
                  <a:pt x="118297" y="77604"/>
                  <a:pt x="118297" y="76886"/>
                </a:cubicBezTo>
                <a:cubicBezTo>
                  <a:pt x="118297" y="76886"/>
                  <a:pt x="118297" y="74730"/>
                  <a:pt x="118297" y="74730"/>
                </a:cubicBezTo>
                <a:cubicBezTo>
                  <a:pt x="118297" y="74011"/>
                  <a:pt x="117446" y="72574"/>
                  <a:pt x="117446" y="72574"/>
                </a:cubicBezTo>
                <a:cubicBezTo>
                  <a:pt x="117446" y="71856"/>
                  <a:pt x="116595" y="71137"/>
                  <a:pt x="116595" y="71137"/>
                </a:cubicBezTo>
                <a:cubicBezTo>
                  <a:pt x="115744" y="69700"/>
                  <a:pt x="115744" y="69700"/>
                  <a:pt x="115744" y="69700"/>
                </a:cubicBezTo>
                <a:cubicBezTo>
                  <a:pt x="115744" y="69700"/>
                  <a:pt x="115744" y="69700"/>
                  <a:pt x="115744" y="68982"/>
                </a:cubicBezTo>
                <a:cubicBezTo>
                  <a:pt x="115744" y="67544"/>
                  <a:pt x="116595" y="66107"/>
                  <a:pt x="116595" y="66107"/>
                </a:cubicBezTo>
                <a:cubicBezTo>
                  <a:pt x="117446" y="65389"/>
                  <a:pt x="117446" y="63952"/>
                  <a:pt x="117446" y="63952"/>
                </a:cubicBezTo>
                <a:cubicBezTo>
                  <a:pt x="116595" y="63233"/>
                  <a:pt x="116595" y="63233"/>
                  <a:pt x="116595" y="63233"/>
                </a:cubicBezTo>
                <a:cubicBezTo>
                  <a:pt x="116595" y="63233"/>
                  <a:pt x="113191" y="62514"/>
                  <a:pt x="113191" y="62514"/>
                </a:cubicBezTo>
                <a:cubicBezTo>
                  <a:pt x="113191" y="62514"/>
                  <a:pt x="112340" y="61796"/>
                  <a:pt x="112340" y="61796"/>
                </a:cubicBezTo>
                <a:cubicBezTo>
                  <a:pt x="112340" y="61077"/>
                  <a:pt x="111489" y="61077"/>
                  <a:pt x="111489" y="61077"/>
                </a:cubicBezTo>
                <a:cubicBezTo>
                  <a:pt x="111489" y="61077"/>
                  <a:pt x="108085" y="61796"/>
                  <a:pt x="108085" y="61796"/>
                </a:cubicBezTo>
                <a:cubicBezTo>
                  <a:pt x="108085" y="61796"/>
                  <a:pt x="106382" y="62514"/>
                  <a:pt x="105531" y="63233"/>
                </a:cubicBezTo>
                <a:cubicBezTo>
                  <a:pt x="103829" y="63233"/>
                  <a:pt x="103829" y="63233"/>
                  <a:pt x="102978" y="63952"/>
                </a:cubicBezTo>
                <a:cubicBezTo>
                  <a:pt x="101276" y="64670"/>
                  <a:pt x="101276" y="65389"/>
                  <a:pt x="100425" y="66107"/>
                </a:cubicBezTo>
                <a:cubicBezTo>
                  <a:pt x="99574" y="66107"/>
                  <a:pt x="98723" y="67544"/>
                  <a:pt x="98723" y="67544"/>
                </a:cubicBezTo>
                <a:cubicBezTo>
                  <a:pt x="97872" y="68263"/>
                  <a:pt x="97872" y="68263"/>
                  <a:pt x="98723" y="68982"/>
                </a:cubicBezTo>
                <a:cubicBezTo>
                  <a:pt x="98723" y="69700"/>
                  <a:pt x="99574" y="68982"/>
                  <a:pt x="99574" y="68982"/>
                </a:cubicBezTo>
                <a:cubicBezTo>
                  <a:pt x="99574" y="68982"/>
                  <a:pt x="100425" y="68982"/>
                  <a:pt x="101276" y="68982"/>
                </a:cubicBezTo>
                <a:cubicBezTo>
                  <a:pt x="102127" y="68982"/>
                  <a:pt x="102127" y="69700"/>
                  <a:pt x="101276" y="69700"/>
                </a:cubicBezTo>
                <a:cubicBezTo>
                  <a:pt x="101276" y="69700"/>
                  <a:pt x="101276" y="70419"/>
                  <a:pt x="101276" y="70419"/>
                </a:cubicBezTo>
                <a:cubicBezTo>
                  <a:pt x="101276" y="70419"/>
                  <a:pt x="101276" y="70419"/>
                  <a:pt x="100425" y="71137"/>
                </a:cubicBezTo>
                <a:cubicBezTo>
                  <a:pt x="100425" y="71137"/>
                  <a:pt x="100425" y="71856"/>
                  <a:pt x="100425" y="72574"/>
                </a:cubicBezTo>
                <a:cubicBezTo>
                  <a:pt x="100425" y="73293"/>
                  <a:pt x="99574" y="73293"/>
                  <a:pt x="99574" y="73293"/>
                </a:cubicBezTo>
                <a:cubicBezTo>
                  <a:pt x="98723" y="74011"/>
                  <a:pt x="98723" y="74011"/>
                  <a:pt x="97872" y="74730"/>
                </a:cubicBezTo>
                <a:cubicBezTo>
                  <a:pt x="97021" y="74730"/>
                  <a:pt x="97021" y="75449"/>
                  <a:pt x="97021" y="75449"/>
                </a:cubicBezTo>
                <a:cubicBezTo>
                  <a:pt x="97021" y="76167"/>
                  <a:pt x="97021" y="76167"/>
                  <a:pt x="97872" y="76886"/>
                </a:cubicBezTo>
                <a:cubicBezTo>
                  <a:pt x="97872" y="77604"/>
                  <a:pt x="97872" y="77604"/>
                  <a:pt x="97872" y="77604"/>
                </a:cubicBezTo>
                <a:cubicBezTo>
                  <a:pt x="97872" y="78323"/>
                  <a:pt x="97021" y="79041"/>
                  <a:pt x="97021" y="78323"/>
                </a:cubicBezTo>
                <a:cubicBezTo>
                  <a:pt x="97021" y="78323"/>
                  <a:pt x="97021" y="77604"/>
                  <a:pt x="97021" y="77604"/>
                </a:cubicBezTo>
                <a:cubicBezTo>
                  <a:pt x="94468" y="77604"/>
                  <a:pt x="94468" y="77604"/>
                  <a:pt x="94468" y="77604"/>
                </a:cubicBezTo>
                <a:cubicBezTo>
                  <a:pt x="94468" y="77604"/>
                  <a:pt x="94468" y="77604"/>
                  <a:pt x="93617" y="77604"/>
                </a:cubicBezTo>
                <a:cubicBezTo>
                  <a:pt x="93617" y="77604"/>
                  <a:pt x="95319" y="76167"/>
                  <a:pt x="95319" y="76167"/>
                </a:cubicBezTo>
                <a:cubicBezTo>
                  <a:pt x="96170" y="75449"/>
                  <a:pt x="96170" y="75449"/>
                  <a:pt x="96170" y="75449"/>
                </a:cubicBezTo>
                <a:cubicBezTo>
                  <a:pt x="96170" y="74730"/>
                  <a:pt x="96170" y="74730"/>
                  <a:pt x="96170" y="74730"/>
                </a:cubicBezTo>
                <a:cubicBezTo>
                  <a:pt x="93617" y="74730"/>
                  <a:pt x="93617" y="74730"/>
                  <a:pt x="93617" y="74730"/>
                </a:cubicBezTo>
                <a:cubicBezTo>
                  <a:pt x="92765" y="74730"/>
                  <a:pt x="92765" y="74730"/>
                  <a:pt x="92765" y="74730"/>
                </a:cubicBezTo>
                <a:cubicBezTo>
                  <a:pt x="93617" y="74011"/>
                  <a:pt x="93617" y="74011"/>
                  <a:pt x="93617" y="74011"/>
                </a:cubicBezTo>
                <a:cubicBezTo>
                  <a:pt x="93617" y="72574"/>
                  <a:pt x="93617" y="72574"/>
                  <a:pt x="93617" y="72574"/>
                </a:cubicBezTo>
                <a:cubicBezTo>
                  <a:pt x="94468" y="71137"/>
                  <a:pt x="94468" y="71137"/>
                  <a:pt x="94468" y="71137"/>
                </a:cubicBezTo>
                <a:cubicBezTo>
                  <a:pt x="94468" y="71137"/>
                  <a:pt x="94468" y="69700"/>
                  <a:pt x="95319" y="69700"/>
                </a:cubicBezTo>
                <a:cubicBezTo>
                  <a:pt x="95319" y="69700"/>
                  <a:pt x="96170" y="68982"/>
                  <a:pt x="96170" y="68263"/>
                </a:cubicBezTo>
                <a:cubicBezTo>
                  <a:pt x="97021" y="68263"/>
                  <a:pt x="96170" y="67544"/>
                  <a:pt x="96170" y="67544"/>
                </a:cubicBezTo>
                <a:cubicBezTo>
                  <a:pt x="94468" y="67544"/>
                  <a:pt x="94468" y="67544"/>
                  <a:pt x="94468" y="67544"/>
                </a:cubicBezTo>
                <a:cubicBezTo>
                  <a:pt x="92765" y="68263"/>
                  <a:pt x="92765" y="68263"/>
                  <a:pt x="92765" y="68263"/>
                </a:cubicBezTo>
                <a:cubicBezTo>
                  <a:pt x="92765" y="68263"/>
                  <a:pt x="90212" y="68982"/>
                  <a:pt x="89361" y="68982"/>
                </a:cubicBezTo>
                <a:cubicBezTo>
                  <a:pt x="88510" y="68982"/>
                  <a:pt x="89361" y="68982"/>
                  <a:pt x="88510" y="68982"/>
                </a:cubicBezTo>
                <a:cubicBezTo>
                  <a:pt x="88510" y="68263"/>
                  <a:pt x="87659" y="68263"/>
                  <a:pt x="87659" y="68263"/>
                </a:cubicBezTo>
                <a:cubicBezTo>
                  <a:pt x="87659" y="68263"/>
                  <a:pt x="85957" y="68263"/>
                  <a:pt x="85957" y="68263"/>
                </a:cubicBezTo>
                <a:cubicBezTo>
                  <a:pt x="85106" y="68263"/>
                  <a:pt x="85106" y="68982"/>
                  <a:pt x="85106" y="68982"/>
                </a:cubicBezTo>
                <a:cubicBezTo>
                  <a:pt x="85106" y="68982"/>
                  <a:pt x="87659" y="69700"/>
                  <a:pt x="88510" y="70419"/>
                </a:cubicBezTo>
                <a:cubicBezTo>
                  <a:pt x="88510" y="70419"/>
                  <a:pt x="89361" y="70419"/>
                  <a:pt x="89361" y="70419"/>
                </a:cubicBezTo>
                <a:cubicBezTo>
                  <a:pt x="89361" y="71137"/>
                  <a:pt x="89361" y="71137"/>
                  <a:pt x="89361" y="71137"/>
                </a:cubicBezTo>
                <a:cubicBezTo>
                  <a:pt x="89361" y="71137"/>
                  <a:pt x="88510" y="72574"/>
                  <a:pt x="87659" y="72574"/>
                </a:cubicBezTo>
                <a:cubicBezTo>
                  <a:pt x="87659" y="73293"/>
                  <a:pt x="86808" y="73293"/>
                  <a:pt x="86808" y="73293"/>
                </a:cubicBezTo>
                <a:cubicBezTo>
                  <a:pt x="85106" y="74011"/>
                  <a:pt x="85106" y="74011"/>
                  <a:pt x="85106" y="74011"/>
                </a:cubicBezTo>
                <a:cubicBezTo>
                  <a:pt x="85106" y="74011"/>
                  <a:pt x="85957" y="75449"/>
                  <a:pt x="85957" y="75449"/>
                </a:cubicBezTo>
                <a:cubicBezTo>
                  <a:pt x="85957" y="75449"/>
                  <a:pt x="85957" y="76886"/>
                  <a:pt x="85957" y="76886"/>
                </a:cubicBezTo>
                <a:cubicBezTo>
                  <a:pt x="84255" y="76167"/>
                  <a:pt x="84255" y="76167"/>
                  <a:pt x="84255" y="76167"/>
                </a:cubicBezTo>
                <a:cubicBezTo>
                  <a:pt x="81702" y="77604"/>
                  <a:pt x="81702" y="77604"/>
                  <a:pt x="81702" y="77604"/>
                </a:cubicBezTo>
                <a:cubicBezTo>
                  <a:pt x="81702" y="77604"/>
                  <a:pt x="80851" y="77604"/>
                  <a:pt x="80851" y="77604"/>
                </a:cubicBezTo>
                <a:cubicBezTo>
                  <a:pt x="80000" y="77604"/>
                  <a:pt x="80000" y="76886"/>
                  <a:pt x="80000" y="76886"/>
                </a:cubicBezTo>
                <a:cubicBezTo>
                  <a:pt x="79148" y="78323"/>
                  <a:pt x="79148" y="78323"/>
                  <a:pt x="79148" y="78323"/>
                </a:cubicBezTo>
                <a:cubicBezTo>
                  <a:pt x="79148" y="78323"/>
                  <a:pt x="75744" y="77604"/>
                  <a:pt x="74893" y="77604"/>
                </a:cubicBezTo>
                <a:cubicBezTo>
                  <a:pt x="74893" y="77604"/>
                  <a:pt x="74893" y="79041"/>
                  <a:pt x="74893" y="79041"/>
                </a:cubicBezTo>
                <a:cubicBezTo>
                  <a:pt x="76595" y="79760"/>
                  <a:pt x="76595" y="79760"/>
                  <a:pt x="76595" y="79760"/>
                </a:cubicBezTo>
                <a:cubicBezTo>
                  <a:pt x="74893" y="80479"/>
                  <a:pt x="74893" y="80479"/>
                  <a:pt x="74893" y="80479"/>
                </a:cubicBezTo>
                <a:cubicBezTo>
                  <a:pt x="78297" y="81916"/>
                  <a:pt x="78297" y="81916"/>
                  <a:pt x="78297" y="81916"/>
                </a:cubicBezTo>
                <a:cubicBezTo>
                  <a:pt x="79148" y="82634"/>
                  <a:pt x="79148" y="82634"/>
                  <a:pt x="79148" y="82634"/>
                </a:cubicBezTo>
                <a:cubicBezTo>
                  <a:pt x="80000" y="84790"/>
                  <a:pt x="80000" y="84790"/>
                  <a:pt x="80000" y="84790"/>
                </a:cubicBezTo>
                <a:cubicBezTo>
                  <a:pt x="79148" y="85508"/>
                  <a:pt x="79148" y="85508"/>
                  <a:pt x="79148" y="85508"/>
                </a:cubicBezTo>
                <a:cubicBezTo>
                  <a:pt x="80851" y="86946"/>
                  <a:pt x="80851" y="86946"/>
                  <a:pt x="80851" y="86946"/>
                </a:cubicBezTo>
                <a:cubicBezTo>
                  <a:pt x="80851" y="86946"/>
                  <a:pt x="80851" y="87664"/>
                  <a:pt x="81702" y="88383"/>
                </a:cubicBezTo>
                <a:cubicBezTo>
                  <a:pt x="81702" y="88383"/>
                  <a:pt x="81702" y="89820"/>
                  <a:pt x="81702" y="89820"/>
                </a:cubicBezTo>
                <a:cubicBezTo>
                  <a:pt x="81702" y="91257"/>
                  <a:pt x="81702" y="91257"/>
                  <a:pt x="81702" y="91257"/>
                </a:cubicBezTo>
                <a:cubicBezTo>
                  <a:pt x="81702" y="91976"/>
                  <a:pt x="81702" y="91976"/>
                  <a:pt x="81702" y="91976"/>
                </a:cubicBezTo>
                <a:cubicBezTo>
                  <a:pt x="81702" y="91976"/>
                  <a:pt x="80000" y="92694"/>
                  <a:pt x="80000" y="93413"/>
                </a:cubicBezTo>
                <a:cubicBezTo>
                  <a:pt x="80000" y="93413"/>
                  <a:pt x="80851" y="93413"/>
                  <a:pt x="80851" y="93413"/>
                </a:cubicBezTo>
                <a:cubicBezTo>
                  <a:pt x="82553" y="94850"/>
                  <a:pt x="82553" y="94850"/>
                  <a:pt x="82553" y="94850"/>
                </a:cubicBezTo>
                <a:cubicBezTo>
                  <a:pt x="83404" y="96287"/>
                  <a:pt x="83404" y="96287"/>
                  <a:pt x="83404" y="96287"/>
                </a:cubicBezTo>
                <a:cubicBezTo>
                  <a:pt x="83404" y="96287"/>
                  <a:pt x="82553" y="97005"/>
                  <a:pt x="82553" y="97724"/>
                </a:cubicBezTo>
                <a:cubicBezTo>
                  <a:pt x="82553" y="97724"/>
                  <a:pt x="84255" y="98443"/>
                  <a:pt x="84255" y="98443"/>
                </a:cubicBezTo>
                <a:cubicBezTo>
                  <a:pt x="87659" y="98443"/>
                  <a:pt x="87659" y="98443"/>
                  <a:pt x="87659" y="98443"/>
                </a:cubicBezTo>
                <a:cubicBezTo>
                  <a:pt x="89361" y="98443"/>
                  <a:pt x="89361" y="98443"/>
                  <a:pt x="89361" y="98443"/>
                </a:cubicBezTo>
                <a:cubicBezTo>
                  <a:pt x="89361" y="98443"/>
                  <a:pt x="91914" y="98443"/>
                  <a:pt x="92765" y="98443"/>
                </a:cubicBezTo>
                <a:cubicBezTo>
                  <a:pt x="92765" y="98443"/>
                  <a:pt x="95319" y="97724"/>
                  <a:pt x="95319" y="97724"/>
                </a:cubicBezTo>
                <a:cubicBezTo>
                  <a:pt x="95319" y="97724"/>
                  <a:pt x="97021" y="99161"/>
                  <a:pt x="97872" y="99161"/>
                </a:cubicBezTo>
                <a:cubicBezTo>
                  <a:pt x="98723" y="99880"/>
                  <a:pt x="97872" y="100598"/>
                  <a:pt x="97872" y="100598"/>
                </a:cubicBezTo>
                <a:cubicBezTo>
                  <a:pt x="97872" y="101317"/>
                  <a:pt x="97021" y="101317"/>
                  <a:pt x="97021" y="101317"/>
                </a:cubicBezTo>
                <a:cubicBezTo>
                  <a:pt x="97021" y="101317"/>
                  <a:pt x="97872" y="103473"/>
                  <a:pt x="97872" y="103473"/>
                </a:cubicBezTo>
                <a:cubicBezTo>
                  <a:pt x="98723" y="104191"/>
                  <a:pt x="98723" y="103473"/>
                  <a:pt x="98723" y="103473"/>
                </a:cubicBezTo>
                <a:cubicBezTo>
                  <a:pt x="98723" y="103473"/>
                  <a:pt x="99574" y="104191"/>
                  <a:pt x="100425" y="104910"/>
                </a:cubicBezTo>
                <a:cubicBezTo>
                  <a:pt x="100425" y="105628"/>
                  <a:pt x="101276" y="105628"/>
                  <a:pt x="101276" y="105628"/>
                </a:cubicBezTo>
                <a:cubicBezTo>
                  <a:pt x="102127" y="105628"/>
                  <a:pt x="102127" y="105628"/>
                  <a:pt x="102127" y="105628"/>
                </a:cubicBezTo>
                <a:cubicBezTo>
                  <a:pt x="102127" y="105628"/>
                  <a:pt x="102978" y="105628"/>
                  <a:pt x="102978" y="106347"/>
                </a:cubicBezTo>
                <a:cubicBezTo>
                  <a:pt x="103829" y="106347"/>
                  <a:pt x="104680" y="106347"/>
                  <a:pt x="105531" y="106347"/>
                </a:cubicBezTo>
                <a:cubicBezTo>
                  <a:pt x="105531" y="106347"/>
                  <a:pt x="106382" y="106347"/>
                  <a:pt x="106382" y="105628"/>
                </a:cubicBezTo>
                <a:cubicBezTo>
                  <a:pt x="106382" y="105628"/>
                  <a:pt x="107234" y="105628"/>
                  <a:pt x="108085" y="105628"/>
                </a:cubicBezTo>
                <a:cubicBezTo>
                  <a:pt x="108085" y="104910"/>
                  <a:pt x="108085" y="104191"/>
                  <a:pt x="108085" y="104191"/>
                </a:cubicBezTo>
                <a:cubicBezTo>
                  <a:pt x="108085" y="104191"/>
                  <a:pt x="108085" y="104191"/>
                  <a:pt x="108085" y="104191"/>
                </a:cubicBezTo>
                <a:close/>
                <a:moveTo>
                  <a:pt x="108085" y="107784"/>
                </a:moveTo>
                <a:cubicBezTo>
                  <a:pt x="108085" y="107784"/>
                  <a:pt x="108085" y="107784"/>
                  <a:pt x="108085" y="107784"/>
                </a:cubicBezTo>
                <a:cubicBezTo>
                  <a:pt x="107234" y="108502"/>
                  <a:pt x="107234" y="108502"/>
                  <a:pt x="107234" y="108502"/>
                </a:cubicBezTo>
                <a:cubicBezTo>
                  <a:pt x="108085" y="108502"/>
                  <a:pt x="108085" y="108502"/>
                  <a:pt x="108085" y="108502"/>
                </a:cubicBezTo>
                <a:cubicBezTo>
                  <a:pt x="108085" y="108502"/>
                  <a:pt x="109787" y="109221"/>
                  <a:pt x="109787" y="109221"/>
                </a:cubicBezTo>
                <a:cubicBezTo>
                  <a:pt x="110638" y="109221"/>
                  <a:pt x="110638" y="109221"/>
                  <a:pt x="110638" y="109221"/>
                </a:cubicBezTo>
                <a:cubicBezTo>
                  <a:pt x="111489" y="108502"/>
                  <a:pt x="111489" y="108502"/>
                  <a:pt x="111489" y="108502"/>
                </a:cubicBezTo>
                <a:cubicBezTo>
                  <a:pt x="112340" y="107065"/>
                  <a:pt x="112340" y="107065"/>
                  <a:pt x="112340" y="107065"/>
                </a:cubicBezTo>
                <a:cubicBezTo>
                  <a:pt x="114893" y="106347"/>
                  <a:pt x="114893" y="106347"/>
                  <a:pt x="114893" y="106347"/>
                </a:cubicBezTo>
                <a:cubicBezTo>
                  <a:pt x="114893" y="106347"/>
                  <a:pt x="117446" y="106347"/>
                  <a:pt x="117446" y="106347"/>
                </a:cubicBezTo>
                <a:cubicBezTo>
                  <a:pt x="117446" y="106347"/>
                  <a:pt x="118297" y="105628"/>
                  <a:pt x="118297" y="105628"/>
                </a:cubicBezTo>
                <a:cubicBezTo>
                  <a:pt x="118297" y="104910"/>
                  <a:pt x="118297" y="104910"/>
                  <a:pt x="118297" y="104910"/>
                </a:cubicBezTo>
                <a:cubicBezTo>
                  <a:pt x="116595" y="103473"/>
                  <a:pt x="116595" y="103473"/>
                  <a:pt x="116595" y="103473"/>
                </a:cubicBezTo>
                <a:cubicBezTo>
                  <a:pt x="114893" y="103473"/>
                  <a:pt x="114893" y="103473"/>
                  <a:pt x="114893" y="103473"/>
                </a:cubicBezTo>
                <a:cubicBezTo>
                  <a:pt x="114893" y="103473"/>
                  <a:pt x="113191" y="103473"/>
                  <a:pt x="112340" y="103473"/>
                </a:cubicBezTo>
                <a:cubicBezTo>
                  <a:pt x="112340" y="103473"/>
                  <a:pt x="111489" y="103473"/>
                  <a:pt x="111489" y="103473"/>
                </a:cubicBezTo>
                <a:cubicBezTo>
                  <a:pt x="111489" y="103473"/>
                  <a:pt x="111489" y="104191"/>
                  <a:pt x="111489" y="104910"/>
                </a:cubicBezTo>
                <a:cubicBezTo>
                  <a:pt x="110638" y="105628"/>
                  <a:pt x="110638" y="105628"/>
                  <a:pt x="109787" y="105628"/>
                </a:cubicBezTo>
                <a:cubicBezTo>
                  <a:pt x="109787" y="105628"/>
                  <a:pt x="108936" y="105628"/>
                  <a:pt x="108936" y="105628"/>
                </a:cubicBezTo>
                <a:cubicBezTo>
                  <a:pt x="108085" y="107784"/>
                  <a:pt x="108085" y="107784"/>
                  <a:pt x="108085" y="107784"/>
                </a:cubicBezTo>
                <a:close/>
                <a:moveTo>
                  <a:pt x="98723" y="116407"/>
                </a:moveTo>
                <a:cubicBezTo>
                  <a:pt x="98723" y="116407"/>
                  <a:pt x="98723" y="116407"/>
                  <a:pt x="98723" y="116407"/>
                </a:cubicBezTo>
                <a:cubicBezTo>
                  <a:pt x="99574" y="116407"/>
                  <a:pt x="99574" y="116407"/>
                  <a:pt x="99574" y="116407"/>
                </a:cubicBezTo>
                <a:cubicBezTo>
                  <a:pt x="100425" y="115688"/>
                  <a:pt x="100425" y="115688"/>
                  <a:pt x="100425" y="115688"/>
                </a:cubicBezTo>
                <a:cubicBezTo>
                  <a:pt x="99574" y="114251"/>
                  <a:pt x="99574" y="114251"/>
                  <a:pt x="99574" y="114251"/>
                </a:cubicBezTo>
                <a:cubicBezTo>
                  <a:pt x="98723" y="113532"/>
                  <a:pt x="98723" y="113532"/>
                  <a:pt x="98723" y="113532"/>
                </a:cubicBezTo>
                <a:cubicBezTo>
                  <a:pt x="97872" y="111377"/>
                  <a:pt x="97872" y="111377"/>
                  <a:pt x="97872" y="111377"/>
                </a:cubicBezTo>
                <a:cubicBezTo>
                  <a:pt x="96170" y="109940"/>
                  <a:pt x="96170" y="109940"/>
                  <a:pt x="96170" y="109940"/>
                </a:cubicBezTo>
                <a:cubicBezTo>
                  <a:pt x="95319" y="109221"/>
                  <a:pt x="95319" y="109221"/>
                  <a:pt x="95319" y="109221"/>
                </a:cubicBezTo>
                <a:cubicBezTo>
                  <a:pt x="94468" y="110658"/>
                  <a:pt x="94468" y="110658"/>
                  <a:pt x="94468" y="110658"/>
                </a:cubicBezTo>
                <a:cubicBezTo>
                  <a:pt x="93617" y="111377"/>
                  <a:pt x="93617" y="111377"/>
                  <a:pt x="93617" y="111377"/>
                </a:cubicBezTo>
                <a:cubicBezTo>
                  <a:pt x="92765" y="112095"/>
                  <a:pt x="92765" y="112095"/>
                  <a:pt x="92765" y="112095"/>
                </a:cubicBezTo>
                <a:cubicBezTo>
                  <a:pt x="92765" y="112095"/>
                  <a:pt x="90212" y="111377"/>
                  <a:pt x="89361" y="110658"/>
                </a:cubicBezTo>
                <a:cubicBezTo>
                  <a:pt x="87659" y="109940"/>
                  <a:pt x="87659" y="109940"/>
                  <a:pt x="87659" y="109940"/>
                </a:cubicBezTo>
                <a:cubicBezTo>
                  <a:pt x="87659" y="109940"/>
                  <a:pt x="86808" y="109940"/>
                  <a:pt x="85957" y="109221"/>
                </a:cubicBezTo>
                <a:cubicBezTo>
                  <a:pt x="85957" y="109221"/>
                  <a:pt x="85106" y="108502"/>
                  <a:pt x="85106" y="108502"/>
                </a:cubicBezTo>
                <a:cubicBezTo>
                  <a:pt x="85106" y="108502"/>
                  <a:pt x="85106" y="107784"/>
                  <a:pt x="84255" y="107784"/>
                </a:cubicBezTo>
                <a:cubicBezTo>
                  <a:pt x="84255" y="107065"/>
                  <a:pt x="83404" y="107784"/>
                  <a:pt x="82553" y="107784"/>
                </a:cubicBezTo>
                <a:cubicBezTo>
                  <a:pt x="80851" y="107784"/>
                  <a:pt x="80851" y="107784"/>
                  <a:pt x="80000" y="107784"/>
                </a:cubicBezTo>
                <a:cubicBezTo>
                  <a:pt x="80000" y="108502"/>
                  <a:pt x="79148" y="108502"/>
                  <a:pt x="79148" y="108502"/>
                </a:cubicBezTo>
                <a:cubicBezTo>
                  <a:pt x="78297" y="109221"/>
                  <a:pt x="79148" y="110658"/>
                  <a:pt x="79148" y="110658"/>
                </a:cubicBezTo>
                <a:cubicBezTo>
                  <a:pt x="79148" y="111377"/>
                  <a:pt x="79148" y="111377"/>
                  <a:pt x="79148" y="111377"/>
                </a:cubicBezTo>
                <a:cubicBezTo>
                  <a:pt x="80000" y="112814"/>
                  <a:pt x="80000" y="112814"/>
                  <a:pt x="80000" y="112814"/>
                </a:cubicBezTo>
                <a:cubicBezTo>
                  <a:pt x="78297" y="112814"/>
                  <a:pt x="78297" y="112814"/>
                  <a:pt x="78297" y="112814"/>
                </a:cubicBezTo>
                <a:cubicBezTo>
                  <a:pt x="77446" y="112814"/>
                  <a:pt x="77446" y="112814"/>
                  <a:pt x="77446" y="112814"/>
                </a:cubicBezTo>
                <a:cubicBezTo>
                  <a:pt x="78297" y="114251"/>
                  <a:pt x="78297" y="114251"/>
                  <a:pt x="78297" y="114251"/>
                </a:cubicBezTo>
                <a:cubicBezTo>
                  <a:pt x="78297" y="114251"/>
                  <a:pt x="78297" y="114970"/>
                  <a:pt x="79148" y="115688"/>
                </a:cubicBezTo>
                <a:cubicBezTo>
                  <a:pt x="79148" y="115688"/>
                  <a:pt x="80000" y="116407"/>
                  <a:pt x="80000" y="116407"/>
                </a:cubicBezTo>
                <a:cubicBezTo>
                  <a:pt x="80000" y="116407"/>
                  <a:pt x="84255" y="117125"/>
                  <a:pt x="84255" y="117125"/>
                </a:cubicBezTo>
                <a:cubicBezTo>
                  <a:pt x="85106" y="117125"/>
                  <a:pt x="85106" y="117125"/>
                  <a:pt x="85106" y="117125"/>
                </a:cubicBezTo>
                <a:cubicBezTo>
                  <a:pt x="85106" y="117125"/>
                  <a:pt x="86808" y="117844"/>
                  <a:pt x="88510" y="118562"/>
                </a:cubicBezTo>
                <a:cubicBezTo>
                  <a:pt x="89361" y="119281"/>
                  <a:pt x="90212" y="120000"/>
                  <a:pt x="90212" y="120000"/>
                </a:cubicBezTo>
                <a:cubicBezTo>
                  <a:pt x="90212" y="120000"/>
                  <a:pt x="91914" y="120000"/>
                  <a:pt x="91914" y="120000"/>
                </a:cubicBezTo>
                <a:cubicBezTo>
                  <a:pt x="92765" y="119281"/>
                  <a:pt x="92765" y="119281"/>
                  <a:pt x="92765" y="119281"/>
                </a:cubicBezTo>
                <a:cubicBezTo>
                  <a:pt x="95319" y="118562"/>
                  <a:pt x="95319" y="118562"/>
                  <a:pt x="95319" y="118562"/>
                </a:cubicBezTo>
                <a:cubicBezTo>
                  <a:pt x="97021" y="118562"/>
                  <a:pt x="97021" y="118562"/>
                  <a:pt x="97021" y="118562"/>
                </a:cubicBezTo>
                <a:cubicBezTo>
                  <a:pt x="99574" y="119281"/>
                  <a:pt x="99574" y="119281"/>
                  <a:pt x="99574" y="119281"/>
                </a:cubicBezTo>
                <a:cubicBezTo>
                  <a:pt x="100425" y="119281"/>
                  <a:pt x="100425" y="119281"/>
                  <a:pt x="100425" y="119281"/>
                </a:cubicBezTo>
                <a:cubicBezTo>
                  <a:pt x="100425" y="117844"/>
                  <a:pt x="100425" y="117844"/>
                  <a:pt x="100425" y="117844"/>
                </a:cubicBezTo>
                <a:cubicBezTo>
                  <a:pt x="100425" y="117125"/>
                  <a:pt x="100425" y="117125"/>
                  <a:pt x="100425" y="117125"/>
                </a:cubicBezTo>
                <a:cubicBezTo>
                  <a:pt x="98723" y="116407"/>
                  <a:pt x="98723" y="116407"/>
                  <a:pt x="98723" y="116407"/>
                </a:cubicBezTo>
                <a:close/>
                <a:moveTo>
                  <a:pt x="65531" y="86946"/>
                </a:moveTo>
                <a:cubicBezTo>
                  <a:pt x="65531" y="86946"/>
                  <a:pt x="65531" y="86946"/>
                  <a:pt x="65531" y="86946"/>
                </a:cubicBezTo>
                <a:cubicBezTo>
                  <a:pt x="63829" y="86227"/>
                  <a:pt x="63829" y="86227"/>
                  <a:pt x="63829" y="86227"/>
                </a:cubicBezTo>
                <a:cubicBezTo>
                  <a:pt x="62127" y="84071"/>
                  <a:pt x="62127" y="84071"/>
                  <a:pt x="62127" y="84071"/>
                </a:cubicBezTo>
                <a:cubicBezTo>
                  <a:pt x="59574" y="83353"/>
                  <a:pt x="59574" y="83353"/>
                  <a:pt x="59574" y="83353"/>
                </a:cubicBezTo>
                <a:cubicBezTo>
                  <a:pt x="59574" y="83353"/>
                  <a:pt x="58723" y="81197"/>
                  <a:pt x="58723" y="81197"/>
                </a:cubicBezTo>
                <a:cubicBezTo>
                  <a:pt x="57872" y="80479"/>
                  <a:pt x="57872" y="81197"/>
                  <a:pt x="57872" y="81197"/>
                </a:cubicBezTo>
                <a:cubicBezTo>
                  <a:pt x="57872" y="81197"/>
                  <a:pt x="57872" y="82634"/>
                  <a:pt x="57021" y="83353"/>
                </a:cubicBezTo>
                <a:cubicBezTo>
                  <a:pt x="56170" y="83353"/>
                  <a:pt x="55319" y="83353"/>
                  <a:pt x="55319" y="83353"/>
                </a:cubicBezTo>
                <a:cubicBezTo>
                  <a:pt x="53617" y="84790"/>
                  <a:pt x="53617" y="84790"/>
                  <a:pt x="53617" y="84790"/>
                </a:cubicBezTo>
                <a:cubicBezTo>
                  <a:pt x="53617" y="84790"/>
                  <a:pt x="51063" y="85508"/>
                  <a:pt x="50212" y="85508"/>
                </a:cubicBezTo>
                <a:cubicBezTo>
                  <a:pt x="50212" y="85508"/>
                  <a:pt x="49361" y="86227"/>
                  <a:pt x="49361" y="86227"/>
                </a:cubicBezTo>
                <a:cubicBezTo>
                  <a:pt x="44255" y="85508"/>
                  <a:pt x="44255" y="85508"/>
                  <a:pt x="44255" y="85508"/>
                </a:cubicBezTo>
                <a:cubicBezTo>
                  <a:pt x="42553" y="86946"/>
                  <a:pt x="42553" y="86946"/>
                  <a:pt x="42553" y="86946"/>
                </a:cubicBezTo>
                <a:cubicBezTo>
                  <a:pt x="42553" y="87664"/>
                  <a:pt x="42553" y="87664"/>
                  <a:pt x="42553" y="87664"/>
                </a:cubicBezTo>
                <a:cubicBezTo>
                  <a:pt x="43404" y="89101"/>
                  <a:pt x="43404" y="89101"/>
                  <a:pt x="43404" y="89101"/>
                </a:cubicBezTo>
                <a:cubicBezTo>
                  <a:pt x="44255" y="89820"/>
                  <a:pt x="44255" y="89820"/>
                  <a:pt x="44255" y="89820"/>
                </a:cubicBezTo>
                <a:cubicBezTo>
                  <a:pt x="45106" y="89820"/>
                  <a:pt x="45106" y="89820"/>
                  <a:pt x="45106" y="89820"/>
                </a:cubicBezTo>
                <a:cubicBezTo>
                  <a:pt x="45106" y="91257"/>
                  <a:pt x="45106" y="91257"/>
                  <a:pt x="45106" y="91257"/>
                </a:cubicBezTo>
                <a:cubicBezTo>
                  <a:pt x="45957" y="92694"/>
                  <a:pt x="45957" y="92694"/>
                  <a:pt x="45957" y="92694"/>
                </a:cubicBezTo>
                <a:cubicBezTo>
                  <a:pt x="45957" y="92694"/>
                  <a:pt x="46808" y="93413"/>
                  <a:pt x="47659" y="94850"/>
                </a:cubicBezTo>
                <a:cubicBezTo>
                  <a:pt x="48510" y="96287"/>
                  <a:pt x="47659" y="97005"/>
                  <a:pt x="47659" y="97005"/>
                </a:cubicBezTo>
                <a:cubicBezTo>
                  <a:pt x="50212" y="99161"/>
                  <a:pt x="50212" y="99161"/>
                  <a:pt x="50212" y="99161"/>
                </a:cubicBezTo>
                <a:cubicBezTo>
                  <a:pt x="51914" y="99880"/>
                  <a:pt x="51914" y="99880"/>
                  <a:pt x="51914" y="99880"/>
                </a:cubicBezTo>
                <a:cubicBezTo>
                  <a:pt x="51914" y="99880"/>
                  <a:pt x="52765" y="100598"/>
                  <a:pt x="53617" y="100598"/>
                </a:cubicBezTo>
                <a:cubicBezTo>
                  <a:pt x="53617" y="100598"/>
                  <a:pt x="53617" y="101317"/>
                  <a:pt x="53617" y="101317"/>
                </a:cubicBezTo>
                <a:cubicBezTo>
                  <a:pt x="53617" y="102754"/>
                  <a:pt x="53617" y="102754"/>
                  <a:pt x="53617" y="102754"/>
                </a:cubicBezTo>
                <a:cubicBezTo>
                  <a:pt x="54468" y="104191"/>
                  <a:pt x="54468" y="104191"/>
                  <a:pt x="54468" y="104191"/>
                </a:cubicBezTo>
                <a:cubicBezTo>
                  <a:pt x="55319" y="103473"/>
                  <a:pt x="55319" y="103473"/>
                  <a:pt x="55319" y="103473"/>
                </a:cubicBezTo>
                <a:cubicBezTo>
                  <a:pt x="56170" y="102754"/>
                  <a:pt x="56170" y="102754"/>
                  <a:pt x="56170" y="102754"/>
                </a:cubicBezTo>
                <a:cubicBezTo>
                  <a:pt x="60425" y="104191"/>
                  <a:pt x="60425" y="104191"/>
                  <a:pt x="60425" y="104191"/>
                </a:cubicBezTo>
                <a:cubicBezTo>
                  <a:pt x="60425" y="104191"/>
                  <a:pt x="63829" y="105628"/>
                  <a:pt x="64680" y="105628"/>
                </a:cubicBezTo>
                <a:cubicBezTo>
                  <a:pt x="64680" y="105628"/>
                  <a:pt x="66382" y="104191"/>
                  <a:pt x="66382" y="104191"/>
                </a:cubicBezTo>
                <a:cubicBezTo>
                  <a:pt x="67234" y="103473"/>
                  <a:pt x="69787" y="103473"/>
                  <a:pt x="69787" y="103473"/>
                </a:cubicBezTo>
                <a:cubicBezTo>
                  <a:pt x="70638" y="103473"/>
                  <a:pt x="70638" y="102754"/>
                  <a:pt x="70638" y="102754"/>
                </a:cubicBezTo>
                <a:cubicBezTo>
                  <a:pt x="70638" y="102035"/>
                  <a:pt x="71489" y="101317"/>
                  <a:pt x="71489" y="100598"/>
                </a:cubicBezTo>
                <a:cubicBezTo>
                  <a:pt x="71489" y="99880"/>
                  <a:pt x="72340" y="99161"/>
                  <a:pt x="72340" y="99161"/>
                </a:cubicBezTo>
                <a:cubicBezTo>
                  <a:pt x="72340" y="97724"/>
                  <a:pt x="72340" y="97724"/>
                  <a:pt x="72340" y="97724"/>
                </a:cubicBezTo>
                <a:cubicBezTo>
                  <a:pt x="71489" y="95568"/>
                  <a:pt x="71489" y="95568"/>
                  <a:pt x="71489" y="95568"/>
                </a:cubicBezTo>
                <a:cubicBezTo>
                  <a:pt x="72340" y="92694"/>
                  <a:pt x="72340" y="92694"/>
                  <a:pt x="72340" y="92694"/>
                </a:cubicBezTo>
                <a:cubicBezTo>
                  <a:pt x="70638" y="91257"/>
                  <a:pt x="70638" y="91257"/>
                  <a:pt x="70638" y="91257"/>
                </a:cubicBezTo>
                <a:cubicBezTo>
                  <a:pt x="69787" y="90538"/>
                  <a:pt x="69787" y="90538"/>
                  <a:pt x="69787" y="90538"/>
                </a:cubicBezTo>
                <a:cubicBezTo>
                  <a:pt x="69787" y="89820"/>
                  <a:pt x="69787" y="89820"/>
                  <a:pt x="69787" y="89820"/>
                </a:cubicBezTo>
                <a:cubicBezTo>
                  <a:pt x="69787" y="89101"/>
                  <a:pt x="69787" y="89101"/>
                  <a:pt x="69787" y="89101"/>
                </a:cubicBezTo>
                <a:cubicBezTo>
                  <a:pt x="71489" y="88383"/>
                  <a:pt x="71489" y="88383"/>
                  <a:pt x="71489" y="88383"/>
                </a:cubicBezTo>
                <a:cubicBezTo>
                  <a:pt x="71489" y="86227"/>
                  <a:pt x="71489" y="86227"/>
                  <a:pt x="71489" y="86227"/>
                </a:cubicBezTo>
                <a:cubicBezTo>
                  <a:pt x="74042" y="84790"/>
                  <a:pt x="74042" y="84790"/>
                  <a:pt x="74042" y="84790"/>
                </a:cubicBezTo>
                <a:cubicBezTo>
                  <a:pt x="74893" y="82634"/>
                  <a:pt x="74893" y="82634"/>
                  <a:pt x="74893" y="82634"/>
                </a:cubicBezTo>
                <a:cubicBezTo>
                  <a:pt x="74893" y="82634"/>
                  <a:pt x="71489" y="81916"/>
                  <a:pt x="70638" y="81916"/>
                </a:cubicBezTo>
                <a:cubicBezTo>
                  <a:pt x="68936" y="81916"/>
                  <a:pt x="69787" y="81916"/>
                  <a:pt x="69787" y="81197"/>
                </a:cubicBezTo>
                <a:cubicBezTo>
                  <a:pt x="69787" y="81197"/>
                  <a:pt x="68936" y="80479"/>
                  <a:pt x="68936" y="80479"/>
                </a:cubicBezTo>
                <a:cubicBezTo>
                  <a:pt x="68936" y="80479"/>
                  <a:pt x="67234" y="81197"/>
                  <a:pt x="67234" y="81197"/>
                </a:cubicBezTo>
                <a:cubicBezTo>
                  <a:pt x="66382" y="81197"/>
                  <a:pt x="66382" y="79760"/>
                  <a:pt x="66382" y="79760"/>
                </a:cubicBezTo>
                <a:cubicBezTo>
                  <a:pt x="66382" y="79760"/>
                  <a:pt x="64680" y="80479"/>
                  <a:pt x="64680" y="80479"/>
                </a:cubicBezTo>
                <a:cubicBezTo>
                  <a:pt x="63829" y="80479"/>
                  <a:pt x="62127" y="80479"/>
                  <a:pt x="62127" y="80479"/>
                </a:cubicBezTo>
                <a:cubicBezTo>
                  <a:pt x="62127" y="80479"/>
                  <a:pt x="62127" y="81197"/>
                  <a:pt x="62127" y="81197"/>
                </a:cubicBezTo>
                <a:cubicBezTo>
                  <a:pt x="61276" y="81916"/>
                  <a:pt x="62127" y="82634"/>
                  <a:pt x="62978" y="82634"/>
                </a:cubicBezTo>
                <a:cubicBezTo>
                  <a:pt x="62978" y="83353"/>
                  <a:pt x="63829" y="84790"/>
                  <a:pt x="63829" y="84790"/>
                </a:cubicBezTo>
                <a:cubicBezTo>
                  <a:pt x="64680" y="86227"/>
                  <a:pt x="64680" y="86227"/>
                  <a:pt x="64680" y="86227"/>
                </a:cubicBezTo>
                <a:cubicBezTo>
                  <a:pt x="65531" y="86946"/>
                  <a:pt x="65531" y="86946"/>
                  <a:pt x="65531" y="86946"/>
                </a:cubicBezTo>
                <a:close/>
                <a:moveTo>
                  <a:pt x="63829" y="76886"/>
                </a:moveTo>
                <a:cubicBezTo>
                  <a:pt x="63829" y="76886"/>
                  <a:pt x="63829" y="76886"/>
                  <a:pt x="63829" y="76886"/>
                </a:cubicBezTo>
                <a:cubicBezTo>
                  <a:pt x="65531" y="76886"/>
                  <a:pt x="65531" y="76886"/>
                  <a:pt x="65531" y="76886"/>
                </a:cubicBezTo>
                <a:cubicBezTo>
                  <a:pt x="66382" y="75449"/>
                  <a:pt x="66382" y="75449"/>
                  <a:pt x="66382" y="75449"/>
                </a:cubicBezTo>
                <a:cubicBezTo>
                  <a:pt x="66382" y="75449"/>
                  <a:pt x="67234" y="74730"/>
                  <a:pt x="67234" y="74011"/>
                </a:cubicBezTo>
                <a:cubicBezTo>
                  <a:pt x="67234" y="74011"/>
                  <a:pt x="67234" y="73293"/>
                  <a:pt x="67234" y="73293"/>
                </a:cubicBezTo>
                <a:cubicBezTo>
                  <a:pt x="67234" y="71856"/>
                  <a:pt x="67234" y="71856"/>
                  <a:pt x="67234" y="71856"/>
                </a:cubicBezTo>
                <a:cubicBezTo>
                  <a:pt x="66382" y="71137"/>
                  <a:pt x="66382" y="71137"/>
                  <a:pt x="66382" y="71137"/>
                </a:cubicBezTo>
                <a:cubicBezTo>
                  <a:pt x="65531" y="69700"/>
                  <a:pt x="65531" y="69700"/>
                  <a:pt x="65531" y="69700"/>
                </a:cubicBezTo>
                <a:cubicBezTo>
                  <a:pt x="64680" y="67544"/>
                  <a:pt x="64680" y="67544"/>
                  <a:pt x="64680" y="67544"/>
                </a:cubicBezTo>
                <a:cubicBezTo>
                  <a:pt x="62978" y="67544"/>
                  <a:pt x="62978" y="67544"/>
                  <a:pt x="62978" y="67544"/>
                </a:cubicBezTo>
                <a:cubicBezTo>
                  <a:pt x="62978" y="67544"/>
                  <a:pt x="62978" y="68982"/>
                  <a:pt x="62978" y="68982"/>
                </a:cubicBezTo>
                <a:cubicBezTo>
                  <a:pt x="62978" y="69700"/>
                  <a:pt x="63829" y="70419"/>
                  <a:pt x="63829" y="70419"/>
                </a:cubicBezTo>
                <a:cubicBezTo>
                  <a:pt x="64680" y="71137"/>
                  <a:pt x="64680" y="71137"/>
                  <a:pt x="64680" y="71137"/>
                </a:cubicBezTo>
                <a:cubicBezTo>
                  <a:pt x="64680" y="71856"/>
                  <a:pt x="64680" y="71856"/>
                  <a:pt x="64680" y="71856"/>
                </a:cubicBezTo>
                <a:cubicBezTo>
                  <a:pt x="63829" y="72574"/>
                  <a:pt x="63829" y="72574"/>
                  <a:pt x="63829" y="72574"/>
                </a:cubicBezTo>
                <a:cubicBezTo>
                  <a:pt x="62978" y="74011"/>
                  <a:pt x="62978" y="74011"/>
                  <a:pt x="62978" y="74011"/>
                </a:cubicBezTo>
                <a:cubicBezTo>
                  <a:pt x="63829" y="75449"/>
                  <a:pt x="63829" y="75449"/>
                  <a:pt x="63829" y="75449"/>
                </a:cubicBezTo>
                <a:cubicBezTo>
                  <a:pt x="63829" y="76886"/>
                  <a:pt x="63829" y="76886"/>
                  <a:pt x="63829" y="76886"/>
                </a:cubicBezTo>
                <a:close/>
                <a:moveTo>
                  <a:pt x="68085" y="112814"/>
                </a:moveTo>
                <a:cubicBezTo>
                  <a:pt x="68085" y="112814"/>
                  <a:pt x="68085" y="112814"/>
                  <a:pt x="68085" y="112814"/>
                </a:cubicBezTo>
                <a:cubicBezTo>
                  <a:pt x="68936" y="114970"/>
                  <a:pt x="68936" y="114970"/>
                  <a:pt x="68936" y="114970"/>
                </a:cubicBezTo>
                <a:cubicBezTo>
                  <a:pt x="69787" y="116407"/>
                  <a:pt x="69787" y="116407"/>
                  <a:pt x="69787" y="116407"/>
                </a:cubicBezTo>
                <a:cubicBezTo>
                  <a:pt x="69787" y="116407"/>
                  <a:pt x="71489" y="117125"/>
                  <a:pt x="71489" y="116407"/>
                </a:cubicBezTo>
                <a:cubicBezTo>
                  <a:pt x="71489" y="115688"/>
                  <a:pt x="70638" y="114970"/>
                  <a:pt x="71489" y="114251"/>
                </a:cubicBezTo>
                <a:cubicBezTo>
                  <a:pt x="71489" y="113532"/>
                  <a:pt x="72340" y="112095"/>
                  <a:pt x="72340" y="111377"/>
                </a:cubicBezTo>
                <a:cubicBezTo>
                  <a:pt x="72340" y="110658"/>
                  <a:pt x="73191" y="109940"/>
                  <a:pt x="73191" y="109221"/>
                </a:cubicBezTo>
                <a:cubicBezTo>
                  <a:pt x="74042" y="108502"/>
                  <a:pt x="74893" y="107065"/>
                  <a:pt x="74893" y="106347"/>
                </a:cubicBezTo>
                <a:cubicBezTo>
                  <a:pt x="74893" y="106347"/>
                  <a:pt x="75744" y="104910"/>
                  <a:pt x="75744" y="104191"/>
                </a:cubicBezTo>
                <a:cubicBezTo>
                  <a:pt x="75744" y="104191"/>
                  <a:pt x="75744" y="102035"/>
                  <a:pt x="75744" y="102035"/>
                </a:cubicBezTo>
                <a:cubicBezTo>
                  <a:pt x="75744" y="102035"/>
                  <a:pt x="74893" y="99880"/>
                  <a:pt x="74893" y="99880"/>
                </a:cubicBezTo>
                <a:cubicBezTo>
                  <a:pt x="74042" y="101317"/>
                  <a:pt x="74042" y="101317"/>
                  <a:pt x="74042" y="101317"/>
                </a:cubicBezTo>
                <a:cubicBezTo>
                  <a:pt x="74042" y="102754"/>
                  <a:pt x="74042" y="102754"/>
                  <a:pt x="74042" y="102754"/>
                </a:cubicBezTo>
                <a:cubicBezTo>
                  <a:pt x="72340" y="105628"/>
                  <a:pt x="72340" y="105628"/>
                  <a:pt x="72340" y="105628"/>
                </a:cubicBezTo>
                <a:cubicBezTo>
                  <a:pt x="71489" y="107065"/>
                  <a:pt x="71489" y="107065"/>
                  <a:pt x="71489" y="107065"/>
                </a:cubicBezTo>
                <a:cubicBezTo>
                  <a:pt x="69787" y="108502"/>
                  <a:pt x="69787" y="108502"/>
                  <a:pt x="69787" y="108502"/>
                </a:cubicBezTo>
                <a:cubicBezTo>
                  <a:pt x="69787" y="109221"/>
                  <a:pt x="69787" y="109221"/>
                  <a:pt x="69787" y="109221"/>
                </a:cubicBezTo>
                <a:cubicBezTo>
                  <a:pt x="69787" y="110658"/>
                  <a:pt x="69787" y="110658"/>
                  <a:pt x="69787" y="110658"/>
                </a:cubicBezTo>
                <a:cubicBezTo>
                  <a:pt x="68936" y="111377"/>
                  <a:pt x="68936" y="111377"/>
                  <a:pt x="68936" y="111377"/>
                </a:cubicBezTo>
                <a:cubicBezTo>
                  <a:pt x="68936" y="112095"/>
                  <a:pt x="68936" y="112095"/>
                  <a:pt x="68936" y="112095"/>
                </a:cubicBezTo>
                <a:cubicBezTo>
                  <a:pt x="68085" y="112814"/>
                  <a:pt x="68085" y="112814"/>
                  <a:pt x="68085" y="112814"/>
                </a:cubicBezTo>
                <a:close/>
                <a:moveTo>
                  <a:pt x="63829" y="106347"/>
                </a:moveTo>
                <a:cubicBezTo>
                  <a:pt x="63829" y="106347"/>
                  <a:pt x="63829" y="106347"/>
                  <a:pt x="63829" y="106347"/>
                </a:cubicBezTo>
                <a:cubicBezTo>
                  <a:pt x="64680" y="107065"/>
                  <a:pt x="64680" y="107065"/>
                  <a:pt x="64680" y="107065"/>
                </a:cubicBezTo>
                <a:cubicBezTo>
                  <a:pt x="64680" y="107065"/>
                  <a:pt x="65531" y="109221"/>
                  <a:pt x="66382" y="109221"/>
                </a:cubicBezTo>
                <a:cubicBezTo>
                  <a:pt x="66382" y="109221"/>
                  <a:pt x="68936" y="107065"/>
                  <a:pt x="68936" y="107065"/>
                </a:cubicBezTo>
                <a:cubicBezTo>
                  <a:pt x="68936" y="105628"/>
                  <a:pt x="68936" y="105628"/>
                  <a:pt x="68936" y="105628"/>
                </a:cubicBezTo>
                <a:cubicBezTo>
                  <a:pt x="69787" y="104191"/>
                  <a:pt x="69787" y="104191"/>
                  <a:pt x="69787" y="104191"/>
                </a:cubicBezTo>
                <a:cubicBezTo>
                  <a:pt x="67234" y="104910"/>
                  <a:pt x="67234" y="104910"/>
                  <a:pt x="67234" y="104910"/>
                </a:cubicBezTo>
                <a:cubicBezTo>
                  <a:pt x="65531" y="106347"/>
                  <a:pt x="65531" y="106347"/>
                  <a:pt x="65531" y="106347"/>
                </a:cubicBezTo>
                <a:cubicBezTo>
                  <a:pt x="63829" y="106347"/>
                  <a:pt x="63829" y="106347"/>
                  <a:pt x="63829" y="106347"/>
                </a:cubicBezTo>
                <a:close/>
                <a:moveTo>
                  <a:pt x="56170" y="107784"/>
                </a:moveTo>
                <a:cubicBezTo>
                  <a:pt x="56170" y="107784"/>
                  <a:pt x="56170" y="107784"/>
                  <a:pt x="56170" y="107784"/>
                </a:cubicBezTo>
                <a:cubicBezTo>
                  <a:pt x="56170" y="107784"/>
                  <a:pt x="57021" y="109940"/>
                  <a:pt x="57021" y="109940"/>
                </a:cubicBezTo>
                <a:cubicBezTo>
                  <a:pt x="57872" y="109940"/>
                  <a:pt x="58723" y="110658"/>
                  <a:pt x="58723" y="110658"/>
                </a:cubicBezTo>
                <a:cubicBezTo>
                  <a:pt x="60425" y="112095"/>
                  <a:pt x="60425" y="112095"/>
                  <a:pt x="60425" y="112095"/>
                </a:cubicBezTo>
                <a:cubicBezTo>
                  <a:pt x="60425" y="112095"/>
                  <a:pt x="60425" y="112814"/>
                  <a:pt x="61276" y="112814"/>
                </a:cubicBezTo>
                <a:cubicBezTo>
                  <a:pt x="61276" y="112814"/>
                  <a:pt x="62978" y="112095"/>
                  <a:pt x="62978" y="112095"/>
                </a:cubicBezTo>
                <a:cubicBezTo>
                  <a:pt x="63829" y="110658"/>
                  <a:pt x="63829" y="110658"/>
                  <a:pt x="63829" y="110658"/>
                </a:cubicBezTo>
                <a:cubicBezTo>
                  <a:pt x="63829" y="110658"/>
                  <a:pt x="62127" y="110658"/>
                  <a:pt x="62127" y="110658"/>
                </a:cubicBezTo>
                <a:cubicBezTo>
                  <a:pt x="61276" y="110658"/>
                  <a:pt x="60425" y="109221"/>
                  <a:pt x="60425" y="109221"/>
                </a:cubicBezTo>
                <a:cubicBezTo>
                  <a:pt x="60425" y="109221"/>
                  <a:pt x="59574" y="109221"/>
                  <a:pt x="59574" y="109221"/>
                </a:cubicBezTo>
                <a:cubicBezTo>
                  <a:pt x="58723" y="109221"/>
                  <a:pt x="57021" y="107784"/>
                  <a:pt x="57021" y="107784"/>
                </a:cubicBezTo>
                <a:cubicBezTo>
                  <a:pt x="56170" y="107784"/>
                  <a:pt x="56170" y="107784"/>
                  <a:pt x="56170" y="107784"/>
                </a:cubicBezTo>
                <a:close/>
                <a:moveTo>
                  <a:pt x="42553" y="105628"/>
                </a:moveTo>
                <a:cubicBezTo>
                  <a:pt x="42553" y="105628"/>
                  <a:pt x="42553" y="105628"/>
                  <a:pt x="42553" y="105628"/>
                </a:cubicBezTo>
                <a:cubicBezTo>
                  <a:pt x="44255" y="106347"/>
                  <a:pt x="44255" y="106347"/>
                  <a:pt x="44255" y="106347"/>
                </a:cubicBezTo>
                <a:cubicBezTo>
                  <a:pt x="45106" y="107065"/>
                  <a:pt x="45106" y="107065"/>
                  <a:pt x="45106" y="107065"/>
                </a:cubicBezTo>
                <a:cubicBezTo>
                  <a:pt x="46808" y="107784"/>
                  <a:pt x="46808" y="107784"/>
                  <a:pt x="46808" y="107784"/>
                </a:cubicBezTo>
                <a:cubicBezTo>
                  <a:pt x="45106" y="109221"/>
                  <a:pt x="45106" y="109221"/>
                  <a:pt x="45106" y="109221"/>
                </a:cubicBezTo>
                <a:cubicBezTo>
                  <a:pt x="45106" y="109221"/>
                  <a:pt x="45957" y="110658"/>
                  <a:pt x="46808" y="109940"/>
                </a:cubicBezTo>
                <a:cubicBezTo>
                  <a:pt x="47659" y="109940"/>
                  <a:pt x="47659" y="109940"/>
                  <a:pt x="47659" y="109940"/>
                </a:cubicBezTo>
                <a:cubicBezTo>
                  <a:pt x="47659" y="109940"/>
                  <a:pt x="49361" y="110658"/>
                  <a:pt x="49361" y="110658"/>
                </a:cubicBezTo>
                <a:cubicBezTo>
                  <a:pt x="50212" y="111377"/>
                  <a:pt x="51063" y="111377"/>
                  <a:pt x="51914" y="111377"/>
                </a:cubicBezTo>
                <a:cubicBezTo>
                  <a:pt x="52765" y="111377"/>
                  <a:pt x="52765" y="110658"/>
                  <a:pt x="52765" y="110658"/>
                </a:cubicBezTo>
                <a:cubicBezTo>
                  <a:pt x="52765" y="109940"/>
                  <a:pt x="52765" y="109221"/>
                  <a:pt x="52765" y="109221"/>
                </a:cubicBezTo>
                <a:cubicBezTo>
                  <a:pt x="51914" y="107784"/>
                  <a:pt x="51914" y="107784"/>
                  <a:pt x="51914" y="107784"/>
                </a:cubicBezTo>
                <a:cubicBezTo>
                  <a:pt x="51063" y="106347"/>
                  <a:pt x="51063" y="106347"/>
                  <a:pt x="51063" y="106347"/>
                </a:cubicBezTo>
                <a:cubicBezTo>
                  <a:pt x="47659" y="105628"/>
                  <a:pt x="47659" y="105628"/>
                  <a:pt x="47659" y="105628"/>
                </a:cubicBezTo>
                <a:cubicBezTo>
                  <a:pt x="45957" y="104191"/>
                  <a:pt x="45957" y="104191"/>
                  <a:pt x="45957" y="104191"/>
                </a:cubicBezTo>
                <a:cubicBezTo>
                  <a:pt x="43404" y="103473"/>
                  <a:pt x="43404" y="103473"/>
                  <a:pt x="43404" y="103473"/>
                </a:cubicBezTo>
                <a:cubicBezTo>
                  <a:pt x="42553" y="103473"/>
                  <a:pt x="42553" y="103473"/>
                  <a:pt x="42553" y="103473"/>
                </a:cubicBezTo>
                <a:cubicBezTo>
                  <a:pt x="42553" y="105628"/>
                  <a:pt x="42553" y="105628"/>
                  <a:pt x="42553" y="105628"/>
                </a:cubicBezTo>
                <a:close/>
                <a:moveTo>
                  <a:pt x="70638" y="17964"/>
                </a:moveTo>
                <a:cubicBezTo>
                  <a:pt x="70638" y="17964"/>
                  <a:pt x="70638" y="17964"/>
                  <a:pt x="70638" y="17964"/>
                </a:cubicBezTo>
                <a:cubicBezTo>
                  <a:pt x="70638" y="18682"/>
                  <a:pt x="70638" y="18682"/>
                  <a:pt x="70638" y="18682"/>
                </a:cubicBezTo>
                <a:cubicBezTo>
                  <a:pt x="70638" y="18682"/>
                  <a:pt x="71489" y="18682"/>
                  <a:pt x="71489" y="18682"/>
                </a:cubicBezTo>
                <a:cubicBezTo>
                  <a:pt x="71489" y="18682"/>
                  <a:pt x="72340" y="18682"/>
                  <a:pt x="72340" y="18682"/>
                </a:cubicBezTo>
                <a:cubicBezTo>
                  <a:pt x="72340" y="18682"/>
                  <a:pt x="74042" y="19401"/>
                  <a:pt x="74042" y="19401"/>
                </a:cubicBezTo>
                <a:cubicBezTo>
                  <a:pt x="74042" y="20119"/>
                  <a:pt x="74893" y="19401"/>
                  <a:pt x="74893" y="19401"/>
                </a:cubicBezTo>
                <a:cubicBezTo>
                  <a:pt x="75744" y="19401"/>
                  <a:pt x="75744" y="18682"/>
                  <a:pt x="75744" y="17964"/>
                </a:cubicBezTo>
                <a:cubicBezTo>
                  <a:pt x="75744" y="17964"/>
                  <a:pt x="76595" y="17245"/>
                  <a:pt x="76595" y="17245"/>
                </a:cubicBezTo>
                <a:cubicBezTo>
                  <a:pt x="76595" y="17245"/>
                  <a:pt x="79148" y="15808"/>
                  <a:pt x="79148" y="15808"/>
                </a:cubicBezTo>
                <a:cubicBezTo>
                  <a:pt x="79148" y="15089"/>
                  <a:pt x="77446" y="15089"/>
                  <a:pt x="77446" y="15089"/>
                </a:cubicBezTo>
                <a:cubicBezTo>
                  <a:pt x="77446" y="15089"/>
                  <a:pt x="74893" y="15808"/>
                  <a:pt x="74893" y="15808"/>
                </a:cubicBezTo>
                <a:cubicBezTo>
                  <a:pt x="74893" y="15808"/>
                  <a:pt x="72340" y="16526"/>
                  <a:pt x="72340" y="16526"/>
                </a:cubicBezTo>
                <a:lnTo>
                  <a:pt x="70638" y="17964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Google Shape;3025;p256">
            <a:extLst>
              <a:ext uri="{FF2B5EF4-FFF2-40B4-BE49-F238E27FC236}">
                <a16:creationId xmlns:a16="http://schemas.microsoft.com/office/drawing/2014/main" id="{72C0E323-F879-087A-C56A-B1881E6BA37F}"/>
              </a:ext>
            </a:extLst>
          </p:cNvPr>
          <p:cNvSpPr/>
          <p:nvPr/>
        </p:nvSpPr>
        <p:spPr>
          <a:xfrm>
            <a:off x="7821466" y="3085497"/>
            <a:ext cx="497823" cy="56481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3529" y="26415"/>
                </a:moveTo>
                <a:cubicBezTo>
                  <a:pt x="62647" y="24905"/>
                  <a:pt x="62647" y="24905"/>
                  <a:pt x="62647" y="24905"/>
                </a:cubicBezTo>
                <a:cubicBezTo>
                  <a:pt x="60882" y="24905"/>
                  <a:pt x="60882" y="24905"/>
                  <a:pt x="60882" y="24905"/>
                </a:cubicBezTo>
                <a:cubicBezTo>
                  <a:pt x="58235" y="26415"/>
                  <a:pt x="58235" y="26415"/>
                  <a:pt x="58235" y="26415"/>
                </a:cubicBezTo>
                <a:cubicBezTo>
                  <a:pt x="58235" y="24905"/>
                  <a:pt x="58235" y="24905"/>
                  <a:pt x="58235" y="24905"/>
                </a:cubicBezTo>
                <a:cubicBezTo>
                  <a:pt x="61764" y="23396"/>
                  <a:pt x="61764" y="23396"/>
                  <a:pt x="61764" y="23396"/>
                </a:cubicBezTo>
                <a:cubicBezTo>
                  <a:pt x="63529" y="22641"/>
                  <a:pt x="63529" y="22641"/>
                  <a:pt x="63529" y="22641"/>
                </a:cubicBezTo>
                <a:cubicBezTo>
                  <a:pt x="64411" y="21132"/>
                  <a:pt x="64411" y="21132"/>
                  <a:pt x="64411" y="21132"/>
                </a:cubicBezTo>
                <a:cubicBezTo>
                  <a:pt x="66176" y="18867"/>
                  <a:pt x="66176" y="18867"/>
                  <a:pt x="66176" y="18867"/>
                </a:cubicBezTo>
                <a:cubicBezTo>
                  <a:pt x="66176" y="18867"/>
                  <a:pt x="67941" y="17358"/>
                  <a:pt x="68823" y="16603"/>
                </a:cubicBezTo>
                <a:cubicBezTo>
                  <a:pt x="69705" y="16603"/>
                  <a:pt x="73235" y="15094"/>
                  <a:pt x="73235" y="15094"/>
                </a:cubicBezTo>
                <a:cubicBezTo>
                  <a:pt x="73235" y="15094"/>
                  <a:pt x="76764" y="13584"/>
                  <a:pt x="77647" y="13584"/>
                </a:cubicBezTo>
                <a:cubicBezTo>
                  <a:pt x="78529" y="13584"/>
                  <a:pt x="84705" y="12830"/>
                  <a:pt x="84705" y="12830"/>
                </a:cubicBezTo>
                <a:cubicBezTo>
                  <a:pt x="90882" y="14339"/>
                  <a:pt x="90882" y="14339"/>
                  <a:pt x="90882" y="14339"/>
                </a:cubicBezTo>
                <a:cubicBezTo>
                  <a:pt x="90882" y="14339"/>
                  <a:pt x="92647" y="12830"/>
                  <a:pt x="94411" y="12830"/>
                </a:cubicBezTo>
                <a:cubicBezTo>
                  <a:pt x="94411" y="12830"/>
                  <a:pt x="96176" y="13584"/>
                  <a:pt x="97058" y="13584"/>
                </a:cubicBezTo>
                <a:cubicBezTo>
                  <a:pt x="97941" y="13584"/>
                  <a:pt x="99705" y="12830"/>
                  <a:pt x="99705" y="12830"/>
                </a:cubicBezTo>
                <a:cubicBezTo>
                  <a:pt x="103235" y="12830"/>
                  <a:pt x="103235" y="12830"/>
                  <a:pt x="103235" y="12830"/>
                </a:cubicBezTo>
                <a:cubicBezTo>
                  <a:pt x="105882" y="15849"/>
                  <a:pt x="105882" y="15849"/>
                  <a:pt x="105882" y="15849"/>
                </a:cubicBezTo>
                <a:cubicBezTo>
                  <a:pt x="106764" y="18867"/>
                  <a:pt x="106764" y="18867"/>
                  <a:pt x="106764" y="18867"/>
                </a:cubicBezTo>
                <a:cubicBezTo>
                  <a:pt x="111176" y="19622"/>
                  <a:pt x="111176" y="19622"/>
                  <a:pt x="111176" y="19622"/>
                </a:cubicBezTo>
                <a:cubicBezTo>
                  <a:pt x="111176" y="19622"/>
                  <a:pt x="110294" y="21132"/>
                  <a:pt x="110294" y="21886"/>
                </a:cubicBezTo>
                <a:cubicBezTo>
                  <a:pt x="111176" y="21886"/>
                  <a:pt x="113823" y="22641"/>
                  <a:pt x="113823" y="22641"/>
                </a:cubicBezTo>
                <a:cubicBezTo>
                  <a:pt x="113823" y="23396"/>
                  <a:pt x="113823" y="23396"/>
                  <a:pt x="113823" y="23396"/>
                </a:cubicBezTo>
                <a:cubicBezTo>
                  <a:pt x="113823" y="23396"/>
                  <a:pt x="113823" y="26415"/>
                  <a:pt x="113823" y="27169"/>
                </a:cubicBezTo>
                <a:cubicBezTo>
                  <a:pt x="113823" y="27924"/>
                  <a:pt x="113823" y="32452"/>
                  <a:pt x="113823" y="32452"/>
                </a:cubicBezTo>
                <a:cubicBezTo>
                  <a:pt x="113823" y="32452"/>
                  <a:pt x="111176" y="36981"/>
                  <a:pt x="110294" y="36981"/>
                </a:cubicBezTo>
                <a:cubicBezTo>
                  <a:pt x="109411" y="37735"/>
                  <a:pt x="110294" y="40754"/>
                  <a:pt x="110294" y="40754"/>
                </a:cubicBezTo>
                <a:cubicBezTo>
                  <a:pt x="109411" y="44528"/>
                  <a:pt x="109411" y="44528"/>
                  <a:pt x="109411" y="44528"/>
                </a:cubicBezTo>
                <a:cubicBezTo>
                  <a:pt x="109411" y="44528"/>
                  <a:pt x="109411" y="47547"/>
                  <a:pt x="108529" y="46792"/>
                </a:cubicBezTo>
                <a:cubicBezTo>
                  <a:pt x="107647" y="46792"/>
                  <a:pt x="103235" y="45283"/>
                  <a:pt x="103235" y="45283"/>
                </a:cubicBezTo>
                <a:cubicBezTo>
                  <a:pt x="99705" y="46037"/>
                  <a:pt x="99705" y="46037"/>
                  <a:pt x="99705" y="46037"/>
                </a:cubicBezTo>
                <a:cubicBezTo>
                  <a:pt x="99705" y="48301"/>
                  <a:pt x="99705" y="48301"/>
                  <a:pt x="99705" y="48301"/>
                </a:cubicBezTo>
                <a:cubicBezTo>
                  <a:pt x="101470" y="49056"/>
                  <a:pt x="101470" y="49056"/>
                  <a:pt x="101470" y="49056"/>
                </a:cubicBezTo>
                <a:cubicBezTo>
                  <a:pt x="98823" y="49056"/>
                  <a:pt x="98823" y="49056"/>
                  <a:pt x="98823" y="49056"/>
                </a:cubicBezTo>
                <a:cubicBezTo>
                  <a:pt x="98823" y="50566"/>
                  <a:pt x="98823" y="50566"/>
                  <a:pt x="98823" y="50566"/>
                </a:cubicBezTo>
                <a:cubicBezTo>
                  <a:pt x="98823" y="50566"/>
                  <a:pt x="99705" y="52075"/>
                  <a:pt x="100588" y="52830"/>
                </a:cubicBezTo>
                <a:cubicBezTo>
                  <a:pt x="100588" y="53584"/>
                  <a:pt x="103235" y="53584"/>
                  <a:pt x="103235" y="53584"/>
                </a:cubicBezTo>
                <a:cubicBezTo>
                  <a:pt x="105000" y="55094"/>
                  <a:pt x="105000" y="55094"/>
                  <a:pt x="105000" y="55094"/>
                </a:cubicBezTo>
                <a:cubicBezTo>
                  <a:pt x="107647" y="54339"/>
                  <a:pt x="107647" y="54339"/>
                  <a:pt x="107647" y="54339"/>
                </a:cubicBezTo>
                <a:cubicBezTo>
                  <a:pt x="109411" y="57358"/>
                  <a:pt x="109411" y="57358"/>
                  <a:pt x="109411" y="57358"/>
                </a:cubicBezTo>
                <a:cubicBezTo>
                  <a:pt x="108529" y="58867"/>
                  <a:pt x="108529" y="58867"/>
                  <a:pt x="108529" y="58867"/>
                </a:cubicBezTo>
                <a:cubicBezTo>
                  <a:pt x="108529" y="58867"/>
                  <a:pt x="108529" y="60377"/>
                  <a:pt x="108529" y="61132"/>
                </a:cubicBezTo>
                <a:cubicBezTo>
                  <a:pt x="108529" y="61886"/>
                  <a:pt x="109411" y="62641"/>
                  <a:pt x="108529" y="62641"/>
                </a:cubicBezTo>
                <a:cubicBezTo>
                  <a:pt x="108529" y="62641"/>
                  <a:pt x="106764" y="63396"/>
                  <a:pt x="106764" y="63396"/>
                </a:cubicBezTo>
                <a:cubicBezTo>
                  <a:pt x="105882" y="64905"/>
                  <a:pt x="105882" y="64905"/>
                  <a:pt x="105882" y="64905"/>
                </a:cubicBezTo>
                <a:cubicBezTo>
                  <a:pt x="105882" y="64905"/>
                  <a:pt x="104117" y="65660"/>
                  <a:pt x="103235" y="65660"/>
                </a:cubicBezTo>
                <a:cubicBezTo>
                  <a:pt x="102352" y="66415"/>
                  <a:pt x="102352" y="66415"/>
                  <a:pt x="102352" y="67169"/>
                </a:cubicBezTo>
                <a:cubicBezTo>
                  <a:pt x="102352" y="67169"/>
                  <a:pt x="98823" y="66415"/>
                  <a:pt x="98823" y="66415"/>
                </a:cubicBezTo>
                <a:cubicBezTo>
                  <a:pt x="98823" y="68679"/>
                  <a:pt x="98823" y="68679"/>
                  <a:pt x="98823" y="68679"/>
                </a:cubicBezTo>
                <a:cubicBezTo>
                  <a:pt x="97058" y="68679"/>
                  <a:pt x="97058" y="68679"/>
                  <a:pt x="97058" y="68679"/>
                </a:cubicBezTo>
                <a:cubicBezTo>
                  <a:pt x="98823" y="70943"/>
                  <a:pt x="98823" y="70943"/>
                  <a:pt x="98823" y="70943"/>
                </a:cubicBezTo>
                <a:cubicBezTo>
                  <a:pt x="101470" y="72452"/>
                  <a:pt x="101470" y="72452"/>
                  <a:pt x="101470" y="72452"/>
                </a:cubicBezTo>
                <a:cubicBezTo>
                  <a:pt x="100588" y="73207"/>
                  <a:pt x="100588" y="73207"/>
                  <a:pt x="100588" y="73207"/>
                </a:cubicBezTo>
                <a:cubicBezTo>
                  <a:pt x="98823" y="73962"/>
                  <a:pt x="98823" y="73962"/>
                  <a:pt x="98823" y="73962"/>
                </a:cubicBezTo>
                <a:cubicBezTo>
                  <a:pt x="97941" y="75471"/>
                  <a:pt x="97941" y="75471"/>
                  <a:pt x="97941" y="75471"/>
                </a:cubicBezTo>
                <a:cubicBezTo>
                  <a:pt x="95294" y="75471"/>
                  <a:pt x="95294" y="75471"/>
                  <a:pt x="95294" y="75471"/>
                </a:cubicBezTo>
                <a:cubicBezTo>
                  <a:pt x="92647" y="76226"/>
                  <a:pt x="92647" y="76226"/>
                  <a:pt x="92647" y="76226"/>
                </a:cubicBezTo>
                <a:cubicBezTo>
                  <a:pt x="91764" y="76226"/>
                  <a:pt x="91764" y="76226"/>
                  <a:pt x="91764" y="76226"/>
                </a:cubicBezTo>
                <a:cubicBezTo>
                  <a:pt x="89117" y="76226"/>
                  <a:pt x="89117" y="76226"/>
                  <a:pt x="89117" y="76226"/>
                </a:cubicBezTo>
                <a:cubicBezTo>
                  <a:pt x="88235" y="77735"/>
                  <a:pt x="88235" y="77735"/>
                  <a:pt x="88235" y="77735"/>
                </a:cubicBezTo>
                <a:cubicBezTo>
                  <a:pt x="87352" y="76226"/>
                  <a:pt x="87352" y="76226"/>
                  <a:pt x="87352" y="76226"/>
                </a:cubicBezTo>
                <a:cubicBezTo>
                  <a:pt x="84705" y="75471"/>
                  <a:pt x="84705" y="75471"/>
                  <a:pt x="84705" y="75471"/>
                </a:cubicBezTo>
                <a:cubicBezTo>
                  <a:pt x="82941" y="73962"/>
                  <a:pt x="82941" y="73962"/>
                  <a:pt x="82941" y="73962"/>
                </a:cubicBezTo>
                <a:cubicBezTo>
                  <a:pt x="80294" y="74716"/>
                  <a:pt x="80294" y="74716"/>
                  <a:pt x="80294" y="74716"/>
                </a:cubicBezTo>
                <a:cubicBezTo>
                  <a:pt x="82941" y="76226"/>
                  <a:pt x="82941" y="76226"/>
                  <a:pt x="82941" y="76226"/>
                </a:cubicBezTo>
                <a:cubicBezTo>
                  <a:pt x="81176" y="76226"/>
                  <a:pt x="81176" y="76226"/>
                  <a:pt x="81176" y="76226"/>
                </a:cubicBezTo>
                <a:cubicBezTo>
                  <a:pt x="76764" y="75471"/>
                  <a:pt x="76764" y="75471"/>
                  <a:pt x="76764" y="75471"/>
                </a:cubicBezTo>
                <a:cubicBezTo>
                  <a:pt x="76764" y="77735"/>
                  <a:pt x="76764" y="77735"/>
                  <a:pt x="76764" y="77735"/>
                </a:cubicBezTo>
                <a:cubicBezTo>
                  <a:pt x="76764" y="79245"/>
                  <a:pt x="76764" y="79245"/>
                  <a:pt x="76764" y="79245"/>
                </a:cubicBezTo>
                <a:cubicBezTo>
                  <a:pt x="76764" y="79245"/>
                  <a:pt x="75882" y="80000"/>
                  <a:pt x="76764" y="80000"/>
                </a:cubicBezTo>
                <a:cubicBezTo>
                  <a:pt x="77647" y="80000"/>
                  <a:pt x="79411" y="81509"/>
                  <a:pt x="79411" y="81509"/>
                </a:cubicBezTo>
                <a:cubicBezTo>
                  <a:pt x="79411" y="83018"/>
                  <a:pt x="79411" y="83018"/>
                  <a:pt x="79411" y="83018"/>
                </a:cubicBezTo>
                <a:cubicBezTo>
                  <a:pt x="80294" y="84528"/>
                  <a:pt x="80294" y="84528"/>
                  <a:pt x="80294" y="84528"/>
                </a:cubicBezTo>
                <a:cubicBezTo>
                  <a:pt x="80294" y="85283"/>
                  <a:pt x="80294" y="85283"/>
                  <a:pt x="80294" y="85283"/>
                </a:cubicBezTo>
                <a:cubicBezTo>
                  <a:pt x="82058" y="87547"/>
                  <a:pt x="82058" y="87547"/>
                  <a:pt x="82058" y="87547"/>
                </a:cubicBezTo>
                <a:cubicBezTo>
                  <a:pt x="82058" y="89811"/>
                  <a:pt x="82058" y="89811"/>
                  <a:pt x="82058" y="89811"/>
                </a:cubicBezTo>
                <a:cubicBezTo>
                  <a:pt x="83823" y="92075"/>
                  <a:pt x="83823" y="92075"/>
                  <a:pt x="83823" y="92075"/>
                </a:cubicBezTo>
                <a:cubicBezTo>
                  <a:pt x="82941" y="94339"/>
                  <a:pt x="82941" y="94339"/>
                  <a:pt x="82941" y="94339"/>
                </a:cubicBezTo>
                <a:cubicBezTo>
                  <a:pt x="82941" y="94339"/>
                  <a:pt x="83823" y="95849"/>
                  <a:pt x="82941" y="96603"/>
                </a:cubicBezTo>
                <a:cubicBezTo>
                  <a:pt x="82941" y="96603"/>
                  <a:pt x="81176" y="98113"/>
                  <a:pt x="81176" y="98113"/>
                </a:cubicBezTo>
                <a:cubicBezTo>
                  <a:pt x="80294" y="99622"/>
                  <a:pt x="80294" y="99622"/>
                  <a:pt x="80294" y="99622"/>
                </a:cubicBezTo>
                <a:cubicBezTo>
                  <a:pt x="78529" y="100377"/>
                  <a:pt x="78529" y="100377"/>
                  <a:pt x="78529" y="100377"/>
                </a:cubicBezTo>
                <a:cubicBezTo>
                  <a:pt x="78529" y="101886"/>
                  <a:pt x="78529" y="101886"/>
                  <a:pt x="78529" y="101886"/>
                </a:cubicBezTo>
                <a:cubicBezTo>
                  <a:pt x="78529" y="101886"/>
                  <a:pt x="78529" y="104150"/>
                  <a:pt x="79411" y="104150"/>
                </a:cubicBezTo>
                <a:cubicBezTo>
                  <a:pt x="79411" y="104150"/>
                  <a:pt x="81176" y="102641"/>
                  <a:pt x="81176" y="102641"/>
                </a:cubicBezTo>
                <a:cubicBezTo>
                  <a:pt x="81176" y="102641"/>
                  <a:pt x="82941" y="104150"/>
                  <a:pt x="82058" y="104905"/>
                </a:cubicBezTo>
                <a:cubicBezTo>
                  <a:pt x="82058" y="104905"/>
                  <a:pt x="78529" y="104905"/>
                  <a:pt x="78529" y="104905"/>
                </a:cubicBezTo>
                <a:cubicBezTo>
                  <a:pt x="76764" y="104905"/>
                  <a:pt x="76764" y="104905"/>
                  <a:pt x="76764" y="104905"/>
                </a:cubicBezTo>
                <a:cubicBezTo>
                  <a:pt x="76764" y="104905"/>
                  <a:pt x="75882" y="106415"/>
                  <a:pt x="75000" y="106415"/>
                </a:cubicBezTo>
                <a:cubicBezTo>
                  <a:pt x="75000" y="107169"/>
                  <a:pt x="75000" y="107924"/>
                  <a:pt x="75000" y="107924"/>
                </a:cubicBezTo>
                <a:cubicBezTo>
                  <a:pt x="73235" y="106415"/>
                  <a:pt x="73235" y="106415"/>
                  <a:pt x="73235" y="106415"/>
                </a:cubicBezTo>
                <a:cubicBezTo>
                  <a:pt x="72352" y="107169"/>
                  <a:pt x="72352" y="107169"/>
                  <a:pt x="72352" y="107169"/>
                </a:cubicBezTo>
                <a:cubicBezTo>
                  <a:pt x="73235" y="108679"/>
                  <a:pt x="73235" y="108679"/>
                  <a:pt x="73235" y="108679"/>
                </a:cubicBezTo>
                <a:cubicBezTo>
                  <a:pt x="73235" y="110188"/>
                  <a:pt x="73235" y="110188"/>
                  <a:pt x="73235" y="110188"/>
                </a:cubicBezTo>
                <a:cubicBezTo>
                  <a:pt x="73235" y="110188"/>
                  <a:pt x="75000" y="110188"/>
                  <a:pt x="75000" y="110188"/>
                </a:cubicBezTo>
                <a:cubicBezTo>
                  <a:pt x="75000" y="110188"/>
                  <a:pt x="76764" y="110943"/>
                  <a:pt x="76764" y="110943"/>
                </a:cubicBezTo>
                <a:cubicBezTo>
                  <a:pt x="76764" y="110943"/>
                  <a:pt x="75882" y="111698"/>
                  <a:pt x="76764" y="111698"/>
                </a:cubicBezTo>
                <a:cubicBezTo>
                  <a:pt x="76764" y="112452"/>
                  <a:pt x="76764" y="112452"/>
                  <a:pt x="77647" y="112452"/>
                </a:cubicBezTo>
                <a:cubicBezTo>
                  <a:pt x="78529" y="113207"/>
                  <a:pt x="78529" y="113207"/>
                  <a:pt x="78529" y="113207"/>
                </a:cubicBezTo>
                <a:cubicBezTo>
                  <a:pt x="78529" y="113207"/>
                  <a:pt x="78529" y="114716"/>
                  <a:pt x="78529" y="115471"/>
                </a:cubicBezTo>
                <a:cubicBezTo>
                  <a:pt x="77647" y="115471"/>
                  <a:pt x="77647" y="116226"/>
                  <a:pt x="77647" y="116226"/>
                </a:cubicBezTo>
                <a:cubicBezTo>
                  <a:pt x="76764" y="116226"/>
                  <a:pt x="76764" y="116226"/>
                  <a:pt x="76764" y="116226"/>
                </a:cubicBezTo>
                <a:cubicBezTo>
                  <a:pt x="75882" y="116981"/>
                  <a:pt x="75882" y="117735"/>
                  <a:pt x="75882" y="117735"/>
                </a:cubicBezTo>
                <a:cubicBezTo>
                  <a:pt x="75882" y="117735"/>
                  <a:pt x="75000" y="117735"/>
                  <a:pt x="75000" y="117735"/>
                </a:cubicBezTo>
                <a:cubicBezTo>
                  <a:pt x="75000" y="118490"/>
                  <a:pt x="75882" y="119245"/>
                  <a:pt x="75882" y="120000"/>
                </a:cubicBezTo>
                <a:cubicBezTo>
                  <a:pt x="75882" y="120000"/>
                  <a:pt x="75882" y="120000"/>
                  <a:pt x="75000" y="120000"/>
                </a:cubicBezTo>
                <a:cubicBezTo>
                  <a:pt x="75000" y="120000"/>
                  <a:pt x="75000" y="120000"/>
                  <a:pt x="75000" y="120000"/>
                </a:cubicBezTo>
                <a:cubicBezTo>
                  <a:pt x="75000" y="120000"/>
                  <a:pt x="73235" y="118490"/>
                  <a:pt x="73235" y="118490"/>
                </a:cubicBezTo>
                <a:cubicBezTo>
                  <a:pt x="72352" y="118490"/>
                  <a:pt x="71470" y="119245"/>
                  <a:pt x="69705" y="119245"/>
                </a:cubicBezTo>
                <a:cubicBezTo>
                  <a:pt x="68823" y="118490"/>
                  <a:pt x="68823" y="118490"/>
                  <a:pt x="68823" y="118490"/>
                </a:cubicBezTo>
                <a:cubicBezTo>
                  <a:pt x="65294" y="119245"/>
                  <a:pt x="65294" y="119245"/>
                  <a:pt x="65294" y="119245"/>
                </a:cubicBezTo>
                <a:cubicBezTo>
                  <a:pt x="65294" y="117735"/>
                  <a:pt x="65294" y="117735"/>
                  <a:pt x="65294" y="117735"/>
                </a:cubicBezTo>
                <a:cubicBezTo>
                  <a:pt x="64411" y="116226"/>
                  <a:pt x="64411" y="116226"/>
                  <a:pt x="64411" y="116226"/>
                </a:cubicBezTo>
                <a:cubicBezTo>
                  <a:pt x="64411" y="116226"/>
                  <a:pt x="64411" y="114716"/>
                  <a:pt x="64411" y="113962"/>
                </a:cubicBezTo>
                <a:cubicBezTo>
                  <a:pt x="64411" y="113962"/>
                  <a:pt x="65294" y="113207"/>
                  <a:pt x="65294" y="113207"/>
                </a:cubicBezTo>
                <a:cubicBezTo>
                  <a:pt x="66176" y="113207"/>
                  <a:pt x="67058" y="111698"/>
                  <a:pt x="67058" y="111698"/>
                </a:cubicBezTo>
                <a:cubicBezTo>
                  <a:pt x="67058" y="111698"/>
                  <a:pt x="67941" y="110188"/>
                  <a:pt x="68823" y="109433"/>
                </a:cubicBezTo>
                <a:cubicBezTo>
                  <a:pt x="68823" y="109433"/>
                  <a:pt x="69705" y="107169"/>
                  <a:pt x="69705" y="107169"/>
                </a:cubicBezTo>
                <a:cubicBezTo>
                  <a:pt x="69705" y="106415"/>
                  <a:pt x="70588" y="105660"/>
                  <a:pt x="70588" y="105660"/>
                </a:cubicBezTo>
                <a:cubicBezTo>
                  <a:pt x="70588" y="105660"/>
                  <a:pt x="72352" y="104150"/>
                  <a:pt x="72352" y="103396"/>
                </a:cubicBezTo>
                <a:cubicBezTo>
                  <a:pt x="72352" y="102641"/>
                  <a:pt x="71470" y="102641"/>
                  <a:pt x="70588" y="102641"/>
                </a:cubicBezTo>
                <a:cubicBezTo>
                  <a:pt x="70588" y="102641"/>
                  <a:pt x="67941" y="101886"/>
                  <a:pt x="67058" y="101132"/>
                </a:cubicBezTo>
                <a:cubicBezTo>
                  <a:pt x="66176" y="101132"/>
                  <a:pt x="64411" y="100377"/>
                  <a:pt x="62647" y="100377"/>
                </a:cubicBezTo>
                <a:cubicBezTo>
                  <a:pt x="60882" y="99622"/>
                  <a:pt x="61764" y="99622"/>
                  <a:pt x="62647" y="98113"/>
                </a:cubicBezTo>
                <a:cubicBezTo>
                  <a:pt x="62647" y="97358"/>
                  <a:pt x="60882" y="97358"/>
                  <a:pt x="60882" y="96603"/>
                </a:cubicBezTo>
                <a:cubicBezTo>
                  <a:pt x="60882" y="96603"/>
                  <a:pt x="60000" y="97358"/>
                  <a:pt x="59117" y="98113"/>
                </a:cubicBezTo>
                <a:cubicBezTo>
                  <a:pt x="58235" y="98113"/>
                  <a:pt x="57352" y="97358"/>
                  <a:pt x="56470" y="97358"/>
                </a:cubicBezTo>
                <a:cubicBezTo>
                  <a:pt x="56470" y="97358"/>
                  <a:pt x="53823" y="97358"/>
                  <a:pt x="53823" y="97358"/>
                </a:cubicBezTo>
                <a:cubicBezTo>
                  <a:pt x="53823" y="97358"/>
                  <a:pt x="53823" y="96603"/>
                  <a:pt x="53823" y="95849"/>
                </a:cubicBezTo>
                <a:cubicBezTo>
                  <a:pt x="53823" y="95094"/>
                  <a:pt x="52941" y="95094"/>
                  <a:pt x="52941" y="95094"/>
                </a:cubicBezTo>
                <a:cubicBezTo>
                  <a:pt x="52941" y="95094"/>
                  <a:pt x="51176" y="95094"/>
                  <a:pt x="51176" y="94339"/>
                </a:cubicBezTo>
                <a:cubicBezTo>
                  <a:pt x="50294" y="94339"/>
                  <a:pt x="51176" y="94339"/>
                  <a:pt x="51176" y="93584"/>
                </a:cubicBezTo>
                <a:cubicBezTo>
                  <a:pt x="51176" y="92830"/>
                  <a:pt x="51176" y="93584"/>
                  <a:pt x="50294" y="93584"/>
                </a:cubicBezTo>
                <a:cubicBezTo>
                  <a:pt x="49411" y="93584"/>
                  <a:pt x="49411" y="91320"/>
                  <a:pt x="49411" y="91320"/>
                </a:cubicBezTo>
                <a:cubicBezTo>
                  <a:pt x="49411" y="91320"/>
                  <a:pt x="48529" y="89811"/>
                  <a:pt x="48529" y="89056"/>
                </a:cubicBezTo>
                <a:cubicBezTo>
                  <a:pt x="47647" y="87547"/>
                  <a:pt x="47647" y="89056"/>
                  <a:pt x="47647" y="89056"/>
                </a:cubicBezTo>
                <a:cubicBezTo>
                  <a:pt x="45882" y="91320"/>
                  <a:pt x="45882" y="91320"/>
                  <a:pt x="45882" y="91320"/>
                </a:cubicBezTo>
                <a:cubicBezTo>
                  <a:pt x="45882" y="91320"/>
                  <a:pt x="45000" y="91320"/>
                  <a:pt x="42352" y="90566"/>
                </a:cubicBezTo>
                <a:cubicBezTo>
                  <a:pt x="40588" y="89811"/>
                  <a:pt x="41470" y="89811"/>
                  <a:pt x="41470" y="89811"/>
                </a:cubicBezTo>
                <a:cubicBezTo>
                  <a:pt x="43235" y="88301"/>
                  <a:pt x="43235" y="88301"/>
                  <a:pt x="43235" y="88301"/>
                </a:cubicBezTo>
                <a:cubicBezTo>
                  <a:pt x="43235" y="88301"/>
                  <a:pt x="41470" y="87547"/>
                  <a:pt x="40588" y="87547"/>
                </a:cubicBezTo>
                <a:cubicBezTo>
                  <a:pt x="39705" y="86792"/>
                  <a:pt x="39705" y="86792"/>
                  <a:pt x="38823" y="88301"/>
                </a:cubicBezTo>
                <a:cubicBezTo>
                  <a:pt x="37941" y="89056"/>
                  <a:pt x="37941" y="89056"/>
                  <a:pt x="37058" y="89811"/>
                </a:cubicBezTo>
                <a:cubicBezTo>
                  <a:pt x="36176" y="90566"/>
                  <a:pt x="36176" y="90566"/>
                  <a:pt x="34411" y="90566"/>
                </a:cubicBezTo>
                <a:cubicBezTo>
                  <a:pt x="33529" y="90566"/>
                  <a:pt x="33529" y="89811"/>
                  <a:pt x="32647" y="89811"/>
                </a:cubicBezTo>
                <a:cubicBezTo>
                  <a:pt x="32647" y="89056"/>
                  <a:pt x="32647" y="89056"/>
                  <a:pt x="31764" y="88301"/>
                </a:cubicBezTo>
                <a:cubicBezTo>
                  <a:pt x="31764" y="87547"/>
                  <a:pt x="30882" y="87547"/>
                  <a:pt x="30882" y="87547"/>
                </a:cubicBezTo>
                <a:cubicBezTo>
                  <a:pt x="30882" y="87547"/>
                  <a:pt x="29117" y="88301"/>
                  <a:pt x="29117" y="89056"/>
                </a:cubicBezTo>
                <a:cubicBezTo>
                  <a:pt x="28235" y="89056"/>
                  <a:pt x="29117" y="89811"/>
                  <a:pt x="29117" y="90566"/>
                </a:cubicBezTo>
                <a:cubicBezTo>
                  <a:pt x="30000" y="91320"/>
                  <a:pt x="29117" y="92075"/>
                  <a:pt x="29117" y="92075"/>
                </a:cubicBezTo>
                <a:cubicBezTo>
                  <a:pt x="29117" y="92075"/>
                  <a:pt x="27352" y="92075"/>
                  <a:pt x="26470" y="92075"/>
                </a:cubicBezTo>
                <a:cubicBezTo>
                  <a:pt x="25588" y="92075"/>
                  <a:pt x="24705" y="92075"/>
                  <a:pt x="23823" y="91320"/>
                </a:cubicBezTo>
                <a:cubicBezTo>
                  <a:pt x="22058" y="90566"/>
                  <a:pt x="22941" y="92075"/>
                  <a:pt x="22941" y="92830"/>
                </a:cubicBezTo>
                <a:cubicBezTo>
                  <a:pt x="22941" y="92830"/>
                  <a:pt x="21176" y="94339"/>
                  <a:pt x="21176" y="94339"/>
                </a:cubicBezTo>
                <a:cubicBezTo>
                  <a:pt x="21176" y="94339"/>
                  <a:pt x="21176" y="94339"/>
                  <a:pt x="21176" y="94339"/>
                </a:cubicBezTo>
                <a:cubicBezTo>
                  <a:pt x="19411" y="94339"/>
                  <a:pt x="17647" y="93584"/>
                  <a:pt x="17647" y="93584"/>
                </a:cubicBezTo>
                <a:cubicBezTo>
                  <a:pt x="16764" y="94339"/>
                  <a:pt x="16764" y="94339"/>
                  <a:pt x="16764" y="94339"/>
                </a:cubicBezTo>
                <a:cubicBezTo>
                  <a:pt x="14117" y="93584"/>
                  <a:pt x="14117" y="93584"/>
                  <a:pt x="14117" y="93584"/>
                </a:cubicBezTo>
                <a:cubicBezTo>
                  <a:pt x="13235" y="93584"/>
                  <a:pt x="13235" y="93584"/>
                  <a:pt x="13235" y="93584"/>
                </a:cubicBezTo>
                <a:cubicBezTo>
                  <a:pt x="12352" y="91320"/>
                  <a:pt x="12352" y="91320"/>
                  <a:pt x="12352" y="91320"/>
                </a:cubicBezTo>
                <a:cubicBezTo>
                  <a:pt x="11470" y="91320"/>
                  <a:pt x="11470" y="91320"/>
                  <a:pt x="11470" y="91320"/>
                </a:cubicBezTo>
                <a:cubicBezTo>
                  <a:pt x="7941" y="89811"/>
                  <a:pt x="7941" y="89811"/>
                  <a:pt x="7941" y="89811"/>
                </a:cubicBezTo>
                <a:cubicBezTo>
                  <a:pt x="7058" y="89056"/>
                  <a:pt x="7058" y="89056"/>
                  <a:pt x="7058" y="89056"/>
                </a:cubicBezTo>
                <a:cubicBezTo>
                  <a:pt x="5294" y="89811"/>
                  <a:pt x="5294" y="89811"/>
                  <a:pt x="5294" y="89811"/>
                </a:cubicBezTo>
                <a:cubicBezTo>
                  <a:pt x="4411" y="90566"/>
                  <a:pt x="4411" y="90566"/>
                  <a:pt x="4411" y="90566"/>
                </a:cubicBezTo>
                <a:cubicBezTo>
                  <a:pt x="4411" y="90566"/>
                  <a:pt x="2647" y="91320"/>
                  <a:pt x="1764" y="91320"/>
                </a:cubicBezTo>
                <a:cubicBezTo>
                  <a:pt x="1764" y="90566"/>
                  <a:pt x="0" y="87547"/>
                  <a:pt x="0" y="87547"/>
                </a:cubicBezTo>
                <a:cubicBezTo>
                  <a:pt x="882" y="85283"/>
                  <a:pt x="882" y="85283"/>
                  <a:pt x="882" y="85283"/>
                </a:cubicBezTo>
                <a:cubicBezTo>
                  <a:pt x="882" y="85283"/>
                  <a:pt x="3529" y="84528"/>
                  <a:pt x="3529" y="84528"/>
                </a:cubicBezTo>
                <a:cubicBezTo>
                  <a:pt x="3529" y="84528"/>
                  <a:pt x="5294" y="84528"/>
                  <a:pt x="5294" y="84528"/>
                </a:cubicBezTo>
                <a:cubicBezTo>
                  <a:pt x="5294" y="84528"/>
                  <a:pt x="6176" y="84528"/>
                  <a:pt x="6176" y="85283"/>
                </a:cubicBezTo>
                <a:cubicBezTo>
                  <a:pt x="7058" y="85283"/>
                  <a:pt x="8823" y="86792"/>
                  <a:pt x="9705" y="86792"/>
                </a:cubicBezTo>
                <a:cubicBezTo>
                  <a:pt x="9705" y="86792"/>
                  <a:pt x="11470" y="87547"/>
                  <a:pt x="11470" y="87547"/>
                </a:cubicBezTo>
                <a:cubicBezTo>
                  <a:pt x="12352" y="87547"/>
                  <a:pt x="14117" y="88301"/>
                  <a:pt x="14117" y="88301"/>
                </a:cubicBezTo>
                <a:cubicBezTo>
                  <a:pt x="14117" y="88301"/>
                  <a:pt x="15882" y="88301"/>
                  <a:pt x="15882" y="88301"/>
                </a:cubicBezTo>
                <a:cubicBezTo>
                  <a:pt x="15882" y="88301"/>
                  <a:pt x="17647" y="87547"/>
                  <a:pt x="17647" y="87547"/>
                </a:cubicBezTo>
                <a:cubicBezTo>
                  <a:pt x="17647" y="87547"/>
                  <a:pt x="17647" y="87547"/>
                  <a:pt x="17647" y="87547"/>
                </a:cubicBezTo>
                <a:cubicBezTo>
                  <a:pt x="18529" y="86792"/>
                  <a:pt x="18529" y="86037"/>
                  <a:pt x="18529" y="86037"/>
                </a:cubicBezTo>
                <a:cubicBezTo>
                  <a:pt x="18529" y="86037"/>
                  <a:pt x="19411" y="86037"/>
                  <a:pt x="19411" y="86037"/>
                </a:cubicBezTo>
                <a:cubicBezTo>
                  <a:pt x="19411" y="86792"/>
                  <a:pt x="20294" y="87547"/>
                  <a:pt x="20294" y="87547"/>
                </a:cubicBezTo>
                <a:cubicBezTo>
                  <a:pt x="20294" y="87547"/>
                  <a:pt x="21176" y="88301"/>
                  <a:pt x="21176" y="88301"/>
                </a:cubicBezTo>
                <a:cubicBezTo>
                  <a:pt x="22058" y="89056"/>
                  <a:pt x="22941" y="89056"/>
                  <a:pt x="22941" y="89056"/>
                </a:cubicBezTo>
                <a:cubicBezTo>
                  <a:pt x="22941" y="89056"/>
                  <a:pt x="23823" y="88301"/>
                  <a:pt x="23823" y="88301"/>
                </a:cubicBezTo>
                <a:cubicBezTo>
                  <a:pt x="23823" y="88301"/>
                  <a:pt x="24705" y="89056"/>
                  <a:pt x="24705" y="88301"/>
                </a:cubicBezTo>
                <a:cubicBezTo>
                  <a:pt x="24705" y="88301"/>
                  <a:pt x="25588" y="88301"/>
                  <a:pt x="25588" y="88301"/>
                </a:cubicBezTo>
                <a:cubicBezTo>
                  <a:pt x="25588" y="88301"/>
                  <a:pt x="26470" y="87547"/>
                  <a:pt x="25588" y="87547"/>
                </a:cubicBezTo>
                <a:cubicBezTo>
                  <a:pt x="25588" y="87547"/>
                  <a:pt x="25588" y="86792"/>
                  <a:pt x="25588" y="87547"/>
                </a:cubicBezTo>
                <a:cubicBezTo>
                  <a:pt x="24705" y="87547"/>
                  <a:pt x="24705" y="87547"/>
                  <a:pt x="23823" y="87547"/>
                </a:cubicBezTo>
                <a:cubicBezTo>
                  <a:pt x="22941" y="87547"/>
                  <a:pt x="21176" y="86792"/>
                  <a:pt x="21176" y="86792"/>
                </a:cubicBezTo>
                <a:cubicBezTo>
                  <a:pt x="21176" y="86037"/>
                  <a:pt x="20294" y="86037"/>
                  <a:pt x="20294" y="85283"/>
                </a:cubicBezTo>
                <a:cubicBezTo>
                  <a:pt x="19411" y="85283"/>
                  <a:pt x="19411" y="84528"/>
                  <a:pt x="18529" y="84528"/>
                </a:cubicBezTo>
                <a:cubicBezTo>
                  <a:pt x="17647" y="84528"/>
                  <a:pt x="17647" y="84528"/>
                  <a:pt x="17647" y="84528"/>
                </a:cubicBezTo>
                <a:cubicBezTo>
                  <a:pt x="17647" y="84528"/>
                  <a:pt x="16764" y="85283"/>
                  <a:pt x="16764" y="86037"/>
                </a:cubicBezTo>
                <a:cubicBezTo>
                  <a:pt x="16764" y="86037"/>
                  <a:pt x="17647" y="86792"/>
                  <a:pt x="15882" y="86037"/>
                </a:cubicBezTo>
                <a:cubicBezTo>
                  <a:pt x="14117" y="86037"/>
                  <a:pt x="12352" y="86037"/>
                  <a:pt x="12352" y="86037"/>
                </a:cubicBezTo>
                <a:cubicBezTo>
                  <a:pt x="9705" y="83773"/>
                  <a:pt x="9705" y="83773"/>
                  <a:pt x="9705" y="83773"/>
                </a:cubicBezTo>
                <a:cubicBezTo>
                  <a:pt x="9705" y="83773"/>
                  <a:pt x="8823" y="83773"/>
                  <a:pt x="7941" y="83773"/>
                </a:cubicBezTo>
                <a:cubicBezTo>
                  <a:pt x="7941" y="83773"/>
                  <a:pt x="6176" y="83018"/>
                  <a:pt x="6176" y="82264"/>
                </a:cubicBezTo>
                <a:cubicBezTo>
                  <a:pt x="6176" y="82264"/>
                  <a:pt x="5294" y="81509"/>
                  <a:pt x="5294" y="80754"/>
                </a:cubicBezTo>
                <a:cubicBezTo>
                  <a:pt x="5294" y="80754"/>
                  <a:pt x="4411" y="80754"/>
                  <a:pt x="4411" y="80000"/>
                </a:cubicBezTo>
                <a:cubicBezTo>
                  <a:pt x="4411" y="80000"/>
                  <a:pt x="3529" y="79245"/>
                  <a:pt x="3529" y="79245"/>
                </a:cubicBezTo>
                <a:cubicBezTo>
                  <a:pt x="3529" y="79245"/>
                  <a:pt x="3529" y="78490"/>
                  <a:pt x="4411" y="77735"/>
                </a:cubicBezTo>
                <a:cubicBezTo>
                  <a:pt x="6176" y="77735"/>
                  <a:pt x="6176" y="77735"/>
                  <a:pt x="7058" y="77735"/>
                </a:cubicBezTo>
                <a:cubicBezTo>
                  <a:pt x="7941" y="77735"/>
                  <a:pt x="7058" y="77735"/>
                  <a:pt x="8823" y="77735"/>
                </a:cubicBezTo>
                <a:cubicBezTo>
                  <a:pt x="10588" y="77735"/>
                  <a:pt x="9705" y="77735"/>
                  <a:pt x="10588" y="77735"/>
                </a:cubicBezTo>
                <a:cubicBezTo>
                  <a:pt x="11470" y="77735"/>
                  <a:pt x="13235" y="77735"/>
                  <a:pt x="13235" y="77735"/>
                </a:cubicBezTo>
                <a:cubicBezTo>
                  <a:pt x="13235" y="77735"/>
                  <a:pt x="11470" y="76981"/>
                  <a:pt x="14117" y="77735"/>
                </a:cubicBezTo>
                <a:cubicBezTo>
                  <a:pt x="14117" y="77735"/>
                  <a:pt x="17647" y="78490"/>
                  <a:pt x="16764" y="80000"/>
                </a:cubicBezTo>
                <a:cubicBezTo>
                  <a:pt x="16764" y="80000"/>
                  <a:pt x="15882" y="80754"/>
                  <a:pt x="15882" y="80754"/>
                </a:cubicBezTo>
                <a:cubicBezTo>
                  <a:pt x="15882" y="80754"/>
                  <a:pt x="17647" y="81509"/>
                  <a:pt x="17647" y="81509"/>
                </a:cubicBezTo>
                <a:cubicBezTo>
                  <a:pt x="17647" y="81509"/>
                  <a:pt x="18529" y="80754"/>
                  <a:pt x="18529" y="80754"/>
                </a:cubicBezTo>
                <a:cubicBezTo>
                  <a:pt x="19411" y="81509"/>
                  <a:pt x="19411" y="81509"/>
                  <a:pt x="19411" y="81509"/>
                </a:cubicBezTo>
                <a:cubicBezTo>
                  <a:pt x="21176" y="83018"/>
                  <a:pt x="21176" y="83018"/>
                  <a:pt x="21176" y="83018"/>
                </a:cubicBezTo>
                <a:cubicBezTo>
                  <a:pt x="21176" y="83018"/>
                  <a:pt x="22941" y="83018"/>
                  <a:pt x="22941" y="83018"/>
                </a:cubicBezTo>
                <a:cubicBezTo>
                  <a:pt x="22058" y="83773"/>
                  <a:pt x="21176" y="82264"/>
                  <a:pt x="22058" y="83773"/>
                </a:cubicBezTo>
                <a:cubicBezTo>
                  <a:pt x="22941" y="85283"/>
                  <a:pt x="23823" y="86037"/>
                  <a:pt x="23823" y="86037"/>
                </a:cubicBezTo>
                <a:cubicBezTo>
                  <a:pt x="24705" y="86037"/>
                  <a:pt x="24705" y="86037"/>
                  <a:pt x="24705" y="86037"/>
                </a:cubicBezTo>
                <a:cubicBezTo>
                  <a:pt x="24705" y="86037"/>
                  <a:pt x="24705" y="85283"/>
                  <a:pt x="25588" y="85283"/>
                </a:cubicBezTo>
                <a:cubicBezTo>
                  <a:pt x="25588" y="86037"/>
                  <a:pt x="27352" y="86037"/>
                  <a:pt x="28235" y="86037"/>
                </a:cubicBezTo>
                <a:cubicBezTo>
                  <a:pt x="28235" y="86037"/>
                  <a:pt x="28235" y="85283"/>
                  <a:pt x="27352" y="83773"/>
                </a:cubicBezTo>
                <a:cubicBezTo>
                  <a:pt x="26470" y="83018"/>
                  <a:pt x="25588" y="82264"/>
                  <a:pt x="25588" y="82264"/>
                </a:cubicBezTo>
                <a:cubicBezTo>
                  <a:pt x="24705" y="82264"/>
                  <a:pt x="25588" y="83018"/>
                  <a:pt x="23823" y="82264"/>
                </a:cubicBezTo>
                <a:cubicBezTo>
                  <a:pt x="22058" y="81509"/>
                  <a:pt x="22058" y="82264"/>
                  <a:pt x="21176" y="81509"/>
                </a:cubicBezTo>
                <a:cubicBezTo>
                  <a:pt x="20294" y="80000"/>
                  <a:pt x="19411" y="80000"/>
                  <a:pt x="19411" y="79245"/>
                </a:cubicBezTo>
                <a:cubicBezTo>
                  <a:pt x="19411" y="79245"/>
                  <a:pt x="20294" y="79245"/>
                  <a:pt x="21176" y="78490"/>
                </a:cubicBezTo>
                <a:cubicBezTo>
                  <a:pt x="22058" y="78490"/>
                  <a:pt x="20294" y="77735"/>
                  <a:pt x="22058" y="78490"/>
                </a:cubicBezTo>
                <a:cubicBezTo>
                  <a:pt x="24705" y="79245"/>
                  <a:pt x="24705" y="79245"/>
                  <a:pt x="25588" y="79245"/>
                </a:cubicBezTo>
                <a:cubicBezTo>
                  <a:pt x="25588" y="79245"/>
                  <a:pt x="27352" y="79245"/>
                  <a:pt x="25588" y="78490"/>
                </a:cubicBezTo>
                <a:cubicBezTo>
                  <a:pt x="23823" y="78490"/>
                  <a:pt x="22941" y="77735"/>
                  <a:pt x="22941" y="77735"/>
                </a:cubicBezTo>
                <a:cubicBezTo>
                  <a:pt x="21176" y="77735"/>
                  <a:pt x="21176" y="77735"/>
                  <a:pt x="21176" y="77735"/>
                </a:cubicBezTo>
                <a:cubicBezTo>
                  <a:pt x="21176" y="77735"/>
                  <a:pt x="21176" y="77735"/>
                  <a:pt x="20294" y="77735"/>
                </a:cubicBezTo>
                <a:cubicBezTo>
                  <a:pt x="19411" y="77735"/>
                  <a:pt x="19411" y="78490"/>
                  <a:pt x="19411" y="77735"/>
                </a:cubicBezTo>
                <a:cubicBezTo>
                  <a:pt x="18529" y="77735"/>
                  <a:pt x="17647" y="77735"/>
                  <a:pt x="17647" y="76981"/>
                </a:cubicBezTo>
                <a:cubicBezTo>
                  <a:pt x="16764" y="76981"/>
                  <a:pt x="15882" y="76226"/>
                  <a:pt x="15882" y="76226"/>
                </a:cubicBezTo>
                <a:cubicBezTo>
                  <a:pt x="15882" y="75471"/>
                  <a:pt x="15000" y="74716"/>
                  <a:pt x="15000" y="74716"/>
                </a:cubicBezTo>
                <a:cubicBezTo>
                  <a:pt x="15000" y="74716"/>
                  <a:pt x="15000" y="74716"/>
                  <a:pt x="15000" y="74716"/>
                </a:cubicBezTo>
                <a:cubicBezTo>
                  <a:pt x="14117" y="74716"/>
                  <a:pt x="13235" y="74716"/>
                  <a:pt x="12352" y="74716"/>
                </a:cubicBezTo>
                <a:cubicBezTo>
                  <a:pt x="12352" y="74716"/>
                  <a:pt x="11470" y="74716"/>
                  <a:pt x="11470" y="74716"/>
                </a:cubicBezTo>
                <a:cubicBezTo>
                  <a:pt x="11470" y="73962"/>
                  <a:pt x="11470" y="73962"/>
                  <a:pt x="11470" y="73207"/>
                </a:cubicBezTo>
                <a:cubicBezTo>
                  <a:pt x="11470" y="73207"/>
                  <a:pt x="11470" y="72452"/>
                  <a:pt x="12352" y="72452"/>
                </a:cubicBezTo>
                <a:cubicBezTo>
                  <a:pt x="13235" y="72452"/>
                  <a:pt x="14117" y="72452"/>
                  <a:pt x="15000" y="72452"/>
                </a:cubicBezTo>
                <a:cubicBezTo>
                  <a:pt x="15882" y="72452"/>
                  <a:pt x="16764" y="72452"/>
                  <a:pt x="17647" y="72452"/>
                </a:cubicBezTo>
                <a:cubicBezTo>
                  <a:pt x="17647" y="72452"/>
                  <a:pt x="18529" y="73207"/>
                  <a:pt x="18529" y="73207"/>
                </a:cubicBezTo>
                <a:cubicBezTo>
                  <a:pt x="19411" y="73962"/>
                  <a:pt x="20294" y="73962"/>
                  <a:pt x="20294" y="73962"/>
                </a:cubicBezTo>
                <a:cubicBezTo>
                  <a:pt x="20294" y="74716"/>
                  <a:pt x="20294" y="74716"/>
                  <a:pt x="21176" y="74716"/>
                </a:cubicBezTo>
                <a:cubicBezTo>
                  <a:pt x="21176" y="75471"/>
                  <a:pt x="22058" y="75471"/>
                  <a:pt x="22058" y="75471"/>
                </a:cubicBezTo>
                <a:cubicBezTo>
                  <a:pt x="22941" y="76981"/>
                  <a:pt x="22941" y="76981"/>
                  <a:pt x="22941" y="76981"/>
                </a:cubicBezTo>
                <a:cubicBezTo>
                  <a:pt x="22941" y="76981"/>
                  <a:pt x="22941" y="76981"/>
                  <a:pt x="22941" y="76981"/>
                </a:cubicBezTo>
                <a:cubicBezTo>
                  <a:pt x="24705" y="77735"/>
                  <a:pt x="24705" y="77735"/>
                  <a:pt x="24705" y="77735"/>
                </a:cubicBezTo>
                <a:cubicBezTo>
                  <a:pt x="24705" y="77735"/>
                  <a:pt x="27352" y="78490"/>
                  <a:pt x="27352" y="78490"/>
                </a:cubicBezTo>
                <a:cubicBezTo>
                  <a:pt x="27352" y="78490"/>
                  <a:pt x="27352" y="78490"/>
                  <a:pt x="28235" y="78490"/>
                </a:cubicBezTo>
                <a:cubicBezTo>
                  <a:pt x="29117" y="78490"/>
                  <a:pt x="29117" y="77735"/>
                  <a:pt x="29117" y="77735"/>
                </a:cubicBezTo>
                <a:cubicBezTo>
                  <a:pt x="29117" y="77735"/>
                  <a:pt x="30000" y="77735"/>
                  <a:pt x="30000" y="77735"/>
                </a:cubicBezTo>
                <a:cubicBezTo>
                  <a:pt x="30000" y="77735"/>
                  <a:pt x="32647" y="76226"/>
                  <a:pt x="32647" y="76226"/>
                </a:cubicBezTo>
                <a:cubicBezTo>
                  <a:pt x="32647" y="76981"/>
                  <a:pt x="33529" y="76981"/>
                  <a:pt x="34411" y="76981"/>
                </a:cubicBezTo>
                <a:cubicBezTo>
                  <a:pt x="34411" y="76981"/>
                  <a:pt x="37058" y="78490"/>
                  <a:pt x="37058" y="78490"/>
                </a:cubicBezTo>
                <a:cubicBezTo>
                  <a:pt x="37058" y="77735"/>
                  <a:pt x="37058" y="76981"/>
                  <a:pt x="37058" y="76981"/>
                </a:cubicBezTo>
                <a:cubicBezTo>
                  <a:pt x="37058" y="76981"/>
                  <a:pt x="37941" y="76226"/>
                  <a:pt x="37941" y="76226"/>
                </a:cubicBezTo>
                <a:cubicBezTo>
                  <a:pt x="41470" y="76226"/>
                  <a:pt x="41470" y="76226"/>
                  <a:pt x="41470" y="76226"/>
                </a:cubicBezTo>
                <a:cubicBezTo>
                  <a:pt x="41470" y="76226"/>
                  <a:pt x="42352" y="75471"/>
                  <a:pt x="42352" y="75471"/>
                </a:cubicBezTo>
                <a:cubicBezTo>
                  <a:pt x="41470" y="75471"/>
                  <a:pt x="40588" y="75471"/>
                  <a:pt x="40588" y="75471"/>
                </a:cubicBezTo>
                <a:cubicBezTo>
                  <a:pt x="38823" y="76226"/>
                  <a:pt x="38823" y="76226"/>
                  <a:pt x="38823" y="76226"/>
                </a:cubicBezTo>
                <a:cubicBezTo>
                  <a:pt x="37058" y="76226"/>
                  <a:pt x="37058" y="76226"/>
                  <a:pt x="37058" y="76226"/>
                </a:cubicBezTo>
                <a:cubicBezTo>
                  <a:pt x="37058" y="76226"/>
                  <a:pt x="36176" y="76981"/>
                  <a:pt x="36176" y="76981"/>
                </a:cubicBezTo>
                <a:cubicBezTo>
                  <a:pt x="35294" y="76981"/>
                  <a:pt x="34411" y="76226"/>
                  <a:pt x="34411" y="76226"/>
                </a:cubicBezTo>
                <a:cubicBezTo>
                  <a:pt x="33529" y="75471"/>
                  <a:pt x="31764" y="74716"/>
                  <a:pt x="31764" y="74716"/>
                </a:cubicBezTo>
                <a:cubicBezTo>
                  <a:pt x="30882" y="74716"/>
                  <a:pt x="31764" y="74716"/>
                  <a:pt x="30000" y="73962"/>
                </a:cubicBezTo>
                <a:cubicBezTo>
                  <a:pt x="28235" y="73207"/>
                  <a:pt x="27352" y="72452"/>
                  <a:pt x="27352" y="72452"/>
                </a:cubicBezTo>
                <a:cubicBezTo>
                  <a:pt x="26470" y="71698"/>
                  <a:pt x="26470" y="71698"/>
                  <a:pt x="26470" y="71698"/>
                </a:cubicBezTo>
                <a:cubicBezTo>
                  <a:pt x="26470" y="71698"/>
                  <a:pt x="26470" y="70943"/>
                  <a:pt x="25588" y="70943"/>
                </a:cubicBezTo>
                <a:cubicBezTo>
                  <a:pt x="24705" y="70188"/>
                  <a:pt x="22058" y="69433"/>
                  <a:pt x="22058" y="69433"/>
                </a:cubicBezTo>
                <a:cubicBezTo>
                  <a:pt x="22058" y="69433"/>
                  <a:pt x="22058" y="68679"/>
                  <a:pt x="22058" y="68679"/>
                </a:cubicBezTo>
                <a:cubicBezTo>
                  <a:pt x="22058" y="68679"/>
                  <a:pt x="22058" y="66415"/>
                  <a:pt x="22058" y="66415"/>
                </a:cubicBezTo>
                <a:cubicBezTo>
                  <a:pt x="22058" y="65660"/>
                  <a:pt x="21176" y="64150"/>
                  <a:pt x="21176" y="64150"/>
                </a:cubicBezTo>
                <a:cubicBezTo>
                  <a:pt x="21176" y="64150"/>
                  <a:pt x="22941" y="63396"/>
                  <a:pt x="22941" y="63396"/>
                </a:cubicBezTo>
                <a:cubicBezTo>
                  <a:pt x="23823" y="63396"/>
                  <a:pt x="24705" y="64150"/>
                  <a:pt x="24705" y="64150"/>
                </a:cubicBezTo>
                <a:cubicBezTo>
                  <a:pt x="25588" y="63396"/>
                  <a:pt x="25588" y="63396"/>
                  <a:pt x="25588" y="63396"/>
                </a:cubicBezTo>
                <a:cubicBezTo>
                  <a:pt x="32647" y="55094"/>
                  <a:pt x="32647" y="55094"/>
                  <a:pt x="32647" y="55094"/>
                </a:cubicBezTo>
                <a:cubicBezTo>
                  <a:pt x="38823" y="47547"/>
                  <a:pt x="38823" y="47547"/>
                  <a:pt x="38823" y="47547"/>
                </a:cubicBezTo>
                <a:cubicBezTo>
                  <a:pt x="41470" y="36226"/>
                  <a:pt x="41470" y="36226"/>
                  <a:pt x="41470" y="36226"/>
                </a:cubicBezTo>
                <a:cubicBezTo>
                  <a:pt x="43235" y="30943"/>
                  <a:pt x="43235" y="30943"/>
                  <a:pt x="43235" y="30943"/>
                </a:cubicBezTo>
                <a:cubicBezTo>
                  <a:pt x="45000" y="26415"/>
                  <a:pt x="45000" y="26415"/>
                  <a:pt x="45000" y="26415"/>
                </a:cubicBezTo>
                <a:cubicBezTo>
                  <a:pt x="45000" y="26415"/>
                  <a:pt x="45000" y="25660"/>
                  <a:pt x="45882" y="26415"/>
                </a:cubicBezTo>
                <a:cubicBezTo>
                  <a:pt x="45882" y="26415"/>
                  <a:pt x="46764" y="27924"/>
                  <a:pt x="46764" y="27924"/>
                </a:cubicBezTo>
                <a:cubicBezTo>
                  <a:pt x="47647" y="28679"/>
                  <a:pt x="47647" y="28679"/>
                  <a:pt x="47647" y="28679"/>
                </a:cubicBezTo>
                <a:cubicBezTo>
                  <a:pt x="48529" y="28679"/>
                  <a:pt x="48529" y="28679"/>
                  <a:pt x="48529" y="28679"/>
                </a:cubicBezTo>
                <a:cubicBezTo>
                  <a:pt x="48529" y="28679"/>
                  <a:pt x="50294" y="27924"/>
                  <a:pt x="51176" y="27924"/>
                </a:cubicBezTo>
                <a:cubicBezTo>
                  <a:pt x="51176" y="27924"/>
                  <a:pt x="54705" y="29433"/>
                  <a:pt x="54705" y="29433"/>
                </a:cubicBezTo>
                <a:cubicBezTo>
                  <a:pt x="54705" y="29433"/>
                  <a:pt x="54705" y="30943"/>
                  <a:pt x="54705" y="31698"/>
                </a:cubicBezTo>
                <a:cubicBezTo>
                  <a:pt x="54705" y="31698"/>
                  <a:pt x="56470" y="33207"/>
                  <a:pt x="55588" y="33962"/>
                </a:cubicBezTo>
                <a:cubicBezTo>
                  <a:pt x="55588" y="33962"/>
                  <a:pt x="54705" y="35471"/>
                  <a:pt x="54705" y="35471"/>
                </a:cubicBezTo>
                <a:cubicBezTo>
                  <a:pt x="54705" y="35471"/>
                  <a:pt x="55588" y="36226"/>
                  <a:pt x="55588" y="36226"/>
                </a:cubicBezTo>
                <a:cubicBezTo>
                  <a:pt x="56470" y="36226"/>
                  <a:pt x="56470" y="36226"/>
                  <a:pt x="57352" y="36226"/>
                </a:cubicBezTo>
                <a:cubicBezTo>
                  <a:pt x="58235" y="36226"/>
                  <a:pt x="59117" y="36981"/>
                  <a:pt x="59117" y="36981"/>
                </a:cubicBezTo>
                <a:cubicBezTo>
                  <a:pt x="59117" y="36981"/>
                  <a:pt x="59117" y="37735"/>
                  <a:pt x="59117" y="37735"/>
                </a:cubicBezTo>
                <a:cubicBezTo>
                  <a:pt x="59117" y="37735"/>
                  <a:pt x="59117" y="39245"/>
                  <a:pt x="59117" y="39245"/>
                </a:cubicBezTo>
                <a:cubicBezTo>
                  <a:pt x="59117" y="40000"/>
                  <a:pt x="57352" y="40000"/>
                  <a:pt x="57352" y="40000"/>
                </a:cubicBezTo>
                <a:cubicBezTo>
                  <a:pt x="57352" y="40000"/>
                  <a:pt x="57352" y="40754"/>
                  <a:pt x="57352" y="40754"/>
                </a:cubicBezTo>
                <a:cubicBezTo>
                  <a:pt x="56470" y="41509"/>
                  <a:pt x="55588" y="42264"/>
                  <a:pt x="54705" y="42264"/>
                </a:cubicBezTo>
                <a:cubicBezTo>
                  <a:pt x="54705" y="42264"/>
                  <a:pt x="52941" y="40754"/>
                  <a:pt x="52941" y="40754"/>
                </a:cubicBezTo>
                <a:cubicBezTo>
                  <a:pt x="52941" y="40754"/>
                  <a:pt x="52058" y="41509"/>
                  <a:pt x="52058" y="41509"/>
                </a:cubicBezTo>
                <a:cubicBezTo>
                  <a:pt x="52941" y="43018"/>
                  <a:pt x="52941" y="43018"/>
                  <a:pt x="52941" y="43018"/>
                </a:cubicBezTo>
                <a:cubicBezTo>
                  <a:pt x="53823" y="45283"/>
                  <a:pt x="53823" y="45283"/>
                  <a:pt x="53823" y="45283"/>
                </a:cubicBezTo>
                <a:cubicBezTo>
                  <a:pt x="52941" y="46037"/>
                  <a:pt x="52941" y="46037"/>
                  <a:pt x="52941" y="46037"/>
                </a:cubicBezTo>
                <a:cubicBezTo>
                  <a:pt x="53823" y="48301"/>
                  <a:pt x="53823" y="48301"/>
                  <a:pt x="53823" y="48301"/>
                </a:cubicBezTo>
                <a:cubicBezTo>
                  <a:pt x="53823" y="49811"/>
                  <a:pt x="53823" y="49811"/>
                  <a:pt x="53823" y="49811"/>
                </a:cubicBezTo>
                <a:cubicBezTo>
                  <a:pt x="52058" y="50566"/>
                  <a:pt x="52058" y="50566"/>
                  <a:pt x="52058" y="50566"/>
                </a:cubicBezTo>
                <a:cubicBezTo>
                  <a:pt x="52058" y="50566"/>
                  <a:pt x="51176" y="51320"/>
                  <a:pt x="50294" y="51320"/>
                </a:cubicBezTo>
                <a:cubicBezTo>
                  <a:pt x="50294" y="51320"/>
                  <a:pt x="49411" y="50566"/>
                  <a:pt x="49411" y="51320"/>
                </a:cubicBezTo>
                <a:cubicBezTo>
                  <a:pt x="50294" y="52075"/>
                  <a:pt x="50294" y="52830"/>
                  <a:pt x="51176" y="52830"/>
                </a:cubicBezTo>
                <a:cubicBezTo>
                  <a:pt x="52058" y="52830"/>
                  <a:pt x="53823" y="52830"/>
                  <a:pt x="53823" y="52830"/>
                </a:cubicBezTo>
                <a:cubicBezTo>
                  <a:pt x="55588" y="55094"/>
                  <a:pt x="55588" y="55094"/>
                  <a:pt x="55588" y="55094"/>
                </a:cubicBezTo>
                <a:cubicBezTo>
                  <a:pt x="55588" y="55094"/>
                  <a:pt x="56470" y="55094"/>
                  <a:pt x="57352" y="55094"/>
                </a:cubicBezTo>
                <a:cubicBezTo>
                  <a:pt x="57352" y="55094"/>
                  <a:pt x="59117" y="55849"/>
                  <a:pt x="59117" y="55849"/>
                </a:cubicBezTo>
                <a:cubicBezTo>
                  <a:pt x="59117" y="55849"/>
                  <a:pt x="59117" y="55849"/>
                  <a:pt x="60000" y="56603"/>
                </a:cubicBezTo>
                <a:cubicBezTo>
                  <a:pt x="60882" y="56603"/>
                  <a:pt x="62647" y="57358"/>
                  <a:pt x="62647" y="57358"/>
                </a:cubicBezTo>
                <a:cubicBezTo>
                  <a:pt x="62647" y="57358"/>
                  <a:pt x="62647" y="56603"/>
                  <a:pt x="61764" y="56603"/>
                </a:cubicBezTo>
                <a:cubicBezTo>
                  <a:pt x="61764" y="56603"/>
                  <a:pt x="60882" y="54339"/>
                  <a:pt x="59117" y="54339"/>
                </a:cubicBezTo>
                <a:cubicBezTo>
                  <a:pt x="58235" y="53584"/>
                  <a:pt x="57352" y="53584"/>
                  <a:pt x="56470" y="53584"/>
                </a:cubicBezTo>
                <a:cubicBezTo>
                  <a:pt x="55588" y="53584"/>
                  <a:pt x="53823" y="52830"/>
                  <a:pt x="53823" y="52830"/>
                </a:cubicBezTo>
                <a:cubicBezTo>
                  <a:pt x="53823" y="52075"/>
                  <a:pt x="52941" y="51320"/>
                  <a:pt x="53823" y="51320"/>
                </a:cubicBezTo>
                <a:cubicBezTo>
                  <a:pt x="53823" y="50566"/>
                  <a:pt x="53823" y="49811"/>
                  <a:pt x="55588" y="49811"/>
                </a:cubicBezTo>
                <a:cubicBezTo>
                  <a:pt x="56470" y="49811"/>
                  <a:pt x="57352" y="50566"/>
                  <a:pt x="58235" y="49811"/>
                </a:cubicBezTo>
                <a:cubicBezTo>
                  <a:pt x="59117" y="49811"/>
                  <a:pt x="60882" y="47547"/>
                  <a:pt x="60882" y="47547"/>
                </a:cubicBezTo>
                <a:cubicBezTo>
                  <a:pt x="62647" y="46037"/>
                  <a:pt x="62647" y="46037"/>
                  <a:pt x="62647" y="46037"/>
                </a:cubicBezTo>
                <a:cubicBezTo>
                  <a:pt x="65294" y="45283"/>
                  <a:pt x="65294" y="45283"/>
                  <a:pt x="65294" y="45283"/>
                </a:cubicBezTo>
                <a:cubicBezTo>
                  <a:pt x="65294" y="45283"/>
                  <a:pt x="68823" y="43773"/>
                  <a:pt x="68823" y="43773"/>
                </a:cubicBezTo>
                <a:cubicBezTo>
                  <a:pt x="68823" y="43773"/>
                  <a:pt x="69705" y="43773"/>
                  <a:pt x="70588" y="44528"/>
                </a:cubicBezTo>
                <a:cubicBezTo>
                  <a:pt x="71470" y="45283"/>
                  <a:pt x="71470" y="45283"/>
                  <a:pt x="71470" y="45283"/>
                </a:cubicBezTo>
                <a:cubicBezTo>
                  <a:pt x="72352" y="45283"/>
                  <a:pt x="74117" y="46037"/>
                  <a:pt x="74117" y="46037"/>
                </a:cubicBezTo>
                <a:cubicBezTo>
                  <a:pt x="74117" y="46037"/>
                  <a:pt x="74117" y="46037"/>
                  <a:pt x="75000" y="46792"/>
                </a:cubicBezTo>
                <a:cubicBezTo>
                  <a:pt x="75000" y="46792"/>
                  <a:pt x="75882" y="47547"/>
                  <a:pt x="75000" y="49056"/>
                </a:cubicBezTo>
                <a:cubicBezTo>
                  <a:pt x="75000" y="49811"/>
                  <a:pt x="75000" y="50566"/>
                  <a:pt x="75000" y="50566"/>
                </a:cubicBezTo>
                <a:cubicBezTo>
                  <a:pt x="75000" y="50566"/>
                  <a:pt x="75882" y="49811"/>
                  <a:pt x="75882" y="49056"/>
                </a:cubicBezTo>
                <a:cubicBezTo>
                  <a:pt x="75882" y="47547"/>
                  <a:pt x="75882" y="46792"/>
                  <a:pt x="75882" y="46037"/>
                </a:cubicBezTo>
                <a:cubicBezTo>
                  <a:pt x="75882" y="45283"/>
                  <a:pt x="75000" y="44528"/>
                  <a:pt x="75000" y="44528"/>
                </a:cubicBezTo>
                <a:cubicBezTo>
                  <a:pt x="75000" y="44528"/>
                  <a:pt x="73235" y="45283"/>
                  <a:pt x="71470" y="44528"/>
                </a:cubicBezTo>
                <a:cubicBezTo>
                  <a:pt x="70588" y="43773"/>
                  <a:pt x="70588" y="43018"/>
                  <a:pt x="69705" y="43018"/>
                </a:cubicBezTo>
                <a:cubicBezTo>
                  <a:pt x="69705" y="43018"/>
                  <a:pt x="68823" y="42264"/>
                  <a:pt x="67941" y="42264"/>
                </a:cubicBezTo>
                <a:cubicBezTo>
                  <a:pt x="67941" y="42264"/>
                  <a:pt x="67941" y="41509"/>
                  <a:pt x="67941" y="40754"/>
                </a:cubicBezTo>
                <a:cubicBezTo>
                  <a:pt x="67941" y="40000"/>
                  <a:pt x="67941" y="39245"/>
                  <a:pt x="67941" y="38490"/>
                </a:cubicBezTo>
                <a:cubicBezTo>
                  <a:pt x="67941" y="38490"/>
                  <a:pt x="67058" y="37735"/>
                  <a:pt x="67941" y="36981"/>
                </a:cubicBezTo>
                <a:cubicBezTo>
                  <a:pt x="68823" y="36226"/>
                  <a:pt x="68823" y="36226"/>
                  <a:pt x="69705" y="36226"/>
                </a:cubicBezTo>
                <a:cubicBezTo>
                  <a:pt x="69705" y="35471"/>
                  <a:pt x="71470" y="34716"/>
                  <a:pt x="70588" y="34716"/>
                </a:cubicBezTo>
                <a:cubicBezTo>
                  <a:pt x="70588" y="33962"/>
                  <a:pt x="69705" y="33962"/>
                  <a:pt x="68823" y="33962"/>
                </a:cubicBezTo>
                <a:cubicBezTo>
                  <a:pt x="67941" y="33962"/>
                  <a:pt x="68823" y="34716"/>
                  <a:pt x="67941" y="34716"/>
                </a:cubicBezTo>
                <a:cubicBezTo>
                  <a:pt x="66176" y="34716"/>
                  <a:pt x="66176" y="33962"/>
                  <a:pt x="65294" y="33207"/>
                </a:cubicBezTo>
                <a:cubicBezTo>
                  <a:pt x="65294" y="32452"/>
                  <a:pt x="65294" y="32452"/>
                  <a:pt x="64411" y="33207"/>
                </a:cubicBezTo>
                <a:cubicBezTo>
                  <a:pt x="63529" y="33207"/>
                  <a:pt x="62647" y="32452"/>
                  <a:pt x="62647" y="32452"/>
                </a:cubicBezTo>
                <a:cubicBezTo>
                  <a:pt x="62647" y="32452"/>
                  <a:pt x="61764" y="31698"/>
                  <a:pt x="62647" y="30943"/>
                </a:cubicBezTo>
                <a:cubicBezTo>
                  <a:pt x="62647" y="30943"/>
                  <a:pt x="63529" y="29433"/>
                  <a:pt x="63529" y="29433"/>
                </a:cubicBezTo>
                <a:cubicBezTo>
                  <a:pt x="63529" y="29433"/>
                  <a:pt x="63529" y="27169"/>
                  <a:pt x="63529" y="27169"/>
                </a:cubicBezTo>
                <a:cubicBezTo>
                  <a:pt x="63529" y="26415"/>
                  <a:pt x="63529" y="26415"/>
                  <a:pt x="63529" y="26415"/>
                </a:cubicBezTo>
                <a:close/>
                <a:moveTo>
                  <a:pt x="112058" y="754"/>
                </a:moveTo>
                <a:cubicBezTo>
                  <a:pt x="112058" y="754"/>
                  <a:pt x="112058" y="754"/>
                  <a:pt x="112058" y="754"/>
                </a:cubicBezTo>
                <a:cubicBezTo>
                  <a:pt x="112058" y="754"/>
                  <a:pt x="112058" y="0"/>
                  <a:pt x="112941" y="0"/>
                </a:cubicBezTo>
                <a:cubicBezTo>
                  <a:pt x="113823" y="0"/>
                  <a:pt x="113823" y="0"/>
                  <a:pt x="114705" y="0"/>
                </a:cubicBezTo>
                <a:cubicBezTo>
                  <a:pt x="114705" y="0"/>
                  <a:pt x="116470" y="0"/>
                  <a:pt x="116470" y="0"/>
                </a:cubicBezTo>
                <a:cubicBezTo>
                  <a:pt x="116470" y="0"/>
                  <a:pt x="117352" y="0"/>
                  <a:pt x="118235" y="0"/>
                </a:cubicBezTo>
                <a:cubicBezTo>
                  <a:pt x="118235" y="0"/>
                  <a:pt x="119117" y="0"/>
                  <a:pt x="119117" y="0"/>
                </a:cubicBezTo>
                <a:cubicBezTo>
                  <a:pt x="120000" y="0"/>
                  <a:pt x="119117" y="754"/>
                  <a:pt x="119117" y="754"/>
                </a:cubicBezTo>
                <a:cubicBezTo>
                  <a:pt x="117352" y="754"/>
                  <a:pt x="117352" y="754"/>
                  <a:pt x="117352" y="754"/>
                </a:cubicBezTo>
                <a:cubicBezTo>
                  <a:pt x="117352" y="754"/>
                  <a:pt x="116470" y="754"/>
                  <a:pt x="115588" y="754"/>
                </a:cubicBezTo>
                <a:cubicBezTo>
                  <a:pt x="115588" y="1509"/>
                  <a:pt x="114705" y="1509"/>
                  <a:pt x="114705" y="1509"/>
                </a:cubicBezTo>
                <a:cubicBezTo>
                  <a:pt x="114705" y="1509"/>
                  <a:pt x="113823" y="1509"/>
                  <a:pt x="113823" y="1509"/>
                </a:cubicBezTo>
                <a:cubicBezTo>
                  <a:pt x="112941" y="1509"/>
                  <a:pt x="112941" y="754"/>
                  <a:pt x="112941" y="1509"/>
                </a:cubicBezTo>
                <a:cubicBezTo>
                  <a:pt x="112058" y="1509"/>
                  <a:pt x="112058" y="754"/>
                  <a:pt x="112058" y="754"/>
                </a:cubicBezTo>
                <a:close/>
                <a:moveTo>
                  <a:pt x="104117" y="4528"/>
                </a:moveTo>
                <a:cubicBezTo>
                  <a:pt x="104117" y="4528"/>
                  <a:pt x="104117" y="4528"/>
                  <a:pt x="104117" y="4528"/>
                </a:cubicBezTo>
                <a:cubicBezTo>
                  <a:pt x="104117" y="4528"/>
                  <a:pt x="104117" y="3773"/>
                  <a:pt x="105000" y="3773"/>
                </a:cubicBezTo>
                <a:cubicBezTo>
                  <a:pt x="105000" y="3773"/>
                  <a:pt x="105000" y="3018"/>
                  <a:pt x="105882" y="3773"/>
                </a:cubicBezTo>
                <a:cubicBezTo>
                  <a:pt x="105882" y="3773"/>
                  <a:pt x="105882" y="5283"/>
                  <a:pt x="105882" y="5283"/>
                </a:cubicBezTo>
                <a:cubicBezTo>
                  <a:pt x="105000" y="5283"/>
                  <a:pt x="105000" y="5283"/>
                  <a:pt x="104117" y="5283"/>
                </a:cubicBezTo>
                <a:cubicBezTo>
                  <a:pt x="104117" y="5283"/>
                  <a:pt x="104117" y="4528"/>
                  <a:pt x="104117" y="4528"/>
                </a:cubicBezTo>
                <a:close/>
                <a:moveTo>
                  <a:pt x="98823" y="6792"/>
                </a:moveTo>
                <a:cubicBezTo>
                  <a:pt x="98823" y="6792"/>
                  <a:pt x="98823" y="6792"/>
                  <a:pt x="98823" y="6792"/>
                </a:cubicBezTo>
                <a:cubicBezTo>
                  <a:pt x="98823" y="6792"/>
                  <a:pt x="97941" y="6037"/>
                  <a:pt x="97941" y="6037"/>
                </a:cubicBezTo>
                <a:cubicBezTo>
                  <a:pt x="97941" y="6037"/>
                  <a:pt x="97941" y="5283"/>
                  <a:pt x="98823" y="5283"/>
                </a:cubicBezTo>
                <a:cubicBezTo>
                  <a:pt x="98823" y="5283"/>
                  <a:pt x="99705" y="5283"/>
                  <a:pt x="99705" y="5283"/>
                </a:cubicBezTo>
                <a:cubicBezTo>
                  <a:pt x="100588" y="5283"/>
                  <a:pt x="100588" y="5283"/>
                  <a:pt x="100588" y="5283"/>
                </a:cubicBezTo>
                <a:cubicBezTo>
                  <a:pt x="100588" y="5283"/>
                  <a:pt x="101470" y="4528"/>
                  <a:pt x="101470" y="4528"/>
                </a:cubicBezTo>
                <a:cubicBezTo>
                  <a:pt x="101470" y="4528"/>
                  <a:pt x="102352" y="6037"/>
                  <a:pt x="102352" y="6037"/>
                </a:cubicBezTo>
                <a:cubicBezTo>
                  <a:pt x="102352" y="6037"/>
                  <a:pt x="102352" y="6037"/>
                  <a:pt x="101470" y="6037"/>
                </a:cubicBezTo>
                <a:cubicBezTo>
                  <a:pt x="101470" y="6037"/>
                  <a:pt x="100588" y="6792"/>
                  <a:pt x="100588" y="6792"/>
                </a:cubicBezTo>
                <a:cubicBezTo>
                  <a:pt x="99705" y="7547"/>
                  <a:pt x="99705" y="7547"/>
                  <a:pt x="99705" y="7547"/>
                </a:cubicBezTo>
                <a:cubicBezTo>
                  <a:pt x="98823" y="6792"/>
                  <a:pt x="98823" y="6792"/>
                  <a:pt x="98823" y="6792"/>
                </a:cubicBezTo>
                <a:close/>
                <a:moveTo>
                  <a:pt x="95294" y="9056"/>
                </a:moveTo>
                <a:cubicBezTo>
                  <a:pt x="95294" y="9056"/>
                  <a:pt x="95294" y="9056"/>
                  <a:pt x="95294" y="9056"/>
                </a:cubicBezTo>
                <a:cubicBezTo>
                  <a:pt x="95294" y="8301"/>
                  <a:pt x="94411" y="8301"/>
                  <a:pt x="94411" y="8301"/>
                </a:cubicBezTo>
                <a:cubicBezTo>
                  <a:pt x="94411" y="8301"/>
                  <a:pt x="93529" y="7547"/>
                  <a:pt x="93529" y="7547"/>
                </a:cubicBezTo>
                <a:cubicBezTo>
                  <a:pt x="93529" y="7547"/>
                  <a:pt x="93529" y="6792"/>
                  <a:pt x="94411" y="6792"/>
                </a:cubicBezTo>
                <a:cubicBezTo>
                  <a:pt x="94411" y="6792"/>
                  <a:pt x="94411" y="6792"/>
                  <a:pt x="94411" y="7547"/>
                </a:cubicBezTo>
                <a:cubicBezTo>
                  <a:pt x="95294" y="7547"/>
                  <a:pt x="95294" y="8301"/>
                  <a:pt x="95294" y="8301"/>
                </a:cubicBezTo>
                <a:cubicBezTo>
                  <a:pt x="95294" y="9056"/>
                  <a:pt x="95294" y="9056"/>
                  <a:pt x="95294" y="9056"/>
                </a:cubicBezTo>
                <a:close/>
                <a:moveTo>
                  <a:pt x="84705" y="9056"/>
                </a:moveTo>
                <a:cubicBezTo>
                  <a:pt x="84705" y="9056"/>
                  <a:pt x="84705" y="9056"/>
                  <a:pt x="84705" y="9056"/>
                </a:cubicBezTo>
                <a:cubicBezTo>
                  <a:pt x="84705" y="9056"/>
                  <a:pt x="84705" y="9056"/>
                  <a:pt x="85588" y="9056"/>
                </a:cubicBezTo>
                <a:cubicBezTo>
                  <a:pt x="86470" y="8301"/>
                  <a:pt x="86470" y="7547"/>
                  <a:pt x="87352" y="8301"/>
                </a:cubicBezTo>
                <a:cubicBezTo>
                  <a:pt x="88235" y="8301"/>
                  <a:pt x="90000" y="9056"/>
                  <a:pt x="90000" y="9056"/>
                </a:cubicBezTo>
                <a:cubicBezTo>
                  <a:pt x="90000" y="9056"/>
                  <a:pt x="90000" y="8301"/>
                  <a:pt x="90000" y="8301"/>
                </a:cubicBezTo>
                <a:cubicBezTo>
                  <a:pt x="90882" y="8301"/>
                  <a:pt x="90882" y="9056"/>
                  <a:pt x="90882" y="9056"/>
                </a:cubicBezTo>
                <a:cubicBezTo>
                  <a:pt x="90882" y="9056"/>
                  <a:pt x="90000" y="9056"/>
                  <a:pt x="90000" y="9056"/>
                </a:cubicBezTo>
                <a:cubicBezTo>
                  <a:pt x="89117" y="9811"/>
                  <a:pt x="89117" y="9811"/>
                  <a:pt x="88235" y="9811"/>
                </a:cubicBezTo>
                <a:cubicBezTo>
                  <a:pt x="87352" y="9811"/>
                  <a:pt x="87352" y="9056"/>
                  <a:pt x="86470" y="9811"/>
                </a:cubicBezTo>
                <a:cubicBezTo>
                  <a:pt x="86470" y="9811"/>
                  <a:pt x="86470" y="10566"/>
                  <a:pt x="85588" y="10566"/>
                </a:cubicBezTo>
                <a:cubicBezTo>
                  <a:pt x="85588" y="10566"/>
                  <a:pt x="84705" y="10566"/>
                  <a:pt x="84705" y="10566"/>
                </a:cubicBezTo>
                <a:cubicBezTo>
                  <a:pt x="84705" y="9811"/>
                  <a:pt x="84705" y="9056"/>
                  <a:pt x="84705" y="9056"/>
                </a:cubicBezTo>
                <a:close/>
                <a:moveTo>
                  <a:pt x="82058" y="9811"/>
                </a:moveTo>
                <a:cubicBezTo>
                  <a:pt x="82058" y="9811"/>
                  <a:pt x="82058" y="9811"/>
                  <a:pt x="82058" y="9811"/>
                </a:cubicBezTo>
                <a:cubicBezTo>
                  <a:pt x="82058" y="9811"/>
                  <a:pt x="82058" y="9056"/>
                  <a:pt x="82941" y="9811"/>
                </a:cubicBezTo>
                <a:cubicBezTo>
                  <a:pt x="82941" y="9811"/>
                  <a:pt x="82941" y="9056"/>
                  <a:pt x="82941" y="9811"/>
                </a:cubicBezTo>
                <a:cubicBezTo>
                  <a:pt x="83823" y="10566"/>
                  <a:pt x="83823" y="11320"/>
                  <a:pt x="82941" y="11320"/>
                </a:cubicBezTo>
                <a:cubicBezTo>
                  <a:pt x="82058" y="10566"/>
                  <a:pt x="82058" y="9811"/>
                  <a:pt x="82058" y="9811"/>
                </a:cubicBezTo>
                <a:close/>
                <a:moveTo>
                  <a:pt x="71470" y="9811"/>
                </a:moveTo>
                <a:cubicBezTo>
                  <a:pt x="71470" y="9811"/>
                  <a:pt x="71470" y="9811"/>
                  <a:pt x="71470" y="9811"/>
                </a:cubicBezTo>
                <a:cubicBezTo>
                  <a:pt x="71470" y="9811"/>
                  <a:pt x="71470" y="9056"/>
                  <a:pt x="72352" y="9056"/>
                </a:cubicBezTo>
                <a:cubicBezTo>
                  <a:pt x="72352" y="9056"/>
                  <a:pt x="72352" y="9056"/>
                  <a:pt x="73235" y="9056"/>
                </a:cubicBezTo>
                <a:cubicBezTo>
                  <a:pt x="73235" y="9811"/>
                  <a:pt x="74117" y="9811"/>
                  <a:pt x="74117" y="9811"/>
                </a:cubicBezTo>
                <a:cubicBezTo>
                  <a:pt x="75000" y="9811"/>
                  <a:pt x="75000" y="9811"/>
                  <a:pt x="75000" y="9811"/>
                </a:cubicBezTo>
                <a:cubicBezTo>
                  <a:pt x="75882" y="9811"/>
                  <a:pt x="75882" y="9056"/>
                  <a:pt x="76764" y="9811"/>
                </a:cubicBezTo>
                <a:cubicBezTo>
                  <a:pt x="77647" y="9811"/>
                  <a:pt x="77647" y="9811"/>
                  <a:pt x="78529" y="9811"/>
                </a:cubicBezTo>
                <a:cubicBezTo>
                  <a:pt x="78529" y="9811"/>
                  <a:pt x="80294" y="9811"/>
                  <a:pt x="80294" y="9811"/>
                </a:cubicBezTo>
                <a:cubicBezTo>
                  <a:pt x="80294" y="9811"/>
                  <a:pt x="80294" y="10566"/>
                  <a:pt x="80294" y="10566"/>
                </a:cubicBezTo>
                <a:cubicBezTo>
                  <a:pt x="79411" y="10566"/>
                  <a:pt x="79411" y="10566"/>
                  <a:pt x="78529" y="10566"/>
                </a:cubicBezTo>
                <a:cubicBezTo>
                  <a:pt x="78529" y="10566"/>
                  <a:pt x="79411" y="10566"/>
                  <a:pt x="77647" y="10566"/>
                </a:cubicBezTo>
                <a:cubicBezTo>
                  <a:pt x="76764" y="10566"/>
                  <a:pt x="76764" y="10566"/>
                  <a:pt x="75882" y="10566"/>
                </a:cubicBezTo>
                <a:cubicBezTo>
                  <a:pt x="75882" y="10566"/>
                  <a:pt x="75882" y="10566"/>
                  <a:pt x="75000" y="10566"/>
                </a:cubicBezTo>
                <a:cubicBezTo>
                  <a:pt x="75000" y="10566"/>
                  <a:pt x="75000" y="10566"/>
                  <a:pt x="75000" y="10566"/>
                </a:cubicBezTo>
                <a:cubicBezTo>
                  <a:pt x="74117" y="10566"/>
                  <a:pt x="76764" y="9811"/>
                  <a:pt x="74117" y="10566"/>
                </a:cubicBezTo>
                <a:cubicBezTo>
                  <a:pt x="71470" y="11320"/>
                  <a:pt x="71470" y="11320"/>
                  <a:pt x="71470" y="11320"/>
                </a:cubicBezTo>
                <a:cubicBezTo>
                  <a:pt x="71470" y="11320"/>
                  <a:pt x="71470" y="10566"/>
                  <a:pt x="71470" y="10566"/>
                </a:cubicBezTo>
                <a:cubicBezTo>
                  <a:pt x="71470" y="10566"/>
                  <a:pt x="71470" y="9811"/>
                  <a:pt x="71470" y="9811"/>
                </a:cubicBezTo>
                <a:close/>
                <a:moveTo>
                  <a:pt x="60000" y="12075"/>
                </a:moveTo>
                <a:cubicBezTo>
                  <a:pt x="60000" y="12075"/>
                  <a:pt x="60000" y="12075"/>
                  <a:pt x="60000" y="12075"/>
                </a:cubicBezTo>
                <a:cubicBezTo>
                  <a:pt x="60882" y="12075"/>
                  <a:pt x="60882" y="12075"/>
                  <a:pt x="60882" y="12075"/>
                </a:cubicBezTo>
                <a:cubicBezTo>
                  <a:pt x="60882" y="12075"/>
                  <a:pt x="62647" y="12075"/>
                  <a:pt x="62647" y="11320"/>
                </a:cubicBezTo>
                <a:cubicBezTo>
                  <a:pt x="63529" y="11320"/>
                  <a:pt x="63529" y="11320"/>
                  <a:pt x="63529" y="11320"/>
                </a:cubicBezTo>
                <a:cubicBezTo>
                  <a:pt x="63529" y="11320"/>
                  <a:pt x="65294" y="10566"/>
                  <a:pt x="65294" y="10566"/>
                </a:cubicBezTo>
                <a:cubicBezTo>
                  <a:pt x="66176" y="10566"/>
                  <a:pt x="67058" y="9811"/>
                  <a:pt x="67058" y="9811"/>
                </a:cubicBezTo>
                <a:cubicBezTo>
                  <a:pt x="67058" y="9811"/>
                  <a:pt x="68823" y="10566"/>
                  <a:pt x="68823" y="10566"/>
                </a:cubicBezTo>
                <a:cubicBezTo>
                  <a:pt x="69705" y="10566"/>
                  <a:pt x="69705" y="9811"/>
                  <a:pt x="69705" y="9811"/>
                </a:cubicBezTo>
                <a:cubicBezTo>
                  <a:pt x="67941" y="9056"/>
                  <a:pt x="67941" y="9056"/>
                  <a:pt x="67941" y="9056"/>
                </a:cubicBezTo>
                <a:cubicBezTo>
                  <a:pt x="64411" y="9811"/>
                  <a:pt x="64411" y="9811"/>
                  <a:pt x="64411" y="9811"/>
                </a:cubicBezTo>
                <a:cubicBezTo>
                  <a:pt x="64411" y="9811"/>
                  <a:pt x="61764" y="10566"/>
                  <a:pt x="60882" y="10566"/>
                </a:cubicBezTo>
                <a:cubicBezTo>
                  <a:pt x="60000" y="9811"/>
                  <a:pt x="59117" y="10566"/>
                  <a:pt x="59117" y="10566"/>
                </a:cubicBezTo>
                <a:cubicBezTo>
                  <a:pt x="58235" y="11320"/>
                  <a:pt x="58235" y="11320"/>
                  <a:pt x="58235" y="11320"/>
                </a:cubicBezTo>
                <a:cubicBezTo>
                  <a:pt x="58235" y="11320"/>
                  <a:pt x="59117" y="12075"/>
                  <a:pt x="59117" y="12075"/>
                </a:cubicBezTo>
                <a:cubicBezTo>
                  <a:pt x="59117" y="12830"/>
                  <a:pt x="60000" y="12075"/>
                  <a:pt x="60000" y="12075"/>
                </a:cubicBezTo>
                <a:close/>
                <a:moveTo>
                  <a:pt x="49411" y="16603"/>
                </a:moveTo>
                <a:cubicBezTo>
                  <a:pt x="49411" y="16603"/>
                  <a:pt x="49411" y="16603"/>
                  <a:pt x="49411" y="16603"/>
                </a:cubicBezTo>
                <a:cubicBezTo>
                  <a:pt x="49411" y="16603"/>
                  <a:pt x="49411" y="16603"/>
                  <a:pt x="49411" y="16603"/>
                </a:cubicBezTo>
                <a:cubicBezTo>
                  <a:pt x="50294" y="17358"/>
                  <a:pt x="50294" y="17358"/>
                  <a:pt x="50294" y="17358"/>
                </a:cubicBezTo>
                <a:cubicBezTo>
                  <a:pt x="50294" y="17358"/>
                  <a:pt x="51176" y="16603"/>
                  <a:pt x="51176" y="16603"/>
                </a:cubicBezTo>
                <a:cubicBezTo>
                  <a:pt x="51176" y="15849"/>
                  <a:pt x="52058" y="15849"/>
                  <a:pt x="52058" y="15849"/>
                </a:cubicBezTo>
                <a:cubicBezTo>
                  <a:pt x="52058" y="15849"/>
                  <a:pt x="52941" y="15094"/>
                  <a:pt x="53823" y="15094"/>
                </a:cubicBezTo>
                <a:cubicBezTo>
                  <a:pt x="53823" y="15094"/>
                  <a:pt x="55588" y="14339"/>
                  <a:pt x="55588" y="14339"/>
                </a:cubicBezTo>
                <a:cubicBezTo>
                  <a:pt x="55588" y="13584"/>
                  <a:pt x="55588" y="13584"/>
                  <a:pt x="55588" y="13584"/>
                </a:cubicBezTo>
                <a:cubicBezTo>
                  <a:pt x="55588" y="13584"/>
                  <a:pt x="52941" y="13584"/>
                  <a:pt x="52941" y="13584"/>
                </a:cubicBezTo>
                <a:cubicBezTo>
                  <a:pt x="52941" y="13584"/>
                  <a:pt x="51176" y="15094"/>
                  <a:pt x="51176" y="15094"/>
                </a:cubicBezTo>
                <a:cubicBezTo>
                  <a:pt x="51176" y="15094"/>
                  <a:pt x="49411" y="16603"/>
                  <a:pt x="49411" y="16603"/>
                </a:cubicBezTo>
                <a:close/>
                <a:moveTo>
                  <a:pt x="48529" y="24150"/>
                </a:moveTo>
                <a:cubicBezTo>
                  <a:pt x="48529" y="24150"/>
                  <a:pt x="48529" y="24150"/>
                  <a:pt x="48529" y="24150"/>
                </a:cubicBezTo>
                <a:cubicBezTo>
                  <a:pt x="48529" y="24150"/>
                  <a:pt x="50294" y="22641"/>
                  <a:pt x="50294" y="21886"/>
                </a:cubicBezTo>
                <a:cubicBezTo>
                  <a:pt x="50294" y="21886"/>
                  <a:pt x="50294" y="20377"/>
                  <a:pt x="50294" y="20377"/>
                </a:cubicBezTo>
                <a:cubicBezTo>
                  <a:pt x="50294" y="18867"/>
                  <a:pt x="50294" y="18867"/>
                  <a:pt x="50294" y="18867"/>
                </a:cubicBezTo>
                <a:cubicBezTo>
                  <a:pt x="48529" y="17358"/>
                  <a:pt x="48529" y="17358"/>
                  <a:pt x="48529" y="17358"/>
                </a:cubicBezTo>
                <a:cubicBezTo>
                  <a:pt x="48529" y="17358"/>
                  <a:pt x="47647" y="18867"/>
                  <a:pt x="47647" y="18867"/>
                </a:cubicBezTo>
                <a:cubicBezTo>
                  <a:pt x="47647" y="19622"/>
                  <a:pt x="46764" y="19622"/>
                  <a:pt x="45882" y="20377"/>
                </a:cubicBezTo>
                <a:cubicBezTo>
                  <a:pt x="45000" y="21132"/>
                  <a:pt x="45000" y="21886"/>
                  <a:pt x="45000" y="22641"/>
                </a:cubicBezTo>
                <a:cubicBezTo>
                  <a:pt x="45000" y="22641"/>
                  <a:pt x="44117" y="23396"/>
                  <a:pt x="44117" y="24150"/>
                </a:cubicBezTo>
                <a:cubicBezTo>
                  <a:pt x="44117" y="24905"/>
                  <a:pt x="45000" y="24905"/>
                  <a:pt x="45882" y="24905"/>
                </a:cubicBezTo>
                <a:cubicBezTo>
                  <a:pt x="46764" y="24905"/>
                  <a:pt x="45882" y="24905"/>
                  <a:pt x="45882" y="24905"/>
                </a:cubicBezTo>
                <a:cubicBezTo>
                  <a:pt x="48529" y="24150"/>
                  <a:pt x="48529" y="24150"/>
                  <a:pt x="48529" y="24150"/>
                </a:cubicBezTo>
                <a:close/>
                <a:moveTo>
                  <a:pt x="18529" y="70943"/>
                </a:moveTo>
                <a:cubicBezTo>
                  <a:pt x="18529" y="70943"/>
                  <a:pt x="18529" y="70943"/>
                  <a:pt x="18529" y="70943"/>
                </a:cubicBezTo>
                <a:cubicBezTo>
                  <a:pt x="18529" y="70943"/>
                  <a:pt x="18529" y="70943"/>
                  <a:pt x="19411" y="70943"/>
                </a:cubicBezTo>
                <a:cubicBezTo>
                  <a:pt x="19411" y="70943"/>
                  <a:pt x="19411" y="70188"/>
                  <a:pt x="19411" y="70188"/>
                </a:cubicBezTo>
                <a:cubicBezTo>
                  <a:pt x="20294" y="70188"/>
                  <a:pt x="20294" y="70943"/>
                  <a:pt x="20294" y="70943"/>
                </a:cubicBezTo>
                <a:cubicBezTo>
                  <a:pt x="21176" y="70943"/>
                  <a:pt x="21176" y="71698"/>
                  <a:pt x="21176" y="71698"/>
                </a:cubicBezTo>
                <a:cubicBezTo>
                  <a:pt x="22058" y="73207"/>
                  <a:pt x="22058" y="73207"/>
                  <a:pt x="22058" y="73207"/>
                </a:cubicBezTo>
                <a:cubicBezTo>
                  <a:pt x="22058" y="73207"/>
                  <a:pt x="22058" y="73962"/>
                  <a:pt x="22058" y="73962"/>
                </a:cubicBezTo>
                <a:cubicBezTo>
                  <a:pt x="22058" y="74716"/>
                  <a:pt x="22058" y="74716"/>
                  <a:pt x="22058" y="74716"/>
                </a:cubicBezTo>
                <a:cubicBezTo>
                  <a:pt x="22058" y="74716"/>
                  <a:pt x="22941" y="74716"/>
                  <a:pt x="23823" y="74716"/>
                </a:cubicBezTo>
                <a:cubicBezTo>
                  <a:pt x="23823" y="74716"/>
                  <a:pt x="23823" y="75471"/>
                  <a:pt x="24705" y="75471"/>
                </a:cubicBezTo>
                <a:cubicBezTo>
                  <a:pt x="25588" y="76226"/>
                  <a:pt x="25588" y="76226"/>
                  <a:pt x="25588" y="76226"/>
                </a:cubicBezTo>
                <a:cubicBezTo>
                  <a:pt x="26470" y="76981"/>
                  <a:pt x="26470" y="76981"/>
                  <a:pt x="27352" y="77735"/>
                </a:cubicBezTo>
                <a:cubicBezTo>
                  <a:pt x="28235" y="77735"/>
                  <a:pt x="28235" y="77735"/>
                  <a:pt x="29117" y="77735"/>
                </a:cubicBezTo>
                <a:cubicBezTo>
                  <a:pt x="29117" y="76981"/>
                  <a:pt x="29117" y="76981"/>
                  <a:pt x="30000" y="76981"/>
                </a:cubicBezTo>
                <a:cubicBezTo>
                  <a:pt x="30000" y="76981"/>
                  <a:pt x="30000" y="76981"/>
                  <a:pt x="30882" y="76981"/>
                </a:cubicBezTo>
                <a:cubicBezTo>
                  <a:pt x="30882" y="76226"/>
                  <a:pt x="30000" y="76226"/>
                  <a:pt x="30000" y="76226"/>
                </a:cubicBezTo>
                <a:cubicBezTo>
                  <a:pt x="30000" y="76226"/>
                  <a:pt x="29117" y="75471"/>
                  <a:pt x="28235" y="74716"/>
                </a:cubicBezTo>
                <a:cubicBezTo>
                  <a:pt x="28235" y="74716"/>
                  <a:pt x="28235" y="74716"/>
                  <a:pt x="28235" y="73962"/>
                </a:cubicBezTo>
                <a:cubicBezTo>
                  <a:pt x="28235" y="73962"/>
                  <a:pt x="28235" y="73962"/>
                  <a:pt x="27352" y="73207"/>
                </a:cubicBezTo>
                <a:cubicBezTo>
                  <a:pt x="26470" y="73207"/>
                  <a:pt x="26470" y="73207"/>
                  <a:pt x="26470" y="73207"/>
                </a:cubicBezTo>
                <a:cubicBezTo>
                  <a:pt x="25588" y="72452"/>
                  <a:pt x="25588" y="71698"/>
                  <a:pt x="25588" y="71698"/>
                </a:cubicBezTo>
                <a:cubicBezTo>
                  <a:pt x="25588" y="71698"/>
                  <a:pt x="23823" y="71698"/>
                  <a:pt x="23823" y="70943"/>
                </a:cubicBezTo>
                <a:cubicBezTo>
                  <a:pt x="23823" y="70943"/>
                  <a:pt x="22941" y="70943"/>
                  <a:pt x="22941" y="70943"/>
                </a:cubicBezTo>
                <a:cubicBezTo>
                  <a:pt x="22941" y="70943"/>
                  <a:pt x="21176" y="70188"/>
                  <a:pt x="21176" y="69433"/>
                </a:cubicBezTo>
                <a:cubicBezTo>
                  <a:pt x="21176" y="69433"/>
                  <a:pt x="21176" y="68679"/>
                  <a:pt x="21176" y="68679"/>
                </a:cubicBezTo>
                <a:cubicBezTo>
                  <a:pt x="21176" y="68679"/>
                  <a:pt x="20294" y="68679"/>
                  <a:pt x="19411" y="68679"/>
                </a:cubicBezTo>
                <a:cubicBezTo>
                  <a:pt x="18529" y="69433"/>
                  <a:pt x="17647" y="69433"/>
                  <a:pt x="17647" y="69433"/>
                </a:cubicBezTo>
                <a:cubicBezTo>
                  <a:pt x="16764" y="69433"/>
                  <a:pt x="16764" y="70188"/>
                  <a:pt x="16764" y="70188"/>
                </a:cubicBezTo>
                <a:cubicBezTo>
                  <a:pt x="16764" y="70188"/>
                  <a:pt x="16764" y="70943"/>
                  <a:pt x="17647" y="70943"/>
                </a:cubicBezTo>
                <a:cubicBezTo>
                  <a:pt x="17647" y="71698"/>
                  <a:pt x="18529" y="70943"/>
                  <a:pt x="18529" y="70943"/>
                </a:cubicBezTo>
                <a:close/>
                <a:moveTo>
                  <a:pt x="62647" y="56603"/>
                </a:moveTo>
                <a:cubicBezTo>
                  <a:pt x="62647" y="56603"/>
                  <a:pt x="62647" y="56603"/>
                  <a:pt x="62647" y="56603"/>
                </a:cubicBezTo>
                <a:cubicBezTo>
                  <a:pt x="62647" y="57358"/>
                  <a:pt x="62647" y="57358"/>
                  <a:pt x="62647" y="57358"/>
                </a:cubicBezTo>
                <a:cubicBezTo>
                  <a:pt x="62647" y="57358"/>
                  <a:pt x="62647" y="57358"/>
                  <a:pt x="63529" y="57358"/>
                </a:cubicBezTo>
                <a:cubicBezTo>
                  <a:pt x="63529" y="56603"/>
                  <a:pt x="63529" y="57358"/>
                  <a:pt x="64411" y="57358"/>
                </a:cubicBezTo>
                <a:cubicBezTo>
                  <a:pt x="64411" y="57358"/>
                  <a:pt x="64411" y="57358"/>
                  <a:pt x="64411" y="57358"/>
                </a:cubicBezTo>
                <a:cubicBezTo>
                  <a:pt x="65294" y="57358"/>
                  <a:pt x="66176" y="55849"/>
                  <a:pt x="66176" y="55849"/>
                </a:cubicBezTo>
                <a:cubicBezTo>
                  <a:pt x="66176" y="55849"/>
                  <a:pt x="66176" y="55849"/>
                  <a:pt x="67058" y="55849"/>
                </a:cubicBezTo>
                <a:cubicBezTo>
                  <a:pt x="67058" y="55849"/>
                  <a:pt x="67941" y="55849"/>
                  <a:pt x="67941" y="55094"/>
                </a:cubicBezTo>
                <a:cubicBezTo>
                  <a:pt x="67941" y="55094"/>
                  <a:pt x="67941" y="55094"/>
                  <a:pt x="68823" y="55094"/>
                </a:cubicBezTo>
                <a:cubicBezTo>
                  <a:pt x="68823" y="54339"/>
                  <a:pt x="68823" y="54339"/>
                  <a:pt x="68823" y="54339"/>
                </a:cubicBezTo>
                <a:cubicBezTo>
                  <a:pt x="69705" y="53584"/>
                  <a:pt x="70588" y="53584"/>
                  <a:pt x="70588" y="53584"/>
                </a:cubicBezTo>
                <a:cubicBezTo>
                  <a:pt x="71470" y="52830"/>
                  <a:pt x="71470" y="52830"/>
                  <a:pt x="71470" y="52075"/>
                </a:cubicBezTo>
                <a:cubicBezTo>
                  <a:pt x="71470" y="52075"/>
                  <a:pt x="70588" y="52075"/>
                  <a:pt x="70588" y="52830"/>
                </a:cubicBezTo>
                <a:cubicBezTo>
                  <a:pt x="69705" y="52830"/>
                  <a:pt x="68823" y="52830"/>
                  <a:pt x="68823" y="52830"/>
                </a:cubicBezTo>
                <a:cubicBezTo>
                  <a:pt x="68823" y="53584"/>
                  <a:pt x="67941" y="53584"/>
                  <a:pt x="67941" y="53584"/>
                </a:cubicBezTo>
                <a:cubicBezTo>
                  <a:pt x="67058" y="53584"/>
                  <a:pt x="66176" y="54339"/>
                  <a:pt x="65294" y="54339"/>
                </a:cubicBezTo>
                <a:cubicBezTo>
                  <a:pt x="65294" y="54339"/>
                  <a:pt x="65294" y="55094"/>
                  <a:pt x="64411" y="55849"/>
                </a:cubicBezTo>
                <a:cubicBezTo>
                  <a:pt x="64411" y="55849"/>
                  <a:pt x="64411" y="55849"/>
                  <a:pt x="64411" y="56603"/>
                </a:cubicBezTo>
                <a:cubicBezTo>
                  <a:pt x="63529" y="56603"/>
                  <a:pt x="62647" y="56603"/>
                  <a:pt x="62647" y="56603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" name="Google Shape;3026;p256">
            <a:extLst>
              <a:ext uri="{FF2B5EF4-FFF2-40B4-BE49-F238E27FC236}">
                <a16:creationId xmlns:a16="http://schemas.microsoft.com/office/drawing/2014/main" id="{CBF21B2E-E24A-C3B2-F842-3EF4C5EE254B}"/>
              </a:ext>
            </a:extLst>
          </p:cNvPr>
          <p:cNvSpPr/>
          <p:nvPr/>
        </p:nvSpPr>
        <p:spPr>
          <a:xfrm>
            <a:off x="13503091" y="4442709"/>
            <a:ext cx="618303" cy="42264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420" y="33277"/>
                </a:moveTo>
                <a:cubicBezTo>
                  <a:pt x="0" y="31260"/>
                  <a:pt x="0" y="31260"/>
                  <a:pt x="0" y="31260"/>
                </a:cubicBezTo>
                <a:cubicBezTo>
                  <a:pt x="2840" y="28235"/>
                  <a:pt x="2840" y="28235"/>
                  <a:pt x="2840" y="28235"/>
                </a:cubicBezTo>
                <a:cubicBezTo>
                  <a:pt x="2840" y="28235"/>
                  <a:pt x="4260" y="28235"/>
                  <a:pt x="4970" y="27226"/>
                </a:cubicBezTo>
                <a:cubicBezTo>
                  <a:pt x="6390" y="27226"/>
                  <a:pt x="10650" y="25210"/>
                  <a:pt x="10650" y="25210"/>
                </a:cubicBezTo>
                <a:cubicBezTo>
                  <a:pt x="12071" y="23193"/>
                  <a:pt x="12071" y="23193"/>
                  <a:pt x="12071" y="23193"/>
                </a:cubicBezTo>
                <a:cubicBezTo>
                  <a:pt x="12071" y="23193"/>
                  <a:pt x="13491" y="21176"/>
                  <a:pt x="13491" y="21176"/>
                </a:cubicBezTo>
                <a:cubicBezTo>
                  <a:pt x="14201" y="21176"/>
                  <a:pt x="15621" y="21176"/>
                  <a:pt x="16331" y="20168"/>
                </a:cubicBezTo>
                <a:cubicBezTo>
                  <a:pt x="16331" y="20168"/>
                  <a:pt x="17041" y="19159"/>
                  <a:pt x="17041" y="19159"/>
                </a:cubicBezTo>
                <a:cubicBezTo>
                  <a:pt x="17041" y="19159"/>
                  <a:pt x="17041" y="18151"/>
                  <a:pt x="17751" y="18151"/>
                </a:cubicBezTo>
                <a:cubicBezTo>
                  <a:pt x="17751" y="18151"/>
                  <a:pt x="18461" y="18151"/>
                  <a:pt x="19171" y="17142"/>
                </a:cubicBezTo>
                <a:cubicBezTo>
                  <a:pt x="19881" y="17142"/>
                  <a:pt x="19881" y="17142"/>
                  <a:pt x="20591" y="16134"/>
                </a:cubicBezTo>
                <a:cubicBezTo>
                  <a:pt x="20591" y="16134"/>
                  <a:pt x="21301" y="13109"/>
                  <a:pt x="21301" y="13109"/>
                </a:cubicBezTo>
                <a:cubicBezTo>
                  <a:pt x="21301" y="13109"/>
                  <a:pt x="21301" y="13109"/>
                  <a:pt x="21301" y="13109"/>
                </a:cubicBezTo>
                <a:cubicBezTo>
                  <a:pt x="22011" y="13109"/>
                  <a:pt x="22721" y="14117"/>
                  <a:pt x="22721" y="14117"/>
                </a:cubicBezTo>
                <a:cubicBezTo>
                  <a:pt x="22721" y="14117"/>
                  <a:pt x="24142" y="14117"/>
                  <a:pt x="24852" y="14117"/>
                </a:cubicBezTo>
                <a:cubicBezTo>
                  <a:pt x="24852" y="14117"/>
                  <a:pt x="26272" y="13109"/>
                  <a:pt x="26272" y="13109"/>
                </a:cubicBezTo>
                <a:cubicBezTo>
                  <a:pt x="26272" y="13109"/>
                  <a:pt x="26272" y="12100"/>
                  <a:pt x="26982" y="12100"/>
                </a:cubicBezTo>
                <a:cubicBezTo>
                  <a:pt x="27692" y="12100"/>
                  <a:pt x="28402" y="12100"/>
                  <a:pt x="29112" y="12100"/>
                </a:cubicBezTo>
                <a:cubicBezTo>
                  <a:pt x="29112" y="12100"/>
                  <a:pt x="30532" y="12100"/>
                  <a:pt x="30532" y="12100"/>
                </a:cubicBezTo>
                <a:cubicBezTo>
                  <a:pt x="31242" y="11092"/>
                  <a:pt x="31242" y="11092"/>
                  <a:pt x="31242" y="11092"/>
                </a:cubicBezTo>
                <a:cubicBezTo>
                  <a:pt x="31952" y="11092"/>
                  <a:pt x="31242" y="10084"/>
                  <a:pt x="31952" y="11092"/>
                </a:cubicBezTo>
                <a:cubicBezTo>
                  <a:pt x="32662" y="11092"/>
                  <a:pt x="31952" y="12100"/>
                  <a:pt x="32662" y="11092"/>
                </a:cubicBezTo>
                <a:cubicBezTo>
                  <a:pt x="33372" y="10084"/>
                  <a:pt x="34082" y="8067"/>
                  <a:pt x="34082" y="8067"/>
                </a:cubicBezTo>
                <a:cubicBezTo>
                  <a:pt x="34082" y="8067"/>
                  <a:pt x="33372" y="8067"/>
                  <a:pt x="34792" y="8067"/>
                </a:cubicBezTo>
                <a:cubicBezTo>
                  <a:pt x="36213" y="8067"/>
                  <a:pt x="36213" y="8067"/>
                  <a:pt x="37633" y="8067"/>
                </a:cubicBezTo>
                <a:cubicBezTo>
                  <a:pt x="38343" y="8067"/>
                  <a:pt x="39763" y="7058"/>
                  <a:pt x="39763" y="7058"/>
                </a:cubicBezTo>
                <a:cubicBezTo>
                  <a:pt x="40473" y="7058"/>
                  <a:pt x="41183" y="6050"/>
                  <a:pt x="41183" y="6050"/>
                </a:cubicBezTo>
                <a:cubicBezTo>
                  <a:pt x="41183" y="5042"/>
                  <a:pt x="38343" y="3025"/>
                  <a:pt x="38343" y="3025"/>
                </a:cubicBezTo>
                <a:cubicBezTo>
                  <a:pt x="38343" y="3025"/>
                  <a:pt x="36923" y="2016"/>
                  <a:pt x="39053" y="2016"/>
                </a:cubicBezTo>
                <a:cubicBezTo>
                  <a:pt x="41183" y="3025"/>
                  <a:pt x="41893" y="3025"/>
                  <a:pt x="41893" y="3025"/>
                </a:cubicBezTo>
                <a:cubicBezTo>
                  <a:pt x="42603" y="3025"/>
                  <a:pt x="42603" y="2016"/>
                  <a:pt x="43313" y="2016"/>
                </a:cubicBezTo>
                <a:cubicBezTo>
                  <a:pt x="44023" y="1008"/>
                  <a:pt x="44733" y="0"/>
                  <a:pt x="44733" y="0"/>
                </a:cubicBezTo>
                <a:cubicBezTo>
                  <a:pt x="45443" y="0"/>
                  <a:pt x="46863" y="2016"/>
                  <a:pt x="46863" y="2016"/>
                </a:cubicBezTo>
                <a:cubicBezTo>
                  <a:pt x="46863" y="4033"/>
                  <a:pt x="46863" y="4033"/>
                  <a:pt x="46863" y="4033"/>
                </a:cubicBezTo>
                <a:cubicBezTo>
                  <a:pt x="48994" y="4033"/>
                  <a:pt x="48994" y="4033"/>
                  <a:pt x="48994" y="4033"/>
                </a:cubicBezTo>
                <a:cubicBezTo>
                  <a:pt x="48994" y="4033"/>
                  <a:pt x="49704" y="3025"/>
                  <a:pt x="50414" y="4033"/>
                </a:cubicBezTo>
                <a:cubicBezTo>
                  <a:pt x="51124" y="4033"/>
                  <a:pt x="52544" y="6050"/>
                  <a:pt x="52544" y="6050"/>
                </a:cubicBezTo>
                <a:cubicBezTo>
                  <a:pt x="51834" y="8067"/>
                  <a:pt x="51834" y="8067"/>
                  <a:pt x="51834" y="8067"/>
                </a:cubicBezTo>
                <a:cubicBezTo>
                  <a:pt x="48994" y="9075"/>
                  <a:pt x="48994" y="9075"/>
                  <a:pt x="48994" y="9075"/>
                </a:cubicBezTo>
                <a:cubicBezTo>
                  <a:pt x="48994" y="9075"/>
                  <a:pt x="48994" y="11092"/>
                  <a:pt x="49704" y="11092"/>
                </a:cubicBezTo>
                <a:cubicBezTo>
                  <a:pt x="49704" y="11092"/>
                  <a:pt x="50414" y="12100"/>
                  <a:pt x="51124" y="11092"/>
                </a:cubicBezTo>
                <a:cubicBezTo>
                  <a:pt x="51834" y="11092"/>
                  <a:pt x="51834" y="10084"/>
                  <a:pt x="51834" y="10084"/>
                </a:cubicBezTo>
                <a:cubicBezTo>
                  <a:pt x="51834" y="10084"/>
                  <a:pt x="53964" y="10084"/>
                  <a:pt x="53964" y="11092"/>
                </a:cubicBezTo>
                <a:cubicBezTo>
                  <a:pt x="53964" y="11092"/>
                  <a:pt x="55384" y="12100"/>
                  <a:pt x="55384" y="12100"/>
                </a:cubicBezTo>
                <a:cubicBezTo>
                  <a:pt x="56094" y="11092"/>
                  <a:pt x="56804" y="11092"/>
                  <a:pt x="57514" y="11092"/>
                </a:cubicBezTo>
                <a:cubicBezTo>
                  <a:pt x="57514" y="11092"/>
                  <a:pt x="58224" y="12100"/>
                  <a:pt x="58934" y="12100"/>
                </a:cubicBezTo>
                <a:cubicBezTo>
                  <a:pt x="59644" y="12100"/>
                  <a:pt x="60355" y="10084"/>
                  <a:pt x="60355" y="10084"/>
                </a:cubicBezTo>
                <a:cubicBezTo>
                  <a:pt x="60355" y="10084"/>
                  <a:pt x="61065" y="10084"/>
                  <a:pt x="61065" y="11092"/>
                </a:cubicBezTo>
                <a:cubicBezTo>
                  <a:pt x="61775" y="11092"/>
                  <a:pt x="61065" y="11092"/>
                  <a:pt x="61775" y="12100"/>
                </a:cubicBezTo>
                <a:cubicBezTo>
                  <a:pt x="61775" y="13109"/>
                  <a:pt x="61775" y="13109"/>
                  <a:pt x="62485" y="13109"/>
                </a:cubicBezTo>
                <a:cubicBezTo>
                  <a:pt x="63195" y="14117"/>
                  <a:pt x="64615" y="14117"/>
                  <a:pt x="64615" y="15126"/>
                </a:cubicBezTo>
                <a:cubicBezTo>
                  <a:pt x="64615" y="15126"/>
                  <a:pt x="65325" y="17142"/>
                  <a:pt x="66035" y="17142"/>
                </a:cubicBezTo>
                <a:cubicBezTo>
                  <a:pt x="66745" y="16134"/>
                  <a:pt x="66745" y="16134"/>
                  <a:pt x="67455" y="16134"/>
                </a:cubicBezTo>
                <a:cubicBezTo>
                  <a:pt x="68165" y="17142"/>
                  <a:pt x="69585" y="16134"/>
                  <a:pt x="69585" y="17142"/>
                </a:cubicBezTo>
                <a:cubicBezTo>
                  <a:pt x="68875" y="18151"/>
                  <a:pt x="68875" y="19159"/>
                  <a:pt x="68875" y="20168"/>
                </a:cubicBezTo>
                <a:cubicBezTo>
                  <a:pt x="68875" y="20168"/>
                  <a:pt x="68165" y="21176"/>
                  <a:pt x="67455" y="21176"/>
                </a:cubicBezTo>
                <a:cubicBezTo>
                  <a:pt x="66745" y="21176"/>
                  <a:pt x="66035" y="22184"/>
                  <a:pt x="66035" y="22184"/>
                </a:cubicBezTo>
                <a:cubicBezTo>
                  <a:pt x="66035" y="23193"/>
                  <a:pt x="65325" y="24201"/>
                  <a:pt x="65325" y="25210"/>
                </a:cubicBezTo>
                <a:cubicBezTo>
                  <a:pt x="64615" y="26218"/>
                  <a:pt x="64615" y="27226"/>
                  <a:pt x="64615" y="27226"/>
                </a:cubicBezTo>
                <a:cubicBezTo>
                  <a:pt x="63905" y="28235"/>
                  <a:pt x="63905" y="28235"/>
                  <a:pt x="63905" y="28235"/>
                </a:cubicBezTo>
                <a:cubicBezTo>
                  <a:pt x="63905" y="29243"/>
                  <a:pt x="66035" y="33277"/>
                  <a:pt x="66035" y="33277"/>
                </a:cubicBezTo>
                <a:cubicBezTo>
                  <a:pt x="67455" y="34285"/>
                  <a:pt x="67455" y="34285"/>
                  <a:pt x="67455" y="34285"/>
                </a:cubicBezTo>
                <a:cubicBezTo>
                  <a:pt x="68165" y="36302"/>
                  <a:pt x="68165" y="36302"/>
                  <a:pt x="68165" y="36302"/>
                </a:cubicBezTo>
                <a:cubicBezTo>
                  <a:pt x="72426" y="40336"/>
                  <a:pt x="72426" y="40336"/>
                  <a:pt x="72426" y="40336"/>
                </a:cubicBezTo>
                <a:cubicBezTo>
                  <a:pt x="72426" y="40336"/>
                  <a:pt x="73846" y="41344"/>
                  <a:pt x="75266" y="41344"/>
                </a:cubicBezTo>
                <a:cubicBezTo>
                  <a:pt x="76686" y="42352"/>
                  <a:pt x="78106" y="42352"/>
                  <a:pt x="78106" y="42352"/>
                </a:cubicBezTo>
                <a:cubicBezTo>
                  <a:pt x="80236" y="45378"/>
                  <a:pt x="80236" y="45378"/>
                  <a:pt x="80236" y="45378"/>
                </a:cubicBezTo>
                <a:cubicBezTo>
                  <a:pt x="80236" y="45378"/>
                  <a:pt x="81656" y="45378"/>
                  <a:pt x="82366" y="45378"/>
                </a:cubicBezTo>
                <a:cubicBezTo>
                  <a:pt x="82366" y="46386"/>
                  <a:pt x="84497" y="46386"/>
                  <a:pt x="84497" y="46386"/>
                </a:cubicBezTo>
                <a:cubicBezTo>
                  <a:pt x="85917" y="46386"/>
                  <a:pt x="85917" y="46386"/>
                  <a:pt x="85917" y="46386"/>
                </a:cubicBezTo>
                <a:cubicBezTo>
                  <a:pt x="85917" y="46386"/>
                  <a:pt x="86627" y="45378"/>
                  <a:pt x="87337" y="47394"/>
                </a:cubicBezTo>
                <a:cubicBezTo>
                  <a:pt x="87337" y="48403"/>
                  <a:pt x="88047" y="50420"/>
                  <a:pt x="88047" y="50420"/>
                </a:cubicBezTo>
                <a:cubicBezTo>
                  <a:pt x="88047" y="50420"/>
                  <a:pt x="88047" y="51428"/>
                  <a:pt x="88047" y="52436"/>
                </a:cubicBezTo>
                <a:cubicBezTo>
                  <a:pt x="87337" y="52436"/>
                  <a:pt x="87337" y="52436"/>
                  <a:pt x="87337" y="53445"/>
                </a:cubicBezTo>
                <a:cubicBezTo>
                  <a:pt x="87337" y="53445"/>
                  <a:pt x="87337" y="57478"/>
                  <a:pt x="87337" y="57478"/>
                </a:cubicBezTo>
                <a:cubicBezTo>
                  <a:pt x="87337" y="57478"/>
                  <a:pt x="87337" y="58487"/>
                  <a:pt x="86627" y="58487"/>
                </a:cubicBezTo>
                <a:cubicBezTo>
                  <a:pt x="85207" y="59495"/>
                  <a:pt x="85207" y="59495"/>
                  <a:pt x="84497" y="59495"/>
                </a:cubicBezTo>
                <a:cubicBezTo>
                  <a:pt x="83076" y="59495"/>
                  <a:pt x="80946" y="60504"/>
                  <a:pt x="80236" y="61512"/>
                </a:cubicBezTo>
                <a:cubicBezTo>
                  <a:pt x="80236" y="61512"/>
                  <a:pt x="78816" y="61512"/>
                  <a:pt x="78816" y="61512"/>
                </a:cubicBezTo>
                <a:cubicBezTo>
                  <a:pt x="78816" y="62521"/>
                  <a:pt x="78106" y="64537"/>
                  <a:pt x="78106" y="64537"/>
                </a:cubicBezTo>
                <a:cubicBezTo>
                  <a:pt x="78106" y="64537"/>
                  <a:pt x="78106" y="66554"/>
                  <a:pt x="79526" y="66554"/>
                </a:cubicBezTo>
                <a:cubicBezTo>
                  <a:pt x="81656" y="66554"/>
                  <a:pt x="81656" y="66554"/>
                  <a:pt x="82366" y="66554"/>
                </a:cubicBezTo>
                <a:cubicBezTo>
                  <a:pt x="83076" y="66554"/>
                  <a:pt x="83076" y="65546"/>
                  <a:pt x="84497" y="66554"/>
                </a:cubicBezTo>
                <a:cubicBezTo>
                  <a:pt x="85207" y="66554"/>
                  <a:pt x="85917" y="68571"/>
                  <a:pt x="85917" y="68571"/>
                </a:cubicBezTo>
                <a:cubicBezTo>
                  <a:pt x="87337" y="70588"/>
                  <a:pt x="87337" y="70588"/>
                  <a:pt x="87337" y="70588"/>
                </a:cubicBezTo>
                <a:cubicBezTo>
                  <a:pt x="88757" y="71596"/>
                  <a:pt x="88757" y="71596"/>
                  <a:pt x="88757" y="71596"/>
                </a:cubicBezTo>
                <a:cubicBezTo>
                  <a:pt x="93017" y="71596"/>
                  <a:pt x="93017" y="71596"/>
                  <a:pt x="93017" y="71596"/>
                </a:cubicBezTo>
                <a:cubicBezTo>
                  <a:pt x="95857" y="75630"/>
                  <a:pt x="95857" y="75630"/>
                  <a:pt x="95857" y="75630"/>
                </a:cubicBezTo>
                <a:cubicBezTo>
                  <a:pt x="99408" y="76638"/>
                  <a:pt x="99408" y="76638"/>
                  <a:pt x="99408" y="76638"/>
                </a:cubicBezTo>
                <a:cubicBezTo>
                  <a:pt x="99408" y="76638"/>
                  <a:pt x="99408" y="79663"/>
                  <a:pt x="100118" y="79663"/>
                </a:cubicBezTo>
                <a:cubicBezTo>
                  <a:pt x="101538" y="79663"/>
                  <a:pt x="102248" y="78655"/>
                  <a:pt x="102248" y="78655"/>
                </a:cubicBezTo>
                <a:cubicBezTo>
                  <a:pt x="102248" y="78655"/>
                  <a:pt x="103668" y="76638"/>
                  <a:pt x="104378" y="76638"/>
                </a:cubicBezTo>
                <a:cubicBezTo>
                  <a:pt x="105798" y="75630"/>
                  <a:pt x="105088" y="74621"/>
                  <a:pt x="106508" y="75630"/>
                </a:cubicBezTo>
                <a:cubicBezTo>
                  <a:pt x="107928" y="77647"/>
                  <a:pt x="110769" y="75630"/>
                  <a:pt x="110769" y="75630"/>
                </a:cubicBezTo>
                <a:cubicBezTo>
                  <a:pt x="112189" y="75630"/>
                  <a:pt x="112189" y="75630"/>
                  <a:pt x="112189" y="75630"/>
                </a:cubicBezTo>
                <a:cubicBezTo>
                  <a:pt x="112189" y="78655"/>
                  <a:pt x="112189" y="78655"/>
                  <a:pt x="112189" y="78655"/>
                </a:cubicBezTo>
                <a:cubicBezTo>
                  <a:pt x="112189" y="81680"/>
                  <a:pt x="112189" y="81680"/>
                  <a:pt x="112189" y="81680"/>
                </a:cubicBezTo>
                <a:cubicBezTo>
                  <a:pt x="110059" y="83697"/>
                  <a:pt x="110059" y="83697"/>
                  <a:pt x="110059" y="83697"/>
                </a:cubicBezTo>
                <a:cubicBezTo>
                  <a:pt x="109349" y="84705"/>
                  <a:pt x="109349" y="84705"/>
                  <a:pt x="109349" y="84705"/>
                </a:cubicBezTo>
                <a:cubicBezTo>
                  <a:pt x="109349" y="84705"/>
                  <a:pt x="109349" y="85714"/>
                  <a:pt x="109349" y="86722"/>
                </a:cubicBezTo>
                <a:cubicBezTo>
                  <a:pt x="110059" y="86722"/>
                  <a:pt x="110769" y="87731"/>
                  <a:pt x="110769" y="87731"/>
                </a:cubicBezTo>
                <a:cubicBezTo>
                  <a:pt x="113609" y="88739"/>
                  <a:pt x="113609" y="88739"/>
                  <a:pt x="113609" y="88739"/>
                </a:cubicBezTo>
                <a:cubicBezTo>
                  <a:pt x="115739" y="90756"/>
                  <a:pt x="115739" y="90756"/>
                  <a:pt x="115739" y="90756"/>
                </a:cubicBezTo>
                <a:cubicBezTo>
                  <a:pt x="115739" y="90756"/>
                  <a:pt x="115739" y="93781"/>
                  <a:pt x="116449" y="93781"/>
                </a:cubicBezTo>
                <a:cubicBezTo>
                  <a:pt x="117159" y="93781"/>
                  <a:pt x="118579" y="94789"/>
                  <a:pt x="118579" y="94789"/>
                </a:cubicBezTo>
                <a:cubicBezTo>
                  <a:pt x="118579" y="94789"/>
                  <a:pt x="115739" y="97815"/>
                  <a:pt x="115029" y="97815"/>
                </a:cubicBezTo>
                <a:cubicBezTo>
                  <a:pt x="114319" y="97815"/>
                  <a:pt x="112189" y="96806"/>
                  <a:pt x="112189" y="96806"/>
                </a:cubicBezTo>
                <a:cubicBezTo>
                  <a:pt x="112899" y="100840"/>
                  <a:pt x="112899" y="100840"/>
                  <a:pt x="112899" y="100840"/>
                </a:cubicBezTo>
                <a:cubicBezTo>
                  <a:pt x="115739" y="100840"/>
                  <a:pt x="115739" y="100840"/>
                  <a:pt x="115739" y="100840"/>
                </a:cubicBezTo>
                <a:cubicBezTo>
                  <a:pt x="115739" y="100840"/>
                  <a:pt x="115739" y="100840"/>
                  <a:pt x="116449" y="101848"/>
                </a:cubicBezTo>
                <a:cubicBezTo>
                  <a:pt x="116449" y="102857"/>
                  <a:pt x="117159" y="103865"/>
                  <a:pt x="117159" y="103865"/>
                </a:cubicBezTo>
                <a:cubicBezTo>
                  <a:pt x="117159" y="103865"/>
                  <a:pt x="120000" y="102857"/>
                  <a:pt x="120000" y="106890"/>
                </a:cubicBezTo>
                <a:cubicBezTo>
                  <a:pt x="119289" y="107899"/>
                  <a:pt x="118579" y="110924"/>
                  <a:pt x="118579" y="111932"/>
                </a:cubicBezTo>
                <a:cubicBezTo>
                  <a:pt x="119289" y="111932"/>
                  <a:pt x="119289" y="112941"/>
                  <a:pt x="119289" y="112941"/>
                </a:cubicBezTo>
                <a:cubicBezTo>
                  <a:pt x="117869" y="114957"/>
                  <a:pt x="117869" y="114957"/>
                  <a:pt x="117869" y="114957"/>
                </a:cubicBezTo>
                <a:cubicBezTo>
                  <a:pt x="115029" y="114957"/>
                  <a:pt x="115029" y="114957"/>
                  <a:pt x="115029" y="114957"/>
                </a:cubicBezTo>
                <a:cubicBezTo>
                  <a:pt x="112189" y="116974"/>
                  <a:pt x="112189" y="116974"/>
                  <a:pt x="112189" y="116974"/>
                </a:cubicBezTo>
                <a:cubicBezTo>
                  <a:pt x="110769" y="118991"/>
                  <a:pt x="110769" y="118991"/>
                  <a:pt x="110769" y="118991"/>
                </a:cubicBezTo>
                <a:cubicBezTo>
                  <a:pt x="109349" y="120000"/>
                  <a:pt x="109349" y="120000"/>
                  <a:pt x="109349" y="120000"/>
                </a:cubicBezTo>
                <a:cubicBezTo>
                  <a:pt x="107218" y="115966"/>
                  <a:pt x="107218" y="115966"/>
                  <a:pt x="107218" y="115966"/>
                </a:cubicBezTo>
                <a:cubicBezTo>
                  <a:pt x="102958" y="110924"/>
                  <a:pt x="102958" y="110924"/>
                  <a:pt x="102958" y="110924"/>
                </a:cubicBezTo>
                <a:cubicBezTo>
                  <a:pt x="100828" y="107899"/>
                  <a:pt x="100828" y="107899"/>
                  <a:pt x="100828" y="107899"/>
                </a:cubicBezTo>
                <a:cubicBezTo>
                  <a:pt x="99408" y="103865"/>
                  <a:pt x="99408" y="103865"/>
                  <a:pt x="99408" y="103865"/>
                </a:cubicBezTo>
                <a:cubicBezTo>
                  <a:pt x="99408" y="100840"/>
                  <a:pt x="99408" y="100840"/>
                  <a:pt x="99408" y="100840"/>
                </a:cubicBezTo>
                <a:cubicBezTo>
                  <a:pt x="97988" y="98823"/>
                  <a:pt x="97988" y="98823"/>
                  <a:pt x="97988" y="98823"/>
                </a:cubicBezTo>
                <a:cubicBezTo>
                  <a:pt x="97988" y="98823"/>
                  <a:pt x="97278" y="98823"/>
                  <a:pt x="95857" y="98823"/>
                </a:cubicBezTo>
                <a:cubicBezTo>
                  <a:pt x="95147" y="98823"/>
                  <a:pt x="93017" y="97815"/>
                  <a:pt x="93017" y="97815"/>
                </a:cubicBezTo>
                <a:cubicBezTo>
                  <a:pt x="91597" y="97815"/>
                  <a:pt x="91597" y="97815"/>
                  <a:pt x="91597" y="97815"/>
                </a:cubicBezTo>
                <a:cubicBezTo>
                  <a:pt x="91597" y="92773"/>
                  <a:pt x="91597" y="92773"/>
                  <a:pt x="91597" y="92773"/>
                </a:cubicBezTo>
                <a:cubicBezTo>
                  <a:pt x="91597" y="92773"/>
                  <a:pt x="90887" y="88739"/>
                  <a:pt x="90177" y="88739"/>
                </a:cubicBezTo>
                <a:cubicBezTo>
                  <a:pt x="90177" y="87731"/>
                  <a:pt x="89467" y="85714"/>
                  <a:pt x="89467" y="85714"/>
                </a:cubicBezTo>
                <a:cubicBezTo>
                  <a:pt x="89467" y="85714"/>
                  <a:pt x="87337" y="86722"/>
                  <a:pt x="85917" y="86722"/>
                </a:cubicBezTo>
                <a:cubicBezTo>
                  <a:pt x="85207" y="87731"/>
                  <a:pt x="83786" y="88739"/>
                  <a:pt x="83076" y="89747"/>
                </a:cubicBezTo>
                <a:cubicBezTo>
                  <a:pt x="82366" y="90756"/>
                  <a:pt x="80946" y="91764"/>
                  <a:pt x="80946" y="91764"/>
                </a:cubicBezTo>
                <a:cubicBezTo>
                  <a:pt x="77396" y="93781"/>
                  <a:pt x="77396" y="93781"/>
                  <a:pt x="77396" y="93781"/>
                </a:cubicBezTo>
                <a:cubicBezTo>
                  <a:pt x="75266" y="91764"/>
                  <a:pt x="75266" y="91764"/>
                  <a:pt x="75266" y="91764"/>
                </a:cubicBezTo>
                <a:cubicBezTo>
                  <a:pt x="71715" y="90756"/>
                  <a:pt x="71715" y="90756"/>
                  <a:pt x="71715" y="90756"/>
                </a:cubicBezTo>
                <a:cubicBezTo>
                  <a:pt x="70295" y="94789"/>
                  <a:pt x="70295" y="94789"/>
                  <a:pt x="70295" y="94789"/>
                </a:cubicBezTo>
                <a:cubicBezTo>
                  <a:pt x="70295" y="94789"/>
                  <a:pt x="69585" y="92773"/>
                  <a:pt x="68875" y="91764"/>
                </a:cubicBezTo>
                <a:cubicBezTo>
                  <a:pt x="68875" y="89747"/>
                  <a:pt x="68165" y="86722"/>
                  <a:pt x="68165" y="86722"/>
                </a:cubicBezTo>
                <a:cubicBezTo>
                  <a:pt x="68165" y="86722"/>
                  <a:pt x="67455" y="85714"/>
                  <a:pt x="66745" y="85714"/>
                </a:cubicBezTo>
                <a:cubicBezTo>
                  <a:pt x="66035" y="85714"/>
                  <a:pt x="64615" y="84705"/>
                  <a:pt x="64615" y="84705"/>
                </a:cubicBezTo>
                <a:cubicBezTo>
                  <a:pt x="62485" y="84705"/>
                  <a:pt x="62485" y="84705"/>
                  <a:pt x="62485" y="84705"/>
                </a:cubicBezTo>
                <a:cubicBezTo>
                  <a:pt x="60355" y="88739"/>
                  <a:pt x="60355" y="88739"/>
                  <a:pt x="60355" y="88739"/>
                </a:cubicBezTo>
                <a:cubicBezTo>
                  <a:pt x="56804" y="90756"/>
                  <a:pt x="56804" y="90756"/>
                  <a:pt x="56804" y="90756"/>
                </a:cubicBezTo>
                <a:cubicBezTo>
                  <a:pt x="53964" y="88739"/>
                  <a:pt x="53964" y="88739"/>
                  <a:pt x="53964" y="88739"/>
                </a:cubicBezTo>
                <a:cubicBezTo>
                  <a:pt x="53964" y="88739"/>
                  <a:pt x="53254" y="86722"/>
                  <a:pt x="52544" y="87731"/>
                </a:cubicBezTo>
                <a:cubicBezTo>
                  <a:pt x="51834" y="87731"/>
                  <a:pt x="49704" y="86722"/>
                  <a:pt x="49704" y="86722"/>
                </a:cubicBezTo>
                <a:cubicBezTo>
                  <a:pt x="49704" y="86722"/>
                  <a:pt x="48994" y="85714"/>
                  <a:pt x="48994" y="84705"/>
                </a:cubicBezTo>
                <a:cubicBezTo>
                  <a:pt x="48994" y="83697"/>
                  <a:pt x="46863" y="81680"/>
                  <a:pt x="46863" y="81680"/>
                </a:cubicBezTo>
                <a:cubicBezTo>
                  <a:pt x="46863" y="81680"/>
                  <a:pt x="44023" y="79663"/>
                  <a:pt x="43313" y="79663"/>
                </a:cubicBezTo>
                <a:cubicBezTo>
                  <a:pt x="42603" y="80672"/>
                  <a:pt x="40473" y="80672"/>
                  <a:pt x="39763" y="80672"/>
                </a:cubicBezTo>
                <a:cubicBezTo>
                  <a:pt x="38343" y="80672"/>
                  <a:pt x="34792" y="79663"/>
                  <a:pt x="34792" y="79663"/>
                </a:cubicBezTo>
                <a:cubicBezTo>
                  <a:pt x="31952" y="82689"/>
                  <a:pt x="31952" y="82689"/>
                  <a:pt x="31952" y="82689"/>
                </a:cubicBezTo>
                <a:cubicBezTo>
                  <a:pt x="31952" y="82689"/>
                  <a:pt x="30532" y="82689"/>
                  <a:pt x="29112" y="83697"/>
                </a:cubicBezTo>
                <a:cubicBezTo>
                  <a:pt x="28402" y="83697"/>
                  <a:pt x="26982" y="84705"/>
                  <a:pt x="26982" y="84705"/>
                </a:cubicBezTo>
                <a:cubicBezTo>
                  <a:pt x="26982" y="84705"/>
                  <a:pt x="24142" y="83697"/>
                  <a:pt x="23431" y="83697"/>
                </a:cubicBezTo>
                <a:cubicBezTo>
                  <a:pt x="22721" y="83697"/>
                  <a:pt x="22721" y="83697"/>
                  <a:pt x="21301" y="83697"/>
                </a:cubicBezTo>
                <a:cubicBezTo>
                  <a:pt x="19881" y="83697"/>
                  <a:pt x="16331" y="83697"/>
                  <a:pt x="16331" y="83697"/>
                </a:cubicBezTo>
                <a:cubicBezTo>
                  <a:pt x="18461" y="80672"/>
                  <a:pt x="18461" y="80672"/>
                  <a:pt x="18461" y="80672"/>
                </a:cubicBezTo>
                <a:cubicBezTo>
                  <a:pt x="18461" y="80672"/>
                  <a:pt x="19171" y="78655"/>
                  <a:pt x="18461" y="77647"/>
                </a:cubicBezTo>
                <a:cubicBezTo>
                  <a:pt x="17751" y="76638"/>
                  <a:pt x="17751" y="75630"/>
                  <a:pt x="17041" y="75630"/>
                </a:cubicBezTo>
                <a:cubicBezTo>
                  <a:pt x="16331" y="74621"/>
                  <a:pt x="14201" y="72605"/>
                  <a:pt x="14201" y="72605"/>
                </a:cubicBezTo>
                <a:cubicBezTo>
                  <a:pt x="14201" y="72605"/>
                  <a:pt x="14201" y="72605"/>
                  <a:pt x="14201" y="71596"/>
                </a:cubicBezTo>
                <a:cubicBezTo>
                  <a:pt x="13491" y="70588"/>
                  <a:pt x="12781" y="67563"/>
                  <a:pt x="12781" y="67563"/>
                </a:cubicBezTo>
                <a:cubicBezTo>
                  <a:pt x="12071" y="65546"/>
                  <a:pt x="12071" y="65546"/>
                  <a:pt x="12071" y="65546"/>
                </a:cubicBezTo>
                <a:cubicBezTo>
                  <a:pt x="12071" y="65546"/>
                  <a:pt x="9940" y="63529"/>
                  <a:pt x="10650" y="61512"/>
                </a:cubicBezTo>
                <a:cubicBezTo>
                  <a:pt x="11360" y="59495"/>
                  <a:pt x="12781" y="54453"/>
                  <a:pt x="12781" y="54453"/>
                </a:cubicBezTo>
                <a:cubicBezTo>
                  <a:pt x="13491" y="49411"/>
                  <a:pt x="13491" y="49411"/>
                  <a:pt x="13491" y="49411"/>
                </a:cubicBezTo>
                <a:cubicBezTo>
                  <a:pt x="12781" y="46386"/>
                  <a:pt x="12781" y="46386"/>
                  <a:pt x="12781" y="46386"/>
                </a:cubicBezTo>
                <a:cubicBezTo>
                  <a:pt x="11360" y="43361"/>
                  <a:pt x="11360" y="43361"/>
                  <a:pt x="11360" y="43361"/>
                </a:cubicBezTo>
                <a:cubicBezTo>
                  <a:pt x="11360" y="43361"/>
                  <a:pt x="10650" y="43361"/>
                  <a:pt x="9940" y="41344"/>
                </a:cubicBezTo>
                <a:cubicBezTo>
                  <a:pt x="9940" y="38319"/>
                  <a:pt x="9940" y="38319"/>
                  <a:pt x="9230" y="37310"/>
                </a:cubicBezTo>
                <a:cubicBezTo>
                  <a:pt x="8520" y="35294"/>
                  <a:pt x="5680" y="34285"/>
                  <a:pt x="5680" y="34285"/>
                </a:cubicBezTo>
                <a:cubicBezTo>
                  <a:pt x="2130" y="34285"/>
                  <a:pt x="2130" y="34285"/>
                  <a:pt x="2130" y="34285"/>
                </a:cubicBezTo>
                <a:lnTo>
                  <a:pt x="1420" y="33277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" name="Google Shape;3027;p256">
            <a:extLst>
              <a:ext uri="{FF2B5EF4-FFF2-40B4-BE49-F238E27FC236}">
                <a16:creationId xmlns:a16="http://schemas.microsoft.com/office/drawing/2014/main" id="{7450CE3E-C881-A3A0-1DD1-0BD9CFD61D22}"/>
              </a:ext>
            </a:extLst>
          </p:cNvPr>
          <p:cNvSpPr/>
          <p:nvPr/>
        </p:nvSpPr>
        <p:spPr>
          <a:xfrm>
            <a:off x="9479859" y="3944664"/>
            <a:ext cx="879504" cy="60432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4000" y="43058"/>
                </a:moveTo>
                <a:cubicBezTo>
                  <a:pt x="14000" y="43058"/>
                  <a:pt x="14000" y="43058"/>
                  <a:pt x="14000" y="43058"/>
                </a:cubicBezTo>
                <a:cubicBezTo>
                  <a:pt x="14000" y="43058"/>
                  <a:pt x="14000" y="43058"/>
                  <a:pt x="14000" y="43058"/>
                </a:cubicBezTo>
                <a:cubicBezTo>
                  <a:pt x="14000" y="42352"/>
                  <a:pt x="14000" y="42352"/>
                  <a:pt x="14000" y="42352"/>
                </a:cubicBezTo>
                <a:cubicBezTo>
                  <a:pt x="14000" y="40941"/>
                  <a:pt x="14000" y="40941"/>
                  <a:pt x="14000" y="40941"/>
                </a:cubicBezTo>
                <a:cubicBezTo>
                  <a:pt x="15500" y="38117"/>
                  <a:pt x="15500" y="38117"/>
                  <a:pt x="15500" y="38117"/>
                </a:cubicBezTo>
                <a:cubicBezTo>
                  <a:pt x="15500" y="34588"/>
                  <a:pt x="15500" y="34588"/>
                  <a:pt x="15500" y="34588"/>
                </a:cubicBezTo>
                <a:cubicBezTo>
                  <a:pt x="19500" y="35294"/>
                  <a:pt x="19500" y="35294"/>
                  <a:pt x="19500" y="35294"/>
                </a:cubicBezTo>
                <a:cubicBezTo>
                  <a:pt x="22000" y="38823"/>
                  <a:pt x="22000" y="38823"/>
                  <a:pt x="22000" y="38823"/>
                </a:cubicBezTo>
                <a:cubicBezTo>
                  <a:pt x="25500" y="41647"/>
                  <a:pt x="25500" y="41647"/>
                  <a:pt x="25500" y="41647"/>
                </a:cubicBezTo>
                <a:cubicBezTo>
                  <a:pt x="27500" y="43058"/>
                  <a:pt x="27500" y="43058"/>
                  <a:pt x="27500" y="43058"/>
                </a:cubicBezTo>
                <a:cubicBezTo>
                  <a:pt x="32000" y="41647"/>
                  <a:pt x="32000" y="41647"/>
                  <a:pt x="32000" y="41647"/>
                </a:cubicBezTo>
                <a:cubicBezTo>
                  <a:pt x="40500" y="40941"/>
                  <a:pt x="40500" y="40941"/>
                  <a:pt x="40500" y="40941"/>
                </a:cubicBezTo>
                <a:cubicBezTo>
                  <a:pt x="40500" y="40941"/>
                  <a:pt x="45000" y="40235"/>
                  <a:pt x="45500" y="39529"/>
                </a:cubicBezTo>
                <a:cubicBezTo>
                  <a:pt x="46000" y="38823"/>
                  <a:pt x="49000" y="38117"/>
                  <a:pt x="48000" y="36705"/>
                </a:cubicBezTo>
                <a:cubicBezTo>
                  <a:pt x="47000" y="36000"/>
                  <a:pt x="45000" y="33882"/>
                  <a:pt x="45000" y="33882"/>
                </a:cubicBezTo>
                <a:cubicBezTo>
                  <a:pt x="45000" y="32470"/>
                  <a:pt x="45000" y="32470"/>
                  <a:pt x="45000" y="32470"/>
                </a:cubicBezTo>
                <a:cubicBezTo>
                  <a:pt x="47500" y="28941"/>
                  <a:pt x="47500" y="28941"/>
                  <a:pt x="47500" y="28941"/>
                </a:cubicBezTo>
                <a:cubicBezTo>
                  <a:pt x="52000" y="26823"/>
                  <a:pt x="52000" y="26823"/>
                  <a:pt x="52000" y="26823"/>
                </a:cubicBezTo>
                <a:cubicBezTo>
                  <a:pt x="55500" y="26117"/>
                  <a:pt x="55500" y="26117"/>
                  <a:pt x="55500" y="26117"/>
                </a:cubicBezTo>
                <a:cubicBezTo>
                  <a:pt x="57500" y="25411"/>
                  <a:pt x="57500" y="25411"/>
                  <a:pt x="57500" y="25411"/>
                </a:cubicBezTo>
                <a:cubicBezTo>
                  <a:pt x="58500" y="21176"/>
                  <a:pt x="58500" y="21176"/>
                  <a:pt x="58500" y="21176"/>
                </a:cubicBezTo>
                <a:cubicBezTo>
                  <a:pt x="61500" y="20470"/>
                  <a:pt x="61500" y="20470"/>
                  <a:pt x="61500" y="20470"/>
                </a:cubicBezTo>
                <a:cubicBezTo>
                  <a:pt x="63500" y="21176"/>
                  <a:pt x="63500" y="21176"/>
                  <a:pt x="63500" y="21176"/>
                </a:cubicBezTo>
                <a:cubicBezTo>
                  <a:pt x="66500" y="21176"/>
                  <a:pt x="66500" y="21176"/>
                  <a:pt x="66500" y="21176"/>
                </a:cubicBezTo>
                <a:cubicBezTo>
                  <a:pt x="68000" y="18352"/>
                  <a:pt x="68000" y="18352"/>
                  <a:pt x="68000" y="18352"/>
                </a:cubicBezTo>
                <a:cubicBezTo>
                  <a:pt x="69500" y="16941"/>
                  <a:pt x="69500" y="16941"/>
                  <a:pt x="69500" y="16941"/>
                </a:cubicBezTo>
                <a:cubicBezTo>
                  <a:pt x="71500" y="15529"/>
                  <a:pt x="71500" y="15529"/>
                  <a:pt x="71500" y="15529"/>
                </a:cubicBezTo>
                <a:cubicBezTo>
                  <a:pt x="73000" y="11294"/>
                  <a:pt x="73000" y="11294"/>
                  <a:pt x="73000" y="11294"/>
                </a:cubicBezTo>
                <a:cubicBezTo>
                  <a:pt x="74000" y="6352"/>
                  <a:pt x="74000" y="6352"/>
                  <a:pt x="74000" y="6352"/>
                </a:cubicBezTo>
                <a:cubicBezTo>
                  <a:pt x="74500" y="4235"/>
                  <a:pt x="74500" y="4235"/>
                  <a:pt x="74500" y="4235"/>
                </a:cubicBezTo>
                <a:cubicBezTo>
                  <a:pt x="81500" y="1411"/>
                  <a:pt x="81500" y="1411"/>
                  <a:pt x="81500" y="1411"/>
                </a:cubicBezTo>
                <a:cubicBezTo>
                  <a:pt x="84000" y="3529"/>
                  <a:pt x="84000" y="3529"/>
                  <a:pt x="84000" y="3529"/>
                </a:cubicBezTo>
                <a:cubicBezTo>
                  <a:pt x="87500" y="2823"/>
                  <a:pt x="87500" y="2823"/>
                  <a:pt x="87500" y="2823"/>
                </a:cubicBezTo>
                <a:cubicBezTo>
                  <a:pt x="90000" y="0"/>
                  <a:pt x="90000" y="0"/>
                  <a:pt x="90000" y="0"/>
                </a:cubicBezTo>
                <a:cubicBezTo>
                  <a:pt x="93000" y="705"/>
                  <a:pt x="93000" y="705"/>
                  <a:pt x="93000" y="705"/>
                </a:cubicBezTo>
                <a:cubicBezTo>
                  <a:pt x="97000" y="6352"/>
                  <a:pt x="97000" y="6352"/>
                  <a:pt x="97000" y="6352"/>
                </a:cubicBezTo>
                <a:cubicBezTo>
                  <a:pt x="101000" y="6352"/>
                  <a:pt x="101000" y="6352"/>
                  <a:pt x="101000" y="6352"/>
                </a:cubicBezTo>
                <a:cubicBezTo>
                  <a:pt x="103500" y="4235"/>
                  <a:pt x="103500" y="4235"/>
                  <a:pt x="103500" y="4235"/>
                </a:cubicBezTo>
                <a:cubicBezTo>
                  <a:pt x="106000" y="2823"/>
                  <a:pt x="106000" y="2823"/>
                  <a:pt x="106000" y="2823"/>
                </a:cubicBezTo>
                <a:cubicBezTo>
                  <a:pt x="107500" y="4941"/>
                  <a:pt x="107500" y="4941"/>
                  <a:pt x="107500" y="4941"/>
                </a:cubicBezTo>
                <a:cubicBezTo>
                  <a:pt x="109000" y="7764"/>
                  <a:pt x="109000" y="7764"/>
                  <a:pt x="109000" y="7764"/>
                </a:cubicBezTo>
                <a:cubicBezTo>
                  <a:pt x="111500" y="7058"/>
                  <a:pt x="111500" y="7058"/>
                  <a:pt x="111500" y="7058"/>
                </a:cubicBezTo>
                <a:cubicBezTo>
                  <a:pt x="113000" y="9882"/>
                  <a:pt x="113000" y="9882"/>
                  <a:pt x="113000" y="9882"/>
                </a:cubicBezTo>
                <a:cubicBezTo>
                  <a:pt x="114500" y="12000"/>
                  <a:pt x="114500" y="12000"/>
                  <a:pt x="114500" y="12000"/>
                </a:cubicBezTo>
                <a:cubicBezTo>
                  <a:pt x="117000" y="11294"/>
                  <a:pt x="117000" y="11294"/>
                  <a:pt x="117000" y="11294"/>
                </a:cubicBezTo>
                <a:cubicBezTo>
                  <a:pt x="119500" y="13411"/>
                  <a:pt x="119500" y="13411"/>
                  <a:pt x="119500" y="13411"/>
                </a:cubicBezTo>
                <a:cubicBezTo>
                  <a:pt x="119000" y="16235"/>
                  <a:pt x="119000" y="16235"/>
                  <a:pt x="119000" y="16235"/>
                </a:cubicBezTo>
                <a:cubicBezTo>
                  <a:pt x="120000" y="19764"/>
                  <a:pt x="120000" y="19764"/>
                  <a:pt x="120000" y="19764"/>
                </a:cubicBezTo>
                <a:cubicBezTo>
                  <a:pt x="118500" y="21882"/>
                  <a:pt x="118500" y="21882"/>
                  <a:pt x="118500" y="21882"/>
                </a:cubicBezTo>
                <a:cubicBezTo>
                  <a:pt x="118500" y="21882"/>
                  <a:pt x="118000" y="23294"/>
                  <a:pt x="117000" y="23294"/>
                </a:cubicBezTo>
                <a:cubicBezTo>
                  <a:pt x="116500" y="24000"/>
                  <a:pt x="115500" y="24705"/>
                  <a:pt x="115500" y="24705"/>
                </a:cubicBezTo>
                <a:cubicBezTo>
                  <a:pt x="114000" y="26823"/>
                  <a:pt x="114000" y="26823"/>
                  <a:pt x="114000" y="26823"/>
                </a:cubicBezTo>
                <a:cubicBezTo>
                  <a:pt x="112000" y="27529"/>
                  <a:pt x="112000" y="27529"/>
                  <a:pt x="112000" y="27529"/>
                </a:cubicBezTo>
                <a:cubicBezTo>
                  <a:pt x="110500" y="28235"/>
                  <a:pt x="110500" y="28235"/>
                  <a:pt x="110500" y="28235"/>
                </a:cubicBezTo>
                <a:cubicBezTo>
                  <a:pt x="109500" y="29647"/>
                  <a:pt x="109500" y="29647"/>
                  <a:pt x="109500" y="29647"/>
                </a:cubicBezTo>
                <a:cubicBezTo>
                  <a:pt x="108500" y="33882"/>
                  <a:pt x="108500" y="33882"/>
                  <a:pt x="108500" y="33882"/>
                </a:cubicBezTo>
                <a:cubicBezTo>
                  <a:pt x="107000" y="36000"/>
                  <a:pt x="107000" y="36000"/>
                  <a:pt x="107000" y="36000"/>
                </a:cubicBezTo>
                <a:cubicBezTo>
                  <a:pt x="106500" y="39529"/>
                  <a:pt x="106500" y="39529"/>
                  <a:pt x="106500" y="39529"/>
                </a:cubicBezTo>
                <a:cubicBezTo>
                  <a:pt x="106500" y="39529"/>
                  <a:pt x="107500" y="43058"/>
                  <a:pt x="106500" y="43764"/>
                </a:cubicBezTo>
                <a:cubicBezTo>
                  <a:pt x="106000" y="43764"/>
                  <a:pt x="105500" y="44470"/>
                  <a:pt x="105500" y="44470"/>
                </a:cubicBezTo>
                <a:cubicBezTo>
                  <a:pt x="105000" y="50117"/>
                  <a:pt x="105000" y="50117"/>
                  <a:pt x="105000" y="50117"/>
                </a:cubicBezTo>
                <a:cubicBezTo>
                  <a:pt x="103000" y="52941"/>
                  <a:pt x="103000" y="52941"/>
                  <a:pt x="103000" y="52941"/>
                </a:cubicBezTo>
                <a:cubicBezTo>
                  <a:pt x="102500" y="58588"/>
                  <a:pt x="102500" y="58588"/>
                  <a:pt x="102500" y="58588"/>
                </a:cubicBezTo>
                <a:cubicBezTo>
                  <a:pt x="102500" y="58588"/>
                  <a:pt x="103500" y="61411"/>
                  <a:pt x="102000" y="61411"/>
                </a:cubicBezTo>
                <a:cubicBezTo>
                  <a:pt x="101000" y="62117"/>
                  <a:pt x="100500" y="63529"/>
                  <a:pt x="100500" y="63529"/>
                </a:cubicBezTo>
                <a:cubicBezTo>
                  <a:pt x="100500" y="68470"/>
                  <a:pt x="100500" y="68470"/>
                  <a:pt x="100500" y="68470"/>
                </a:cubicBezTo>
                <a:cubicBezTo>
                  <a:pt x="99000" y="72000"/>
                  <a:pt x="99000" y="72000"/>
                  <a:pt x="99000" y="72000"/>
                </a:cubicBezTo>
                <a:cubicBezTo>
                  <a:pt x="99500" y="74823"/>
                  <a:pt x="99500" y="74823"/>
                  <a:pt x="99500" y="74823"/>
                </a:cubicBezTo>
                <a:cubicBezTo>
                  <a:pt x="98500" y="76941"/>
                  <a:pt x="98500" y="76941"/>
                  <a:pt x="98500" y="76941"/>
                </a:cubicBezTo>
                <a:cubicBezTo>
                  <a:pt x="99000" y="80470"/>
                  <a:pt x="99000" y="80470"/>
                  <a:pt x="99000" y="80470"/>
                </a:cubicBezTo>
                <a:cubicBezTo>
                  <a:pt x="98000" y="82588"/>
                  <a:pt x="98000" y="82588"/>
                  <a:pt x="98000" y="82588"/>
                </a:cubicBezTo>
                <a:cubicBezTo>
                  <a:pt x="97500" y="83294"/>
                  <a:pt x="97500" y="83294"/>
                  <a:pt x="97500" y="83294"/>
                </a:cubicBezTo>
                <a:cubicBezTo>
                  <a:pt x="97000" y="85411"/>
                  <a:pt x="97000" y="85411"/>
                  <a:pt x="97000" y="85411"/>
                </a:cubicBezTo>
                <a:cubicBezTo>
                  <a:pt x="96000" y="88941"/>
                  <a:pt x="96000" y="88941"/>
                  <a:pt x="96000" y="88941"/>
                </a:cubicBezTo>
                <a:cubicBezTo>
                  <a:pt x="92000" y="93882"/>
                  <a:pt x="92000" y="93882"/>
                  <a:pt x="92000" y="93882"/>
                </a:cubicBezTo>
                <a:cubicBezTo>
                  <a:pt x="90000" y="93176"/>
                  <a:pt x="90000" y="93176"/>
                  <a:pt x="90000" y="93176"/>
                </a:cubicBezTo>
                <a:cubicBezTo>
                  <a:pt x="88500" y="95294"/>
                  <a:pt x="88500" y="95294"/>
                  <a:pt x="88500" y="95294"/>
                </a:cubicBezTo>
                <a:cubicBezTo>
                  <a:pt x="88500" y="95294"/>
                  <a:pt x="89000" y="95294"/>
                  <a:pt x="88000" y="96705"/>
                </a:cubicBezTo>
                <a:cubicBezTo>
                  <a:pt x="87000" y="97411"/>
                  <a:pt x="85000" y="98117"/>
                  <a:pt x="85000" y="98117"/>
                </a:cubicBezTo>
                <a:cubicBezTo>
                  <a:pt x="84000" y="98117"/>
                  <a:pt x="84000" y="98117"/>
                  <a:pt x="84000" y="98117"/>
                </a:cubicBezTo>
                <a:cubicBezTo>
                  <a:pt x="80500" y="98117"/>
                  <a:pt x="80500" y="98117"/>
                  <a:pt x="80500" y="98117"/>
                </a:cubicBezTo>
                <a:cubicBezTo>
                  <a:pt x="80500" y="98117"/>
                  <a:pt x="80000" y="97411"/>
                  <a:pt x="79500" y="98117"/>
                </a:cubicBezTo>
                <a:cubicBezTo>
                  <a:pt x="79000" y="98117"/>
                  <a:pt x="76500" y="98117"/>
                  <a:pt x="76500" y="98117"/>
                </a:cubicBezTo>
                <a:cubicBezTo>
                  <a:pt x="76500" y="98117"/>
                  <a:pt x="75500" y="97411"/>
                  <a:pt x="75000" y="97411"/>
                </a:cubicBezTo>
                <a:cubicBezTo>
                  <a:pt x="74500" y="97411"/>
                  <a:pt x="71500" y="98117"/>
                  <a:pt x="71500" y="98117"/>
                </a:cubicBezTo>
                <a:cubicBezTo>
                  <a:pt x="69500" y="99529"/>
                  <a:pt x="69500" y="99529"/>
                  <a:pt x="69500" y="99529"/>
                </a:cubicBezTo>
                <a:cubicBezTo>
                  <a:pt x="69500" y="99529"/>
                  <a:pt x="69000" y="98117"/>
                  <a:pt x="68500" y="98823"/>
                </a:cubicBezTo>
                <a:cubicBezTo>
                  <a:pt x="67500" y="98823"/>
                  <a:pt x="65000" y="100235"/>
                  <a:pt x="65000" y="100235"/>
                </a:cubicBezTo>
                <a:cubicBezTo>
                  <a:pt x="65000" y="100235"/>
                  <a:pt x="66000" y="101647"/>
                  <a:pt x="65000" y="101647"/>
                </a:cubicBezTo>
                <a:cubicBezTo>
                  <a:pt x="64500" y="101647"/>
                  <a:pt x="63000" y="104470"/>
                  <a:pt x="63000" y="104470"/>
                </a:cubicBezTo>
                <a:cubicBezTo>
                  <a:pt x="62000" y="105176"/>
                  <a:pt x="62000" y="105176"/>
                  <a:pt x="62000" y="105176"/>
                </a:cubicBezTo>
                <a:cubicBezTo>
                  <a:pt x="61500" y="107294"/>
                  <a:pt x="61500" y="107294"/>
                  <a:pt x="61500" y="107294"/>
                </a:cubicBezTo>
                <a:cubicBezTo>
                  <a:pt x="61500" y="107294"/>
                  <a:pt x="61000" y="107294"/>
                  <a:pt x="60000" y="107294"/>
                </a:cubicBezTo>
                <a:cubicBezTo>
                  <a:pt x="59500" y="107294"/>
                  <a:pt x="58000" y="108000"/>
                  <a:pt x="58000" y="108000"/>
                </a:cubicBezTo>
                <a:cubicBezTo>
                  <a:pt x="57500" y="107294"/>
                  <a:pt x="57500" y="107294"/>
                  <a:pt x="57500" y="107294"/>
                </a:cubicBezTo>
                <a:cubicBezTo>
                  <a:pt x="55500" y="111529"/>
                  <a:pt x="55500" y="111529"/>
                  <a:pt x="55500" y="111529"/>
                </a:cubicBezTo>
                <a:cubicBezTo>
                  <a:pt x="53500" y="112941"/>
                  <a:pt x="53500" y="112941"/>
                  <a:pt x="53500" y="112941"/>
                </a:cubicBezTo>
                <a:cubicBezTo>
                  <a:pt x="52500" y="112235"/>
                  <a:pt x="52500" y="112235"/>
                  <a:pt x="52500" y="112235"/>
                </a:cubicBezTo>
                <a:cubicBezTo>
                  <a:pt x="51500" y="115764"/>
                  <a:pt x="51500" y="115764"/>
                  <a:pt x="51500" y="115764"/>
                </a:cubicBezTo>
                <a:cubicBezTo>
                  <a:pt x="51500" y="115764"/>
                  <a:pt x="50000" y="116470"/>
                  <a:pt x="50000" y="117176"/>
                </a:cubicBezTo>
                <a:cubicBezTo>
                  <a:pt x="49500" y="117882"/>
                  <a:pt x="47000" y="117882"/>
                  <a:pt x="47000" y="117882"/>
                </a:cubicBezTo>
                <a:cubicBezTo>
                  <a:pt x="45000" y="117882"/>
                  <a:pt x="45000" y="117882"/>
                  <a:pt x="45000" y="117882"/>
                </a:cubicBezTo>
                <a:cubicBezTo>
                  <a:pt x="41500" y="119294"/>
                  <a:pt x="41500" y="119294"/>
                  <a:pt x="41500" y="119294"/>
                </a:cubicBezTo>
                <a:cubicBezTo>
                  <a:pt x="41500" y="119294"/>
                  <a:pt x="40500" y="120000"/>
                  <a:pt x="40000" y="120000"/>
                </a:cubicBezTo>
                <a:cubicBezTo>
                  <a:pt x="39500" y="120000"/>
                  <a:pt x="37000" y="119294"/>
                  <a:pt x="37000" y="119294"/>
                </a:cubicBezTo>
                <a:cubicBezTo>
                  <a:pt x="35500" y="120000"/>
                  <a:pt x="35500" y="120000"/>
                  <a:pt x="35500" y="120000"/>
                </a:cubicBezTo>
                <a:cubicBezTo>
                  <a:pt x="32000" y="118588"/>
                  <a:pt x="32000" y="118588"/>
                  <a:pt x="32000" y="118588"/>
                </a:cubicBezTo>
                <a:cubicBezTo>
                  <a:pt x="31000" y="116470"/>
                  <a:pt x="31000" y="116470"/>
                  <a:pt x="31000" y="116470"/>
                </a:cubicBezTo>
                <a:cubicBezTo>
                  <a:pt x="28000" y="115764"/>
                  <a:pt x="28000" y="115764"/>
                  <a:pt x="28000" y="115764"/>
                </a:cubicBezTo>
                <a:cubicBezTo>
                  <a:pt x="27500" y="114352"/>
                  <a:pt x="27500" y="114352"/>
                  <a:pt x="27500" y="114352"/>
                </a:cubicBezTo>
                <a:cubicBezTo>
                  <a:pt x="25500" y="114352"/>
                  <a:pt x="25500" y="114352"/>
                  <a:pt x="25500" y="114352"/>
                </a:cubicBezTo>
                <a:cubicBezTo>
                  <a:pt x="23500" y="111529"/>
                  <a:pt x="23500" y="111529"/>
                  <a:pt x="23500" y="111529"/>
                </a:cubicBezTo>
                <a:cubicBezTo>
                  <a:pt x="21000" y="107294"/>
                  <a:pt x="21000" y="107294"/>
                  <a:pt x="21000" y="107294"/>
                </a:cubicBezTo>
                <a:cubicBezTo>
                  <a:pt x="16000" y="105176"/>
                  <a:pt x="16000" y="105176"/>
                  <a:pt x="16000" y="105176"/>
                </a:cubicBezTo>
                <a:cubicBezTo>
                  <a:pt x="14500" y="102352"/>
                  <a:pt x="14500" y="102352"/>
                  <a:pt x="14500" y="102352"/>
                </a:cubicBezTo>
                <a:cubicBezTo>
                  <a:pt x="13000" y="100941"/>
                  <a:pt x="13000" y="100941"/>
                  <a:pt x="13000" y="100941"/>
                </a:cubicBezTo>
                <a:cubicBezTo>
                  <a:pt x="11000" y="98823"/>
                  <a:pt x="11000" y="98823"/>
                  <a:pt x="11000" y="98823"/>
                </a:cubicBezTo>
                <a:cubicBezTo>
                  <a:pt x="9000" y="96705"/>
                  <a:pt x="9000" y="96705"/>
                  <a:pt x="9000" y="96705"/>
                </a:cubicBezTo>
                <a:cubicBezTo>
                  <a:pt x="8000" y="95294"/>
                  <a:pt x="8000" y="95294"/>
                  <a:pt x="8000" y="95294"/>
                </a:cubicBezTo>
                <a:cubicBezTo>
                  <a:pt x="5000" y="89647"/>
                  <a:pt x="5000" y="89647"/>
                  <a:pt x="5000" y="89647"/>
                </a:cubicBezTo>
                <a:cubicBezTo>
                  <a:pt x="5000" y="88235"/>
                  <a:pt x="5000" y="88235"/>
                  <a:pt x="5000" y="88235"/>
                </a:cubicBezTo>
                <a:cubicBezTo>
                  <a:pt x="3500" y="85411"/>
                  <a:pt x="3500" y="85411"/>
                  <a:pt x="3500" y="85411"/>
                </a:cubicBezTo>
                <a:cubicBezTo>
                  <a:pt x="3000" y="82588"/>
                  <a:pt x="3000" y="82588"/>
                  <a:pt x="3000" y="82588"/>
                </a:cubicBezTo>
                <a:cubicBezTo>
                  <a:pt x="2000" y="81176"/>
                  <a:pt x="2000" y="81176"/>
                  <a:pt x="2000" y="81176"/>
                </a:cubicBezTo>
                <a:cubicBezTo>
                  <a:pt x="0" y="82588"/>
                  <a:pt x="0" y="82588"/>
                  <a:pt x="0" y="82588"/>
                </a:cubicBezTo>
                <a:cubicBezTo>
                  <a:pt x="0" y="82588"/>
                  <a:pt x="0" y="82588"/>
                  <a:pt x="0" y="82588"/>
                </a:cubicBezTo>
                <a:cubicBezTo>
                  <a:pt x="0" y="81882"/>
                  <a:pt x="0" y="81882"/>
                  <a:pt x="0" y="81882"/>
                </a:cubicBezTo>
                <a:cubicBezTo>
                  <a:pt x="1500" y="76941"/>
                  <a:pt x="1500" y="76941"/>
                  <a:pt x="1500" y="76941"/>
                </a:cubicBezTo>
                <a:cubicBezTo>
                  <a:pt x="3000" y="76235"/>
                  <a:pt x="3000" y="76235"/>
                  <a:pt x="3000" y="76235"/>
                </a:cubicBezTo>
                <a:cubicBezTo>
                  <a:pt x="4500" y="72705"/>
                  <a:pt x="4500" y="72705"/>
                  <a:pt x="4500" y="72705"/>
                </a:cubicBezTo>
                <a:cubicBezTo>
                  <a:pt x="4000" y="68470"/>
                  <a:pt x="4000" y="68470"/>
                  <a:pt x="4000" y="68470"/>
                </a:cubicBezTo>
                <a:cubicBezTo>
                  <a:pt x="4000" y="67058"/>
                  <a:pt x="4000" y="67058"/>
                  <a:pt x="4000" y="67058"/>
                </a:cubicBezTo>
                <a:cubicBezTo>
                  <a:pt x="2500" y="62823"/>
                  <a:pt x="2500" y="62823"/>
                  <a:pt x="2500" y="62823"/>
                </a:cubicBezTo>
                <a:cubicBezTo>
                  <a:pt x="2500" y="62823"/>
                  <a:pt x="3000" y="62117"/>
                  <a:pt x="3500" y="62117"/>
                </a:cubicBezTo>
                <a:cubicBezTo>
                  <a:pt x="4000" y="62117"/>
                  <a:pt x="5500" y="60705"/>
                  <a:pt x="5500" y="60705"/>
                </a:cubicBezTo>
                <a:cubicBezTo>
                  <a:pt x="8500" y="57882"/>
                  <a:pt x="8500" y="57882"/>
                  <a:pt x="8500" y="57882"/>
                </a:cubicBezTo>
                <a:cubicBezTo>
                  <a:pt x="6000" y="52235"/>
                  <a:pt x="6000" y="52235"/>
                  <a:pt x="6000" y="52235"/>
                </a:cubicBezTo>
                <a:cubicBezTo>
                  <a:pt x="5000" y="52235"/>
                  <a:pt x="5000" y="52235"/>
                  <a:pt x="5000" y="52235"/>
                </a:cubicBezTo>
                <a:cubicBezTo>
                  <a:pt x="2000" y="50823"/>
                  <a:pt x="2000" y="50823"/>
                  <a:pt x="2000" y="50823"/>
                </a:cubicBezTo>
                <a:cubicBezTo>
                  <a:pt x="4000" y="48705"/>
                  <a:pt x="4000" y="48705"/>
                  <a:pt x="4000" y="48705"/>
                </a:cubicBezTo>
                <a:cubicBezTo>
                  <a:pt x="5000" y="47294"/>
                  <a:pt x="5000" y="47294"/>
                  <a:pt x="5000" y="47294"/>
                </a:cubicBezTo>
                <a:cubicBezTo>
                  <a:pt x="9000" y="49411"/>
                  <a:pt x="9000" y="49411"/>
                  <a:pt x="9000" y="49411"/>
                </a:cubicBezTo>
                <a:cubicBezTo>
                  <a:pt x="9000" y="49411"/>
                  <a:pt x="10500" y="50117"/>
                  <a:pt x="10000" y="49411"/>
                </a:cubicBezTo>
                <a:cubicBezTo>
                  <a:pt x="10000" y="47294"/>
                  <a:pt x="10500" y="48705"/>
                  <a:pt x="10500" y="48705"/>
                </a:cubicBezTo>
                <a:cubicBezTo>
                  <a:pt x="11000" y="50117"/>
                  <a:pt x="12500" y="48705"/>
                  <a:pt x="13500" y="48705"/>
                </a:cubicBezTo>
                <a:cubicBezTo>
                  <a:pt x="15000" y="48000"/>
                  <a:pt x="14000" y="46588"/>
                  <a:pt x="13500" y="45176"/>
                </a:cubicBezTo>
                <a:cubicBezTo>
                  <a:pt x="13500" y="44470"/>
                  <a:pt x="13500" y="43764"/>
                  <a:pt x="14000" y="43058"/>
                </a:cubicBez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" name="Google Shape;3028;p256">
            <a:extLst>
              <a:ext uri="{FF2B5EF4-FFF2-40B4-BE49-F238E27FC236}">
                <a16:creationId xmlns:a16="http://schemas.microsoft.com/office/drawing/2014/main" id="{A790D64D-F1E6-6B64-B48D-1489E2CB69D2}"/>
              </a:ext>
            </a:extLst>
          </p:cNvPr>
          <p:cNvSpPr/>
          <p:nvPr/>
        </p:nvSpPr>
        <p:spPr>
          <a:xfrm>
            <a:off x="10188075" y="2364961"/>
            <a:ext cx="1054441" cy="95853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3750" y="29333"/>
                </a:moveTo>
                <a:cubicBezTo>
                  <a:pt x="33333" y="27111"/>
                  <a:pt x="33333" y="27111"/>
                  <a:pt x="33333" y="27111"/>
                </a:cubicBezTo>
                <a:cubicBezTo>
                  <a:pt x="35000" y="26222"/>
                  <a:pt x="35000" y="26222"/>
                  <a:pt x="35000" y="26222"/>
                </a:cubicBezTo>
                <a:cubicBezTo>
                  <a:pt x="34583" y="24444"/>
                  <a:pt x="34583" y="24444"/>
                  <a:pt x="34583" y="24444"/>
                </a:cubicBezTo>
                <a:cubicBezTo>
                  <a:pt x="31666" y="24888"/>
                  <a:pt x="31666" y="24888"/>
                  <a:pt x="31666" y="24888"/>
                </a:cubicBezTo>
                <a:cubicBezTo>
                  <a:pt x="30416" y="24444"/>
                  <a:pt x="30416" y="24444"/>
                  <a:pt x="30416" y="24444"/>
                </a:cubicBezTo>
                <a:cubicBezTo>
                  <a:pt x="30416" y="22222"/>
                  <a:pt x="30416" y="22222"/>
                  <a:pt x="30416" y="22222"/>
                </a:cubicBezTo>
                <a:cubicBezTo>
                  <a:pt x="31250" y="20000"/>
                  <a:pt x="31250" y="20000"/>
                  <a:pt x="31250" y="20000"/>
                </a:cubicBezTo>
                <a:cubicBezTo>
                  <a:pt x="30833" y="16000"/>
                  <a:pt x="30833" y="16000"/>
                  <a:pt x="30833" y="16000"/>
                </a:cubicBezTo>
                <a:cubicBezTo>
                  <a:pt x="30833" y="16000"/>
                  <a:pt x="30000" y="16000"/>
                  <a:pt x="31250" y="15111"/>
                </a:cubicBezTo>
                <a:cubicBezTo>
                  <a:pt x="32916" y="14666"/>
                  <a:pt x="33750" y="14666"/>
                  <a:pt x="33750" y="14666"/>
                </a:cubicBezTo>
                <a:cubicBezTo>
                  <a:pt x="34166" y="12000"/>
                  <a:pt x="34166" y="12000"/>
                  <a:pt x="34166" y="12000"/>
                </a:cubicBezTo>
                <a:cubicBezTo>
                  <a:pt x="35416" y="10666"/>
                  <a:pt x="35416" y="10666"/>
                  <a:pt x="35416" y="10666"/>
                </a:cubicBezTo>
                <a:cubicBezTo>
                  <a:pt x="35416" y="10666"/>
                  <a:pt x="35000" y="10666"/>
                  <a:pt x="36666" y="10666"/>
                </a:cubicBezTo>
                <a:cubicBezTo>
                  <a:pt x="38333" y="10666"/>
                  <a:pt x="38750" y="10666"/>
                  <a:pt x="38750" y="10666"/>
                </a:cubicBezTo>
                <a:cubicBezTo>
                  <a:pt x="42083" y="10666"/>
                  <a:pt x="42083" y="10666"/>
                  <a:pt x="42083" y="10666"/>
                </a:cubicBezTo>
                <a:cubicBezTo>
                  <a:pt x="42916" y="9333"/>
                  <a:pt x="42916" y="9333"/>
                  <a:pt x="42916" y="9333"/>
                </a:cubicBezTo>
                <a:cubicBezTo>
                  <a:pt x="42083" y="7111"/>
                  <a:pt x="42083" y="7111"/>
                  <a:pt x="42083" y="7111"/>
                </a:cubicBezTo>
                <a:cubicBezTo>
                  <a:pt x="44166" y="4888"/>
                  <a:pt x="44166" y="4888"/>
                  <a:pt x="44166" y="4888"/>
                </a:cubicBezTo>
                <a:cubicBezTo>
                  <a:pt x="44583" y="1777"/>
                  <a:pt x="44583" y="1777"/>
                  <a:pt x="44583" y="1777"/>
                </a:cubicBezTo>
                <a:cubicBezTo>
                  <a:pt x="46666" y="444"/>
                  <a:pt x="46666" y="444"/>
                  <a:pt x="46666" y="444"/>
                </a:cubicBezTo>
                <a:cubicBezTo>
                  <a:pt x="46666" y="444"/>
                  <a:pt x="47916" y="1777"/>
                  <a:pt x="48333" y="1777"/>
                </a:cubicBezTo>
                <a:cubicBezTo>
                  <a:pt x="48750" y="1777"/>
                  <a:pt x="49166" y="2222"/>
                  <a:pt x="49583" y="1777"/>
                </a:cubicBezTo>
                <a:cubicBezTo>
                  <a:pt x="50000" y="1777"/>
                  <a:pt x="50416" y="888"/>
                  <a:pt x="50416" y="888"/>
                </a:cubicBezTo>
                <a:cubicBezTo>
                  <a:pt x="52500" y="0"/>
                  <a:pt x="52500" y="0"/>
                  <a:pt x="52500" y="0"/>
                </a:cubicBezTo>
                <a:cubicBezTo>
                  <a:pt x="53750" y="444"/>
                  <a:pt x="53750" y="444"/>
                  <a:pt x="53750" y="444"/>
                </a:cubicBezTo>
                <a:cubicBezTo>
                  <a:pt x="54583" y="2222"/>
                  <a:pt x="54583" y="2222"/>
                  <a:pt x="54583" y="2222"/>
                </a:cubicBezTo>
                <a:cubicBezTo>
                  <a:pt x="56666" y="2222"/>
                  <a:pt x="56666" y="2222"/>
                  <a:pt x="56666" y="2222"/>
                </a:cubicBezTo>
                <a:cubicBezTo>
                  <a:pt x="57083" y="1333"/>
                  <a:pt x="57083" y="1333"/>
                  <a:pt x="57083" y="1333"/>
                </a:cubicBezTo>
                <a:cubicBezTo>
                  <a:pt x="60000" y="444"/>
                  <a:pt x="60000" y="444"/>
                  <a:pt x="60000" y="444"/>
                </a:cubicBezTo>
                <a:cubicBezTo>
                  <a:pt x="63333" y="444"/>
                  <a:pt x="63333" y="444"/>
                  <a:pt x="63333" y="444"/>
                </a:cubicBezTo>
                <a:cubicBezTo>
                  <a:pt x="63750" y="3111"/>
                  <a:pt x="63750" y="3111"/>
                  <a:pt x="63750" y="3111"/>
                </a:cubicBezTo>
                <a:cubicBezTo>
                  <a:pt x="63750" y="4444"/>
                  <a:pt x="63750" y="4444"/>
                  <a:pt x="63750" y="4444"/>
                </a:cubicBezTo>
                <a:cubicBezTo>
                  <a:pt x="63750" y="4444"/>
                  <a:pt x="64583" y="5777"/>
                  <a:pt x="65416" y="5333"/>
                </a:cubicBezTo>
                <a:cubicBezTo>
                  <a:pt x="65833" y="5333"/>
                  <a:pt x="67500" y="4888"/>
                  <a:pt x="67916" y="4000"/>
                </a:cubicBezTo>
                <a:cubicBezTo>
                  <a:pt x="67916" y="3111"/>
                  <a:pt x="68333" y="2222"/>
                  <a:pt x="69166" y="1777"/>
                </a:cubicBezTo>
                <a:cubicBezTo>
                  <a:pt x="70000" y="1777"/>
                  <a:pt x="69583" y="1333"/>
                  <a:pt x="70833" y="888"/>
                </a:cubicBezTo>
                <a:cubicBezTo>
                  <a:pt x="72500" y="444"/>
                  <a:pt x="73750" y="0"/>
                  <a:pt x="73750" y="0"/>
                </a:cubicBezTo>
                <a:cubicBezTo>
                  <a:pt x="77500" y="888"/>
                  <a:pt x="77500" y="888"/>
                  <a:pt x="77500" y="888"/>
                </a:cubicBezTo>
                <a:cubicBezTo>
                  <a:pt x="78750" y="2222"/>
                  <a:pt x="78750" y="2222"/>
                  <a:pt x="78750" y="2222"/>
                </a:cubicBezTo>
                <a:cubicBezTo>
                  <a:pt x="80000" y="3111"/>
                  <a:pt x="80000" y="3111"/>
                  <a:pt x="80000" y="3111"/>
                </a:cubicBezTo>
                <a:cubicBezTo>
                  <a:pt x="81250" y="2666"/>
                  <a:pt x="81250" y="2666"/>
                  <a:pt x="81250" y="2666"/>
                </a:cubicBezTo>
                <a:cubicBezTo>
                  <a:pt x="81666" y="3555"/>
                  <a:pt x="81666" y="3555"/>
                  <a:pt x="81666" y="3555"/>
                </a:cubicBezTo>
                <a:cubicBezTo>
                  <a:pt x="83333" y="2666"/>
                  <a:pt x="83333" y="2666"/>
                  <a:pt x="83333" y="2666"/>
                </a:cubicBezTo>
                <a:cubicBezTo>
                  <a:pt x="84166" y="4444"/>
                  <a:pt x="84166" y="4444"/>
                  <a:pt x="84166" y="4444"/>
                </a:cubicBezTo>
                <a:cubicBezTo>
                  <a:pt x="84166" y="8000"/>
                  <a:pt x="84166" y="8000"/>
                  <a:pt x="84166" y="8000"/>
                </a:cubicBezTo>
                <a:cubicBezTo>
                  <a:pt x="84166" y="9333"/>
                  <a:pt x="84166" y="9333"/>
                  <a:pt x="84166" y="9333"/>
                </a:cubicBezTo>
                <a:cubicBezTo>
                  <a:pt x="84166" y="10666"/>
                  <a:pt x="84166" y="10666"/>
                  <a:pt x="84166" y="10666"/>
                </a:cubicBezTo>
                <a:cubicBezTo>
                  <a:pt x="86666" y="12444"/>
                  <a:pt x="86666" y="12444"/>
                  <a:pt x="86666" y="12444"/>
                </a:cubicBezTo>
                <a:cubicBezTo>
                  <a:pt x="87916" y="13777"/>
                  <a:pt x="87916" y="13777"/>
                  <a:pt x="87916" y="13777"/>
                </a:cubicBezTo>
                <a:cubicBezTo>
                  <a:pt x="87500" y="16000"/>
                  <a:pt x="87500" y="16000"/>
                  <a:pt x="87500" y="16000"/>
                </a:cubicBezTo>
                <a:cubicBezTo>
                  <a:pt x="87500" y="17333"/>
                  <a:pt x="87500" y="17333"/>
                  <a:pt x="87500" y="17333"/>
                </a:cubicBezTo>
                <a:cubicBezTo>
                  <a:pt x="86250" y="20888"/>
                  <a:pt x="86250" y="20888"/>
                  <a:pt x="86250" y="20888"/>
                </a:cubicBezTo>
                <a:cubicBezTo>
                  <a:pt x="89166" y="21777"/>
                  <a:pt x="89166" y="21777"/>
                  <a:pt x="89166" y="21777"/>
                </a:cubicBezTo>
                <a:cubicBezTo>
                  <a:pt x="90833" y="23555"/>
                  <a:pt x="90833" y="23555"/>
                  <a:pt x="90833" y="23555"/>
                </a:cubicBezTo>
                <a:cubicBezTo>
                  <a:pt x="92500" y="23555"/>
                  <a:pt x="92500" y="23555"/>
                  <a:pt x="92500" y="23555"/>
                </a:cubicBezTo>
                <a:cubicBezTo>
                  <a:pt x="92500" y="25777"/>
                  <a:pt x="92500" y="25777"/>
                  <a:pt x="92500" y="25777"/>
                </a:cubicBezTo>
                <a:cubicBezTo>
                  <a:pt x="92500" y="25777"/>
                  <a:pt x="91666" y="27111"/>
                  <a:pt x="92916" y="27111"/>
                </a:cubicBezTo>
                <a:cubicBezTo>
                  <a:pt x="94166" y="27555"/>
                  <a:pt x="94583" y="27555"/>
                  <a:pt x="94583" y="27555"/>
                </a:cubicBezTo>
                <a:cubicBezTo>
                  <a:pt x="95000" y="28888"/>
                  <a:pt x="95000" y="28888"/>
                  <a:pt x="95000" y="28888"/>
                </a:cubicBezTo>
                <a:cubicBezTo>
                  <a:pt x="97083" y="32000"/>
                  <a:pt x="97083" y="32000"/>
                  <a:pt x="97083" y="32000"/>
                </a:cubicBezTo>
                <a:cubicBezTo>
                  <a:pt x="101666" y="32888"/>
                  <a:pt x="101666" y="32888"/>
                  <a:pt x="101666" y="32888"/>
                </a:cubicBezTo>
                <a:cubicBezTo>
                  <a:pt x="103750" y="33777"/>
                  <a:pt x="103750" y="33777"/>
                  <a:pt x="103750" y="33777"/>
                </a:cubicBezTo>
                <a:cubicBezTo>
                  <a:pt x="104583" y="35555"/>
                  <a:pt x="104583" y="35555"/>
                  <a:pt x="104583" y="35555"/>
                </a:cubicBezTo>
                <a:cubicBezTo>
                  <a:pt x="105000" y="39555"/>
                  <a:pt x="105000" y="39555"/>
                  <a:pt x="105000" y="39555"/>
                </a:cubicBezTo>
                <a:cubicBezTo>
                  <a:pt x="107083" y="39555"/>
                  <a:pt x="107083" y="39555"/>
                  <a:pt x="107083" y="39555"/>
                </a:cubicBezTo>
                <a:cubicBezTo>
                  <a:pt x="108333" y="38222"/>
                  <a:pt x="108333" y="38222"/>
                  <a:pt x="108333" y="38222"/>
                </a:cubicBezTo>
                <a:cubicBezTo>
                  <a:pt x="109583" y="37777"/>
                  <a:pt x="109583" y="37777"/>
                  <a:pt x="109583" y="37777"/>
                </a:cubicBezTo>
                <a:cubicBezTo>
                  <a:pt x="111250" y="38222"/>
                  <a:pt x="111250" y="38222"/>
                  <a:pt x="111250" y="38222"/>
                </a:cubicBezTo>
                <a:cubicBezTo>
                  <a:pt x="113333" y="38666"/>
                  <a:pt x="113333" y="38666"/>
                  <a:pt x="113333" y="38666"/>
                </a:cubicBezTo>
                <a:cubicBezTo>
                  <a:pt x="115416" y="38666"/>
                  <a:pt x="115416" y="38666"/>
                  <a:pt x="115416" y="38666"/>
                </a:cubicBezTo>
                <a:cubicBezTo>
                  <a:pt x="114583" y="40888"/>
                  <a:pt x="114583" y="40888"/>
                  <a:pt x="114583" y="40888"/>
                </a:cubicBezTo>
                <a:cubicBezTo>
                  <a:pt x="116250" y="42222"/>
                  <a:pt x="116250" y="42222"/>
                  <a:pt x="116250" y="42222"/>
                </a:cubicBezTo>
                <a:cubicBezTo>
                  <a:pt x="117916" y="42666"/>
                  <a:pt x="117916" y="42666"/>
                  <a:pt x="117916" y="42666"/>
                </a:cubicBezTo>
                <a:cubicBezTo>
                  <a:pt x="120000" y="43555"/>
                  <a:pt x="120000" y="43555"/>
                  <a:pt x="120000" y="43555"/>
                </a:cubicBezTo>
                <a:cubicBezTo>
                  <a:pt x="120000" y="46222"/>
                  <a:pt x="120000" y="46222"/>
                  <a:pt x="120000" y="46222"/>
                </a:cubicBezTo>
                <a:cubicBezTo>
                  <a:pt x="119166" y="47555"/>
                  <a:pt x="119166" y="47555"/>
                  <a:pt x="119166" y="47555"/>
                </a:cubicBezTo>
                <a:cubicBezTo>
                  <a:pt x="117500" y="48000"/>
                  <a:pt x="117500" y="48000"/>
                  <a:pt x="117500" y="48000"/>
                </a:cubicBezTo>
                <a:cubicBezTo>
                  <a:pt x="117500" y="48000"/>
                  <a:pt x="118333" y="50222"/>
                  <a:pt x="117500" y="50666"/>
                </a:cubicBezTo>
                <a:cubicBezTo>
                  <a:pt x="117083" y="51111"/>
                  <a:pt x="114166" y="53777"/>
                  <a:pt x="114166" y="53777"/>
                </a:cubicBezTo>
                <a:cubicBezTo>
                  <a:pt x="111250" y="54666"/>
                  <a:pt x="111250" y="54666"/>
                  <a:pt x="111250" y="54666"/>
                </a:cubicBezTo>
                <a:cubicBezTo>
                  <a:pt x="108750" y="53777"/>
                  <a:pt x="108750" y="53777"/>
                  <a:pt x="108750" y="53777"/>
                </a:cubicBezTo>
                <a:cubicBezTo>
                  <a:pt x="108750" y="53777"/>
                  <a:pt x="108333" y="53333"/>
                  <a:pt x="106666" y="53777"/>
                </a:cubicBezTo>
                <a:cubicBezTo>
                  <a:pt x="105000" y="54666"/>
                  <a:pt x="105000" y="55111"/>
                  <a:pt x="105000" y="55111"/>
                </a:cubicBezTo>
                <a:cubicBezTo>
                  <a:pt x="104166" y="58222"/>
                  <a:pt x="104166" y="58222"/>
                  <a:pt x="104166" y="58222"/>
                </a:cubicBezTo>
                <a:cubicBezTo>
                  <a:pt x="104166" y="59555"/>
                  <a:pt x="104166" y="59555"/>
                  <a:pt x="104166" y="59555"/>
                </a:cubicBezTo>
                <a:cubicBezTo>
                  <a:pt x="105833" y="60888"/>
                  <a:pt x="105833" y="60888"/>
                  <a:pt x="105833" y="60888"/>
                </a:cubicBezTo>
                <a:cubicBezTo>
                  <a:pt x="107916" y="61333"/>
                  <a:pt x="107916" y="61333"/>
                  <a:pt x="107916" y="61333"/>
                </a:cubicBezTo>
                <a:cubicBezTo>
                  <a:pt x="109166" y="63111"/>
                  <a:pt x="109166" y="63111"/>
                  <a:pt x="109166" y="63111"/>
                </a:cubicBezTo>
                <a:cubicBezTo>
                  <a:pt x="110000" y="64444"/>
                  <a:pt x="110000" y="64444"/>
                  <a:pt x="110000" y="64444"/>
                </a:cubicBezTo>
                <a:cubicBezTo>
                  <a:pt x="109166" y="66222"/>
                  <a:pt x="109166" y="66222"/>
                  <a:pt x="109166" y="66222"/>
                </a:cubicBezTo>
                <a:cubicBezTo>
                  <a:pt x="110000" y="67111"/>
                  <a:pt x="110000" y="67111"/>
                  <a:pt x="110000" y="67111"/>
                </a:cubicBezTo>
                <a:cubicBezTo>
                  <a:pt x="111666" y="68000"/>
                  <a:pt x="111666" y="68000"/>
                  <a:pt x="111666" y="68000"/>
                </a:cubicBezTo>
                <a:cubicBezTo>
                  <a:pt x="110833" y="68888"/>
                  <a:pt x="110833" y="68888"/>
                  <a:pt x="110833" y="68888"/>
                </a:cubicBezTo>
                <a:cubicBezTo>
                  <a:pt x="112083" y="71555"/>
                  <a:pt x="112083" y="71555"/>
                  <a:pt x="112083" y="71555"/>
                </a:cubicBezTo>
                <a:cubicBezTo>
                  <a:pt x="112916" y="72888"/>
                  <a:pt x="112916" y="72888"/>
                  <a:pt x="112916" y="72888"/>
                </a:cubicBezTo>
                <a:cubicBezTo>
                  <a:pt x="112083" y="73777"/>
                  <a:pt x="112083" y="73777"/>
                  <a:pt x="112083" y="73777"/>
                </a:cubicBezTo>
                <a:cubicBezTo>
                  <a:pt x="113333" y="74222"/>
                  <a:pt x="113333" y="74222"/>
                  <a:pt x="113333" y="74222"/>
                </a:cubicBezTo>
                <a:cubicBezTo>
                  <a:pt x="115000" y="74222"/>
                  <a:pt x="115000" y="74222"/>
                  <a:pt x="115000" y="74222"/>
                </a:cubicBezTo>
                <a:cubicBezTo>
                  <a:pt x="115000" y="75555"/>
                  <a:pt x="115000" y="75555"/>
                  <a:pt x="115000" y="75555"/>
                </a:cubicBezTo>
                <a:cubicBezTo>
                  <a:pt x="117916" y="77333"/>
                  <a:pt x="117916" y="77333"/>
                  <a:pt x="117916" y="77333"/>
                </a:cubicBezTo>
                <a:cubicBezTo>
                  <a:pt x="117083" y="77333"/>
                  <a:pt x="117083" y="77333"/>
                  <a:pt x="117083" y="77333"/>
                </a:cubicBezTo>
                <a:cubicBezTo>
                  <a:pt x="113750" y="78222"/>
                  <a:pt x="113750" y="78222"/>
                  <a:pt x="113750" y="78222"/>
                </a:cubicBezTo>
                <a:cubicBezTo>
                  <a:pt x="112083" y="80888"/>
                  <a:pt x="112083" y="80888"/>
                  <a:pt x="112083" y="80888"/>
                </a:cubicBezTo>
                <a:cubicBezTo>
                  <a:pt x="107083" y="80888"/>
                  <a:pt x="107083" y="80888"/>
                  <a:pt x="107083" y="80888"/>
                </a:cubicBezTo>
                <a:cubicBezTo>
                  <a:pt x="106250" y="86222"/>
                  <a:pt x="106250" y="86222"/>
                  <a:pt x="106250" y="86222"/>
                </a:cubicBezTo>
                <a:cubicBezTo>
                  <a:pt x="105000" y="89777"/>
                  <a:pt x="105000" y="89777"/>
                  <a:pt x="105000" y="89777"/>
                </a:cubicBezTo>
                <a:cubicBezTo>
                  <a:pt x="103750" y="93777"/>
                  <a:pt x="103750" y="93777"/>
                  <a:pt x="103750" y="93777"/>
                </a:cubicBezTo>
                <a:cubicBezTo>
                  <a:pt x="104583" y="96000"/>
                  <a:pt x="104583" y="96000"/>
                  <a:pt x="104583" y="96000"/>
                </a:cubicBezTo>
                <a:cubicBezTo>
                  <a:pt x="105833" y="99111"/>
                  <a:pt x="105833" y="99111"/>
                  <a:pt x="105833" y="99111"/>
                </a:cubicBezTo>
                <a:cubicBezTo>
                  <a:pt x="108333" y="102222"/>
                  <a:pt x="108333" y="102222"/>
                  <a:pt x="108333" y="102222"/>
                </a:cubicBezTo>
                <a:cubicBezTo>
                  <a:pt x="108333" y="102222"/>
                  <a:pt x="108333" y="102222"/>
                  <a:pt x="108333" y="102222"/>
                </a:cubicBezTo>
                <a:cubicBezTo>
                  <a:pt x="105833" y="103111"/>
                  <a:pt x="105833" y="103111"/>
                  <a:pt x="105833" y="103111"/>
                </a:cubicBezTo>
                <a:cubicBezTo>
                  <a:pt x="104166" y="103555"/>
                  <a:pt x="104166" y="103555"/>
                  <a:pt x="104166" y="103555"/>
                </a:cubicBezTo>
                <a:cubicBezTo>
                  <a:pt x="102500" y="100888"/>
                  <a:pt x="102500" y="100888"/>
                  <a:pt x="102500" y="100888"/>
                </a:cubicBezTo>
                <a:cubicBezTo>
                  <a:pt x="100000" y="100000"/>
                  <a:pt x="100000" y="100000"/>
                  <a:pt x="100000" y="100000"/>
                </a:cubicBezTo>
                <a:cubicBezTo>
                  <a:pt x="97083" y="101333"/>
                  <a:pt x="97083" y="101333"/>
                  <a:pt x="97083" y="101333"/>
                </a:cubicBezTo>
                <a:cubicBezTo>
                  <a:pt x="94166" y="102222"/>
                  <a:pt x="94166" y="102222"/>
                  <a:pt x="94166" y="102222"/>
                </a:cubicBezTo>
                <a:cubicBezTo>
                  <a:pt x="93333" y="102222"/>
                  <a:pt x="93333" y="102222"/>
                  <a:pt x="93333" y="102222"/>
                </a:cubicBezTo>
                <a:cubicBezTo>
                  <a:pt x="92500" y="104000"/>
                  <a:pt x="92500" y="104000"/>
                  <a:pt x="92500" y="104000"/>
                </a:cubicBezTo>
                <a:cubicBezTo>
                  <a:pt x="90000" y="105333"/>
                  <a:pt x="90000" y="105333"/>
                  <a:pt x="90000" y="105333"/>
                </a:cubicBezTo>
                <a:cubicBezTo>
                  <a:pt x="90000" y="105333"/>
                  <a:pt x="89166" y="104444"/>
                  <a:pt x="88750" y="104000"/>
                </a:cubicBezTo>
                <a:cubicBezTo>
                  <a:pt x="88333" y="103555"/>
                  <a:pt x="87083" y="102666"/>
                  <a:pt x="87083" y="102666"/>
                </a:cubicBezTo>
                <a:cubicBezTo>
                  <a:pt x="87083" y="102666"/>
                  <a:pt x="86666" y="101777"/>
                  <a:pt x="86250" y="101333"/>
                </a:cubicBezTo>
                <a:cubicBezTo>
                  <a:pt x="85833" y="101333"/>
                  <a:pt x="83333" y="103111"/>
                  <a:pt x="83333" y="103111"/>
                </a:cubicBezTo>
                <a:cubicBezTo>
                  <a:pt x="83333" y="103111"/>
                  <a:pt x="81250" y="104444"/>
                  <a:pt x="81250" y="104888"/>
                </a:cubicBezTo>
                <a:cubicBezTo>
                  <a:pt x="81666" y="104888"/>
                  <a:pt x="81250" y="107111"/>
                  <a:pt x="81250" y="107111"/>
                </a:cubicBezTo>
                <a:cubicBezTo>
                  <a:pt x="78333" y="104444"/>
                  <a:pt x="78333" y="104444"/>
                  <a:pt x="78333" y="104444"/>
                </a:cubicBezTo>
                <a:cubicBezTo>
                  <a:pt x="76250" y="106222"/>
                  <a:pt x="76250" y="106222"/>
                  <a:pt x="76250" y="106222"/>
                </a:cubicBezTo>
                <a:cubicBezTo>
                  <a:pt x="74583" y="104888"/>
                  <a:pt x="74583" y="104888"/>
                  <a:pt x="74583" y="104888"/>
                </a:cubicBezTo>
                <a:cubicBezTo>
                  <a:pt x="73750" y="104444"/>
                  <a:pt x="73750" y="104444"/>
                  <a:pt x="73750" y="104444"/>
                </a:cubicBezTo>
                <a:cubicBezTo>
                  <a:pt x="71250" y="107555"/>
                  <a:pt x="71250" y="107555"/>
                  <a:pt x="71250" y="107555"/>
                </a:cubicBezTo>
                <a:cubicBezTo>
                  <a:pt x="69583" y="106666"/>
                  <a:pt x="69583" y="106666"/>
                  <a:pt x="69583" y="106666"/>
                </a:cubicBezTo>
                <a:cubicBezTo>
                  <a:pt x="68750" y="109777"/>
                  <a:pt x="68750" y="109777"/>
                  <a:pt x="68750" y="109777"/>
                </a:cubicBezTo>
                <a:cubicBezTo>
                  <a:pt x="66666" y="108000"/>
                  <a:pt x="66666" y="108000"/>
                  <a:pt x="66666" y="108000"/>
                </a:cubicBezTo>
                <a:cubicBezTo>
                  <a:pt x="66666" y="108000"/>
                  <a:pt x="64583" y="107555"/>
                  <a:pt x="64166" y="107555"/>
                </a:cubicBezTo>
                <a:cubicBezTo>
                  <a:pt x="63750" y="107555"/>
                  <a:pt x="62500" y="109333"/>
                  <a:pt x="62500" y="109333"/>
                </a:cubicBezTo>
                <a:cubicBezTo>
                  <a:pt x="60416" y="107555"/>
                  <a:pt x="60416" y="107555"/>
                  <a:pt x="60416" y="107555"/>
                </a:cubicBezTo>
                <a:cubicBezTo>
                  <a:pt x="58750" y="106222"/>
                  <a:pt x="58750" y="106222"/>
                  <a:pt x="58750" y="106222"/>
                </a:cubicBezTo>
                <a:cubicBezTo>
                  <a:pt x="58750" y="106222"/>
                  <a:pt x="54166" y="106666"/>
                  <a:pt x="53750" y="106666"/>
                </a:cubicBezTo>
                <a:cubicBezTo>
                  <a:pt x="53333" y="106666"/>
                  <a:pt x="50416" y="106222"/>
                  <a:pt x="50416" y="106222"/>
                </a:cubicBezTo>
                <a:cubicBezTo>
                  <a:pt x="46666" y="107111"/>
                  <a:pt x="46666" y="107111"/>
                  <a:pt x="46666" y="107111"/>
                </a:cubicBezTo>
                <a:cubicBezTo>
                  <a:pt x="41250" y="107111"/>
                  <a:pt x="41250" y="107111"/>
                  <a:pt x="41250" y="107111"/>
                </a:cubicBezTo>
                <a:cubicBezTo>
                  <a:pt x="36250" y="107555"/>
                  <a:pt x="36250" y="107555"/>
                  <a:pt x="36250" y="107555"/>
                </a:cubicBezTo>
                <a:cubicBezTo>
                  <a:pt x="32500" y="107555"/>
                  <a:pt x="32500" y="107555"/>
                  <a:pt x="32500" y="107555"/>
                </a:cubicBezTo>
                <a:cubicBezTo>
                  <a:pt x="29583" y="109777"/>
                  <a:pt x="29583" y="109777"/>
                  <a:pt x="29583" y="109777"/>
                </a:cubicBezTo>
                <a:cubicBezTo>
                  <a:pt x="26666" y="110222"/>
                  <a:pt x="26666" y="110222"/>
                  <a:pt x="26666" y="110222"/>
                </a:cubicBezTo>
                <a:cubicBezTo>
                  <a:pt x="23333" y="110666"/>
                  <a:pt x="23333" y="110666"/>
                  <a:pt x="23333" y="110666"/>
                </a:cubicBezTo>
                <a:cubicBezTo>
                  <a:pt x="22916" y="110666"/>
                  <a:pt x="22916" y="110666"/>
                  <a:pt x="22916" y="110666"/>
                </a:cubicBezTo>
                <a:cubicBezTo>
                  <a:pt x="22500" y="111111"/>
                  <a:pt x="22500" y="111111"/>
                  <a:pt x="22500" y="111111"/>
                </a:cubicBezTo>
                <a:cubicBezTo>
                  <a:pt x="21250" y="112000"/>
                  <a:pt x="21250" y="112000"/>
                  <a:pt x="21250" y="112000"/>
                </a:cubicBezTo>
                <a:cubicBezTo>
                  <a:pt x="21250" y="112444"/>
                  <a:pt x="21250" y="112444"/>
                  <a:pt x="21250" y="112444"/>
                </a:cubicBezTo>
                <a:cubicBezTo>
                  <a:pt x="20416" y="113333"/>
                  <a:pt x="20416" y="113333"/>
                  <a:pt x="20416" y="113333"/>
                </a:cubicBezTo>
                <a:cubicBezTo>
                  <a:pt x="20000" y="115555"/>
                  <a:pt x="20000" y="115555"/>
                  <a:pt x="20000" y="115555"/>
                </a:cubicBezTo>
                <a:cubicBezTo>
                  <a:pt x="19583" y="116444"/>
                  <a:pt x="18750" y="117333"/>
                  <a:pt x="18333" y="118222"/>
                </a:cubicBezTo>
                <a:cubicBezTo>
                  <a:pt x="18333" y="118222"/>
                  <a:pt x="18333" y="118222"/>
                  <a:pt x="18333" y="118222"/>
                </a:cubicBezTo>
                <a:cubicBezTo>
                  <a:pt x="18333" y="118222"/>
                  <a:pt x="17083" y="117777"/>
                  <a:pt x="17083" y="118666"/>
                </a:cubicBezTo>
                <a:cubicBezTo>
                  <a:pt x="17083" y="119111"/>
                  <a:pt x="17083" y="119111"/>
                  <a:pt x="17083" y="119111"/>
                </a:cubicBezTo>
                <a:cubicBezTo>
                  <a:pt x="15833" y="119555"/>
                  <a:pt x="13750" y="118666"/>
                  <a:pt x="13750" y="118666"/>
                </a:cubicBezTo>
                <a:cubicBezTo>
                  <a:pt x="11250" y="120000"/>
                  <a:pt x="11250" y="120000"/>
                  <a:pt x="11250" y="120000"/>
                </a:cubicBezTo>
                <a:cubicBezTo>
                  <a:pt x="11250" y="120000"/>
                  <a:pt x="11250" y="120000"/>
                  <a:pt x="11250" y="120000"/>
                </a:cubicBezTo>
                <a:cubicBezTo>
                  <a:pt x="11250" y="119555"/>
                  <a:pt x="10416" y="117777"/>
                  <a:pt x="10416" y="117777"/>
                </a:cubicBezTo>
                <a:cubicBezTo>
                  <a:pt x="10416" y="117777"/>
                  <a:pt x="10833" y="114666"/>
                  <a:pt x="10833" y="114666"/>
                </a:cubicBezTo>
                <a:cubicBezTo>
                  <a:pt x="10833" y="114222"/>
                  <a:pt x="10416" y="110666"/>
                  <a:pt x="10416" y="110666"/>
                </a:cubicBezTo>
                <a:cubicBezTo>
                  <a:pt x="10416" y="108888"/>
                  <a:pt x="10416" y="108888"/>
                  <a:pt x="10416" y="108888"/>
                </a:cubicBezTo>
                <a:cubicBezTo>
                  <a:pt x="7916" y="107111"/>
                  <a:pt x="7916" y="107111"/>
                  <a:pt x="7916" y="107111"/>
                </a:cubicBezTo>
                <a:cubicBezTo>
                  <a:pt x="7916" y="107111"/>
                  <a:pt x="5000" y="106666"/>
                  <a:pt x="4166" y="106666"/>
                </a:cubicBezTo>
                <a:cubicBezTo>
                  <a:pt x="3750" y="106666"/>
                  <a:pt x="3333" y="105333"/>
                  <a:pt x="3333" y="105333"/>
                </a:cubicBezTo>
                <a:cubicBezTo>
                  <a:pt x="3750" y="104000"/>
                  <a:pt x="3750" y="104000"/>
                  <a:pt x="3750" y="104000"/>
                </a:cubicBezTo>
                <a:cubicBezTo>
                  <a:pt x="5000" y="100000"/>
                  <a:pt x="5000" y="100000"/>
                  <a:pt x="5000" y="100000"/>
                </a:cubicBezTo>
                <a:cubicBezTo>
                  <a:pt x="7083" y="96888"/>
                  <a:pt x="7083" y="96888"/>
                  <a:pt x="7083" y="96888"/>
                </a:cubicBezTo>
                <a:cubicBezTo>
                  <a:pt x="8750" y="96000"/>
                  <a:pt x="8750" y="96000"/>
                  <a:pt x="8750" y="96000"/>
                </a:cubicBezTo>
                <a:cubicBezTo>
                  <a:pt x="8750" y="96000"/>
                  <a:pt x="10416" y="93333"/>
                  <a:pt x="10833" y="92888"/>
                </a:cubicBezTo>
                <a:cubicBezTo>
                  <a:pt x="11250" y="92888"/>
                  <a:pt x="10833" y="90666"/>
                  <a:pt x="10416" y="90666"/>
                </a:cubicBezTo>
                <a:cubicBezTo>
                  <a:pt x="10416" y="90222"/>
                  <a:pt x="10416" y="88888"/>
                  <a:pt x="10416" y="88444"/>
                </a:cubicBezTo>
                <a:cubicBezTo>
                  <a:pt x="10416" y="87555"/>
                  <a:pt x="9166" y="86222"/>
                  <a:pt x="9166" y="86222"/>
                </a:cubicBezTo>
                <a:cubicBezTo>
                  <a:pt x="8750" y="82666"/>
                  <a:pt x="8750" y="82666"/>
                  <a:pt x="8750" y="82666"/>
                </a:cubicBezTo>
                <a:cubicBezTo>
                  <a:pt x="7916" y="81777"/>
                  <a:pt x="7916" y="81777"/>
                  <a:pt x="7916" y="81777"/>
                </a:cubicBezTo>
                <a:cubicBezTo>
                  <a:pt x="7916" y="81333"/>
                  <a:pt x="7916" y="81333"/>
                  <a:pt x="7916" y="81333"/>
                </a:cubicBezTo>
                <a:cubicBezTo>
                  <a:pt x="5416" y="77777"/>
                  <a:pt x="5416" y="77777"/>
                  <a:pt x="5416" y="77777"/>
                </a:cubicBezTo>
                <a:cubicBezTo>
                  <a:pt x="3333" y="72888"/>
                  <a:pt x="3333" y="72888"/>
                  <a:pt x="3333" y="72888"/>
                </a:cubicBezTo>
                <a:cubicBezTo>
                  <a:pt x="3333" y="72888"/>
                  <a:pt x="833" y="68444"/>
                  <a:pt x="416" y="66666"/>
                </a:cubicBezTo>
                <a:cubicBezTo>
                  <a:pt x="0" y="65333"/>
                  <a:pt x="0" y="65333"/>
                  <a:pt x="0" y="65333"/>
                </a:cubicBezTo>
                <a:cubicBezTo>
                  <a:pt x="3750" y="64444"/>
                  <a:pt x="3750" y="64444"/>
                  <a:pt x="3750" y="64444"/>
                </a:cubicBezTo>
                <a:cubicBezTo>
                  <a:pt x="7916" y="62666"/>
                  <a:pt x="7916" y="62666"/>
                  <a:pt x="7916" y="62666"/>
                </a:cubicBezTo>
                <a:cubicBezTo>
                  <a:pt x="10416" y="63111"/>
                  <a:pt x="10416" y="63111"/>
                  <a:pt x="10416" y="63111"/>
                </a:cubicBezTo>
                <a:cubicBezTo>
                  <a:pt x="13333" y="62666"/>
                  <a:pt x="13333" y="62666"/>
                  <a:pt x="13333" y="62666"/>
                </a:cubicBezTo>
                <a:cubicBezTo>
                  <a:pt x="15000" y="60444"/>
                  <a:pt x="15000" y="60444"/>
                  <a:pt x="15000" y="60444"/>
                </a:cubicBezTo>
                <a:cubicBezTo>
                  <a:pt x="17083" y="60444"/>
                  <a:pt x="17083" y="60444"/>
                  <a:pt x="17083" y="60444"/>
                </a:cubicBezTo>
                <a:cubicBezTo>
                  <a:pt x="16250" y="57333"/>
                  <a:pt x="16250" y="57333"/>
                  <a:pt x="16250" y="57333"/>
                </a:cubicBezTo>
                <a:cubicBezTo>
                  <a:pt x="16250" y="57333"/>
                  <a:pt x="16666" y="56000"/>
                  <a:pt x="17083" y="56444"/>
                </a:cubicBezTo>
                <a:cubicBezTo>
                  <a:pt x="17916" y="56444"/>
                  <a:pt x="19583" y="56444"/>
                  <a:pt x="19583" y="56444"/>
                </a:cubicBezTo>
                <a:cubicBezTo>
                  <a:pt x="20416" y="54666"/>
                  <a:pt x="20416" y="54666"/>
                  <a:pt x="20416" y="54666"/>
                </a:cubicBezTo>
                <a:cubicBezTo>
                  <a:pt x="20416" y="53777"/>
                  <a:pt x="20416" y="53777"/>
                  <a:pt x="20416" y="53777"/>
                </a:cubicBezTo>
                <a:cubicBezTo>
                  <a:pt x="23333" y="52888"/>
                  <a:pt x="23333" y="52888"/>
                  <a:pt x="23333" y="52888"/>
                </a:cubicBezTo>
                <a:cubicBezTo>
                  <a:pt x="24583" y="51555"/>
                  <a:pt x="24583" y="51555"/>
                  <a:pt x="24583" y="51555"/>
                </a:cubicBezTo>
                <a:cubicBezTo>
                  <a:pt x="25416" y="52444"/>
                  <a:pt x="25416" y="52444"/>
                  <a:pt x="25416" y="52444"/>
                </a:cubicBezTo>
                <a:cubicBezTo>
                  <a:pt x="25000" y="54222"/>
                  <a:pt x="25000" y="54222"/>
                  <a:pt x="25000" y="54222"/>
                </a:cubicBezTo>
                <a:cubicBezTo>
                  <a:pt x="27083" y="53777"/>
                  <a:pt x="27083" y="53777"/>
                  <a:pt x="27083" y="53777"/>
                </a:cubicBezTo>
                <a:cubicBezTo>
                  <a:pt x="27916" y="51111"/>
                  <a:pt x="27916" y="51111"/>
                  <a:pt x="27916" y="51111"/>
                </a:cubicBezTo>
                <a:cubicBezTo>
                  <a:pt x="27083" y="50666"/>
                  <a:pt x="27083" y="50666"/>
                  <a:pt x="27083" y="50666"/>
                </a:cubicBezTo>
                <a:cubicBezTo>
                  <a:pt x="25000" y="49777"/>
                  <a:pt x="25000" y="49777"/>
                  <a:pt x="25000" y="49777"/>
                </a:cubicBezTo>
                <a:cubicBezTo>
                  <a:pt x="25000" y="49777"/>
                  <a:pt x="24166" y="50222"/>
                  <a:pt x="24166" y="49333"/>
                </a:cubicBezTo>
                <a:cubicBezTo>
                  <a:pt x="24583" y="48000"/>
                  <a:pt x="25416" y="45777"/>
                  <a:pt x="25416" y="45777"/>
                </a:cubicBezTo>
                <a:cubicBezTo>
                  <a:pt x="25000" y="43111"/>
                  <a:pt x="25000" y="43111"/>
                  <a:pt x="25000" y="43111"/>
                </a:cubicBezTo>
                <a:cubicBezTo>
                  <a:pt x="24583" y="40000"/>
                  <a:pt x="24583" y="40000"/>
                  <a:pt x="24583" y="40000"/>
                </a:cubicBezTo>
                <a:cubicBezTo>
                  <a:pt x="25000" y="38222"/>
                  <a:pt x="25000" y="38222"/>
                  <a:pt x="25000" y="38222"/>
                </a:cubicBezTo>
                <a:cubicBezTo>
                  <a:pt x="25000" y="36444"/>
                  <a:pt x="25000" y="36444"/>
                  <a:pt x="25000" y="36444"/>
                </a:cubicBezTo>
                <a:cubicBezTo>
                  <a:pt x="25833" y="34666"/>
                  <a:pt x="25833" y="34666"/>
                  <a:pt x="25833" y="34666"/>
                </a:cubicBezTo>
                <a:cubicBezTo>
                  <a:pt x="29166" y="33333"/>
                  <a:pt x="29166" y="33333"/>
                  <a:pt x="29166" y="33333"/>
                </a:cubicBezTo>
                <a:cubicBezTo>
                  <a:pt x="29166" y="30222"/>
                  <a:pt x="29166" y="30222"/>
                  <a:pt x="29166" y="30222"/>
                </a:cubicBezTo>
                <a:cubicBezTo>
                  <a:pt x="30416" y="28888"/>
                  <a:pt x="30416" y="28888"/>
                  <a:pt x="30416" y="28888"/>
                </a:cubicBezTo>
                <a:lnTo>
                  <a:pt x="33750" y="29333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" name="Google Shape;3029;p256">
            <a:extLst>
              <a:ext uri="{FF2B5EF4-FFF2-40B4-BE49-F238E27FC236}">
                <a16:creationId xmlns:a16="http://schemas.microsoft.com/office/drawing/2014/main" id="{600F4643-B6C3-1324-36FF-BA0637D73A64}"/>
              </a:ext>
            </a:extLst>
          </p:cNvPr>
          <p:cNvSpPr/>
          <p:nvPr/>
        </p:nvSpPr>
        <p:spPr>
          <a:xfrm>
            <a:off x="10806218" y="3792342"/>
            <a:ext cx="568666" cy="54071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76645" y="120000"/>
                </a:moveTo>
                <a:cubicBezTo>
                  <a:pt x="77419" y="116842"/>
                  <a:pt x="77419" y="116842"/>
                  <a:pt x="77419" y="116842"/>
                </a:cubicBezTo>
                <a:cubicBezTo>
                  <a:pt x="77419" y="116842"/>
                  <a:pt x="79741" y="116052"/>
                  <a:pt x="80516" y="116052"/>
                </a:cubicBezTo>
                <a:cubicBezTo>
                  <a:pt x="81290" y="115263"/>
                  <a:pt x="82064" y="116052"/>
                  <a:pt x="82838" y="115263"/>
                </a:cubicBezTo>
                <a:cubicBezTo>
                  <a:pt x="83612" y="115263"/>
                  <a:pt x="85161" y="114473"/>
                  <a:pt x="85161" y="114473"/>
                </a:cubicBezTo>
                <a:cubicBezTo>
                  <a:pt x="84387" y="114473"/>
                  <a:pt x="84387" y="114473"/>
                  <a:pt x="84387" y="114473"/>
                </a:cubicBezTo>
                <a:cubicBezTo>
                  <a:pt x="84387" y="112894"/>
                  <a:pt x="84387" y="112894"/>
                  <a:pt x="84387" y="112894"/>
                </a:cubicBezTo>
                <a:cubicBezTo>
                  <a:pt x="85161" y="111315"/>
                  <a:pt x="85161" y="111315"/>
                  <a:pt x="85161" y="111315"/>
                </a:cubicBezTo>
                <a:cubicBezTo>
                  <a:pt x="82064" y="109736"/>
                  <a:pt x="82064" y="109736"/>
                  <a:pt x="82064" y="109736"/>
                </a:cubicBezTo>
                <a:cubicBezTo>
                  <a:pt x="82838" y="108157"/>
                  <a:pt x="82838" y="108157"/>
                  <a:pt x="82838" y="108157"/>
                </a:cubicBezTo>
                <a:cubicBezTo>
                  <a:pt x="82838" y="108157"/>
                  <a:pt x="82064" y="106578"/>
                  <a:pt x="82838" y="106578"/>
                </a:cubicBezTo>
                <a:cubicBezTo>
                  <a:pt x="83612" y="106578"/>
                  <a:pt x="83612" y="104210"/>
                  <a:pt x="83612" y="104210"/>
                </a:cubicBezTo>
                <a:cubicBezTo>
                  <a:pt x="84387" y="102631"/>
                  <a:pt x="84387" y="102631"/>
                  <a:pt x="84387" y="102631"/>
                </a:cubicBezTo>
                <a:cubicBezTo>
                  <a:pt x="85935" y="102631"/>
                  <a:pt x="85935" y="102631"/>
                  <a:pt x="85935" y="102631"/>
                </a:cubicBezTo>
                <a:cubicBezTo>
                  <a:pt x="85935" y="102631"/>
                  <a:pt x="85935" y="101052"/>
                  <a:pt x="86709" y="100263"/>
                </a:cubicBezTo>
                <a:cubicBezTo>
                  <a:pt x="86709" y="100263"/>
                  <a:pt x="87483" y="99473"/>
                  <a:pt x="87483" y="99473"/>
                </a:cubicBezTo>
                <a:cubicBezTo>
                  <a:pt x="86709" y="97105"/>
                  <a:pt x="86709" y="97105"/>
                  <a:pt x="86709" y="97105"/>
                </a:cubicBezTo>
                <a:cubicBezTo>
                  <a:pt x="86709" y="97105"/>
                  <a:pt x="85161" y="94736"/>
                  <a:pt x="85935" y="94736"/>
                </a:cubicBezTo>
                <a:cubicBezTo>
                  <a:pt x="86709" y="94736"/>
                  <a:pt x="87483" y="93947"/>
                  <a:pt x="87483" y="93947"/>
                </a:cubicBezTo>
                <a:cubicBezTo>
                  <a:pt x="87483" y="93947"/>
                  <a:pt x="89806" y="91578"/>
                  <a:pt x="90580" y="91578"/>
                </a:cubicBezTo>
                <a:cubicBezTo>
                  <a:pt x="90580" y="91578"/>
                  <a:pt x="92129" y="90000"/>
                  <a:pt x="92129" y="89210"/>
                </a:cubicBezTo>
                <a:cubicBezTo>
                  <a:pt x="91354" y="88421"/>
                  <a:pt x="90580" y="87631"/>
                  <a:pt x="90580" y="87631"/>
                </a:cubicBezTo>
                <a:cubicBezTo>
                  <a:pt x="91354" y="84473"/>
                  <a:pt x="91354" y="84473"/>
                  <a:pt x="91354" y="84473"/>
                </a:cubicBezTo>
                <a:cubicBezTo>
                  <a:pt x="91354" y="84473"/>
                  <a:pt x="92129" y="82894"/>
                  <a:pt x="91354" y="82894"/>
                </a:cubicBezTo>
                <a:cubicBezTo>
                  <a:pt x="90580" y="82105"/>
                  <a:pt x="89032" y="82105"/>
                  <a:pt x="89032" y="82105"/>
                </a:cubicBezTo>
                <a:cubicBezTo>
                  <a:pt x="87483" y="80526"/>
                  <a:pt x="87483" y="80526"/>
                  <a:pt x="87483" y="80526"/>
                </a:cubicBezTo>
                <a:cubicBezTo>
                  <a:pt x="87483" y="78157"/>
                  <a:pt x="87483" y="78157"/>
                  <a:pt x="87483" y="78157"/>
                </a:cubicBezTo>
                <a:cubicBezTo>
                  <a:pt x="85935" y="75789"/>
                  <a:pt x="85935" y="75789"/>
                  <a:pt x="85935" y="75789"/>
                </a:cubicBezTo>
                <a:cubicBezTo>
                  <a:pt x="85935" y="75789"/>
                  <a:pt x="85935" y="74210"/>
                  <a:pt x="85935" y="73421"/>
                </a:cubicBezTo>
                <a:cubicBezTo>
                  <a:pt x="86709" y="73421"/>
                  <a:pt x="88258" y="70263"/>
                  <a:pt x="88258" y="69473"/>
                </a:cubicBezTo>
                <a:cubicBezTo>
                  <a:pt x="89032" y="69473"/>
                  <a:pt x="92129" y="66315"/>
                  <a:pt x="92129" y="66315"/>
                </a:cubicBezTo>
                <a:cubicBezTo>
                  <a:pt x="93677" y="70263"/>
                  <a:pt x="93677" y="70263"/>
                  <a:pt x="93677" y="70263"/>
                </a:cubicBezTo>
                <a:cubicBezTo>
                  <a:pt x="93677" y="73421"/>
                  <a:pt x="93677" y="73421"/>
                  <a:pt x="93677" y="73421"/>
                </a:cubicBezTo>
                <a:cubicBezTo>
                  <a:pt x="93677" y="73421"/>
                  <a:pt x="92903" y="75000"/>
                  <a:pt x="93677" y="75000"/>
                </a:cubicBezTo>
                <a:cubicBezTo>
                  <a:pt x="95225" y="74210"/>
                  <a:pt x="95225" y="72631"/>
                  <a:pt x="95225" y="72631"/>
                </a:cubicBezTo>
                <a:cubicBezTo>
                  <a:pt x="96000" y="71842"/>
                  <a:pt x="96000" y="71842"/>
                  <a:pt x="96000" y="71842"/>
                </a:cubicBezTo>
                <a:cubicBezTo>
                  <a:pt x="96000" y="71842"/>
                  <a:pt x="94451" y="69473"/>
                  <a:pt x="95225" y="69473"/>
                </a:cubicBezTo>
                <a:cubicBezTo>
                  <a:pt x="96000" y="69473"/>
                  <a:pt x="96000" y="67894"/>
                  <a:pt x="96000" y="69473"/>
                </a:cubicBezTo>
                <a:cubicBezTo>
                  <a:pt x="96774" y="70263"/>
                  <a:pt x="96774" y="71842"/>
                  <a:pt x="97548" y="71052"/>
                </a:cubicBezTo>
                <a:cubicBezTo>
                  <a:pt x="99096" y="71052"/>
                  <a:pt x="99096" y="71842"/>
                  <a:pt x="99096" y="71052"/>
                </a:cubicBezTo>
                <a:cubicBezTo>
                  <a:pt x="99870" y="70263"/>
                  <a:pt x="99870" y="69473"/>
                  <a:pt x="99870" y="69473"/>
                </a:cubicBezTo>
                <a:cubicBezTo>
                  <a:pt x="100645" y="68684"/>
                  <a:pt x="100645" y="68684"/>
                  <a:pt x="100645" y="68684"/>
                </a:cubicBezTo>
                <a:cubicBezTo>
                  <a:pt x="100645" y="68684"/>
                  <a:pt x="100645" y="70263"/>
                  <a:pt x="101419" y="70263"/>
                </a:cubicBezTo>
                <a:cubicBezTo>
                  <a:pt x="102193" y="70263"/>
                  <a:pt x="103741" y="70263"/>
                  <a:pt x="103741" y="70263"/>
                </a:cubicBezTo>
                <a:cubicBezTo>
                  <a:pt x="105290" y="71052"/>
                  <a:pt x="105290" y="71052"/>
                  <a:pt x="105290" y="71052"/>
                </a:cubicBezTo>
                <a:cubicBezTo>
                  <a:pt x="105290" y="71052"/>
                  <a:pt x="106064" y="71052"/>
                  <a:pt x="106064" y="70263"/>
                </a:cubicBezTo>
                <a:cubicBezTo>
                  <a:pt x="106064" y="69473"/>
                  <a:pt x="106064" y="68684"/>
                  <a:pt x="106064" y="68684"/>
                </a:cubicBezTo>
                <a:cubicBezTo>
                  <a:pt x="107612" y="67894"/>
                  <a:pt x="107612" y="67894"/>
                  <a:pt x="107612" y="67894"/>
                </a:cubicBezTo>
                <a:cubicBezTo>
                  <a:pt x="107612" y="65526"/>
                  <a:pt x="107612" y="65526"/>
                  <a:pt x="107612" y="65526"/>
                </a:cubicBezTo>
                <a:cubicBezTo>
                  <a:pt x="110709" y="67894"/>
                  <a:pt x="110709" y="67894"/>
                  <a:pt x="110709" y="67894"/>
                </a:cubicBezTo>
                <a:cubicBezTo>
                  <a:pt x="111483" y="70263"/>
                  <a:pt x="111483" y="70263"/>
                  <a:pt x="111483" y="70263"/>
                </a:cubicBezTo>
                <a:cubicBezTo>
                  <a:pt x="113032" y="69473"/>
                  <a:pt x="113032" y="69473"/>
                  <a:pt x="113032" y="69473"/>
                </a:cubicBezTo>
                <a:cubicBezTo>
                  <a:pt x="113806" y="67105"/>
                  <a:pt x="113806" y="67105"/>
                  <a:pt x="113806" y="67105"/>
                </a:cubicBezTo>
                <a:cubicBezTo>
                  <a:pt x="113806" y="67105"/>
                  <a:pt x="116129" y="67105"/>
                  <a:pt x="116903" y="66315"/>
                </a:cubicBezTo>
                <a:cubicBezTo>
                  <a:pt x="117677" y="66315"/>
                  <a:pt x="120000" y="65526"/>
                  <a:pt x="120000" y="65526"/>
                </a:cubicBezTo>
                <a:cubicBezTo>
                  <a:pt x="120000" y="64736"/>
                  <a:pt x="118451" y="63947"/>
                  <a:pt x="117677" y="64736"/>
                </a:cubicBezTo>
                <a:cubicBezTo>
                  <a:pt x="116903" y="64736"/>
                  <a:pt x="115354" y="65526"/>
                  <a:pt x="114580" y="64736"/>
                </a:cubicBezTo>
                <a:cubicBezTo>
                  <a:pt x="114580" y="63947"/>
                  <a:pt x="113032" y="62368"/>
                  <a:pt x="113032" y="62368"/>
                </a:cubicBezTo>
                <a:cubicBezTo>
                  <a:pt x="111483" y="62368"/>
                  <a:pt x="111483" y="62368"/>
                  <a:pt x="111483" y="62368"/>
                </a:cubicBezTo>
                <a:cubicBezTo>
                  <a:pt x="111483" y="62368"/>
                  <a:pt x="109935" y="61578"/>
                  <a:pt x="110709" y="60789"/>
                </a:cubicBezTo>
                <a:cubicBezTo>
                  <a:pt x="111483" y="60000"/>
                  <a:pt x="112258" y="60000"/>
                  <a:pt x="112258" y="60000"/>
                </a:cubicBezTo>
                <a:cubicBezTo>
                  <a:pt x="112258" y="60000"/>
                  <a:pt x="111483" y="58421"/>
                  <a:pt x="111483" y="57631"/>
                </a:cubicBezTo>
                <a:cubicBezTo>
                  <a:pt x="111483" y="56842"/>
                  <a:pt x="111483" y="55263"/>
                  <a:pt x="110709" y="54473"/>
                </a:cubicBezTo>
                <a:cubicBezTo>
                  <a:pt x="110709" y="54473"/>
                  <a:pt x="109161" y="51315"/>
                  <a:pt x="109161" y="51315"/>
                </a:cubicBezTo>
                <a:cubicBezTo>
                  <a:pt x="109161" y="49736"/>
                  <a:pt x="109161" y="49736"/>
                  <a:pt x="109161" y="49736"/>
                </a:cubicBezTo>
                <a:cubicBezTo>
                  <a:pt x="107612" y="50526"/>
                  <a:pt x="107612" y="50526"/>
                  <a:pt x="107612" y="50526"/>
                </a:cubicBezTo>
                <a:cubicBezTo>
                  <a:pt x="106064" y="48947"/>
                  <a:pt x="106064" y="48947"/>
                  <a:pt x="106064" y="48947"/>
                </a:cubicBezTo>
                <a:cubicBezTo>
                  <a:pt x="106064" y="48947"/>
                  <a:pt x="104516" y="48947"/>
                  <a:pt x="104516" y="49736"/>
                </a:cubicBezTo>
                <a:cubicBezTo>
                  <a:pt x="103741" y="49736"/>
                  <a:pt x="102967" y="48947"/>
                  <a:pt x="102967" y="48947"/>
                </a:cubicBezTo>
                <a:cubicBezTo>
                  <a:pt x="101419" y="48947"/>
                  <a:pt x="101419" y="48947"/>
                  <a:pt x="101419" y="48947"/>
                </a:cubicBezTo>
                <a:cubicBezTo>
                  <a:pt x="101419" y="48947"/>
                  <a:pt x="101419" y="48947"/>
                  <a:pt x="99870" y="48947"/>
                </a:cubicBezTo>
                <a:cubicBezTo>
                  <a:pt x="99096" y="48947"/>
                  <a:pt x="97548" y="48157"/>
                  <a:pt x="96774" y="48157"/>
                </a:cubicBezTo>
                <a:cubicBezTo>
                  <a:pt x="96774" y="47368"/>
                  <a:pt x="96774" y="46578"/>
                  <a:pt x="96774" y="46578"/>
                </a:cubicBezTo>
                <a:cubicBezTo>
                  <a:pt x="97548" y="45789"/>
                  <a:pt x="97548" y="45000"/>
                  <a:pt x="97548" y="45000"/>
                </a:cubicBezTo>
                <a:cubicBezTo>
                  <a:pt x="97548" y="45000"/>
                  <a:pt x="97548" y="42631"/>
                  <a:pt x="96774" y="42631"/>
                </a:cubicBezTo>
                <a:cubicBezTo>
                  <a:pt x="96000" y="42631"/>
                  <a:pt x="94451" y="42631"/>
                  <a:pt x="94451" y="42631"/>
                </a:cubicBezTo>
                <a:cubicBezTo>
                  <a:pt x="92903" y="41842"/>
                  <a:pt x="92903" y="41842"/>
                  <a:pt x="92903" y="41842"/>
                </a:cubicBezTo>
                <a:cubicBezTo>
                  <a:pt x="95225" y="41052"/>
                  <a:pt x="95225" y="41052"/>
                  <a:pt x="95225" y="41052"/>
                </a:cubicBezTo>
                <a:cubicBezTo>
                  <a:pt x="94451" y="39473"/>
                  <a:pt x="94451" y="39473"/>
                  <a:pt x="94451" y="39473"/>
                </a:cubicBezTo>
                <a:cubicBezTo>
                  <a:pt x="94451" y="39473"/>
                  <a:pt x="94451" y="37894"/>
                  <a:pt x="94451" y="37894"/>
                </a:cubicBezTo>
                <a:cubicBezTo>
                  <a:pt x="94451" y="37105"/>
                  <a:pt x="93677" y="36315"/>
                  <a:pt x="93677" y="36315"/>
                </a:cubicBezTo>
                <a:cubicBezTo>
                  <a:pt x="93677" y="33157"/>
                  <a:pt x="93677" y="33157"/>
                  <a:pt x="93677" y="33157"/>
                </a:cubicBezTo>
                <a:cubicBezTo>
                  <a:pt x="92129" y="33157"/>
                  <a:pt x="92129" y="33157"/>
                  <a:pt x="92129" y="33157"/>
                </a:cubicBezTo>
                <a:cubicBezTo>
                  <a:pt x="90580" y="32368"/>
                  <a:pt x="90580" y="32368"/>
                  <a:pt x="90580" y="32368"/>
                </a:cubicBezTo>
                <a:cubicBezTo>
                  <a:pt x="89806" y="34736"/>
                  <a:pt x="89806" y="34736"/>
                  <a:pt x="89806" y="34736"/>
                </a:cubicBezTo>
                <a:cubicBezTo>
                  <a:pt x="88258" y="35526"/>
                  <a:pt x="88258" y="35526"/>
                  <a:pt x="88258" y="35526"/>
                </a:cubicBezTo>
                <a:cubicBezTo>
                  <a:pt x="87483" y="33157"/>
                  <a:pt x="87483" y="33157"/>
                  <a:pt x="87483" y="33157"/>
                </a:cubicBezTo>
                <a:cubicBezTo>
                  <a:pt x="85935" y="32368"/>
                  <a:pt x="85935" y="32368"/>
                  <a:pt x="85935" y="32368"/>
                </a:cubicBezTo>
                <a:cubicBezTo>
                  <a:pt x="85161" y="32368"/>
                  <a:pt x="85161" y="32368"/>
                  <a:pt x="85161" y="32368"/>
                </a:cubicBezTo>
                <a:cubicBezTo>
                  <a:pt x="83612" y="30000"/>
                  <a:pt x="83612" y="30000"/>
                  <a:pt x="83612" y="30000"/>
                </a:cubicBezTo>
                <a:cubicBezTo>
                  <a:pt x="82064" y="30000"/>
                  <a:pt x="82064" y="30000"/>
                  <a:pt x="82064" y="30000"/>
                </a:cubicBezTo>
                <a:cubicBezTo>
                  <a:pt x="82064" y="30000"/>
                  <a:pt x="81290" y="32368"/>
                  <a:pt x="80516" y="30789"/>
                </a:cubicBezTo>
                <a:cubicBezTo>
                  <a:pt x="79741" y="30000"/>
                  <a:pt x="79741" y="27631"/>
                  <a:pt x="79741" y="27631"/>
                </a:cubicBezTo>
                <a:cubicBezTo>
                  <a:pt x="78967" y="26842"/>
                  <a:pt x="78967" y="26842"/>
                  <a:pt x="78967" y="26842"/>
                </a:cubicBezTo>
                <a:cubicBezTo>
                  <a:pt x="79741" y="25263"/>
                  <a:pt x="79741" y="25263"/>
                  <a:pt x="79741" y="25263"/>
                </a:cubicBezTo>
                <a:cubicBezTo>
                  <a:pt x="79741" y="22894"/>
                  <a:pt x="79741" y="22894"/>
                  <a:pt x="79741" y="22894"/>
                </a:cubicBezTo>
                <a:cubicBezTo>
                  <a:pt x="79741" y="22894"/>
                  <a:pt x="78967" y="21315"/>
                  <a:pt x="78967" y="21315"/>
                </a:cubicBezTo>
                <a:cubicBezTo>
                  <a:pt x="78967" y="20526"/>
                  <a:pt x="78193" y="18947"/>
                  <a:pt x="78193" y="18947"/>
                </a:cubicBezTo>
                <a:cubicBezTo>
                  <a:pt x="78967" y="17368"/>
                  <a:pt x="78967" y="17368"/>
                  <a:pt x="78967" y="17368"/>
                </a:cubicBezTo>
                <a:cubicBezTo>
                  <a:pt x="77419" y="16578"/>
                  <a:pt x="77419" y="16578"/>
                  <a:pt x="77419" y="16578"/>
                </a:cubicBezTo>
                <a:cubicBezTo>
                  <a:pt x="77419" y="14210"/>
                  <a:pt x="77419" y="14210"/>
                  <a:pt x="77419" y="14210"/>
                </a:cubicBezTo>
                <a:cubicBezTo>
                  <a:pt x="77419" y="13421"/>
                  <a:pt x="77419" y="13421"/>
                  <a:pt x="77419" y="13421"/>
                </a:cubicBezTo>
                <a:cubicBezTo>
                  <a:pt x="75096" y="12631"/>
                  <a:pt x="75096" y="12631"/>
                  <a:pt x="75096" y="12631"/>
                </a:cubicBezTo>
                <a:cubicBezTo>
                  <a:pt x="75096" y="12631"/>
                  <a:pt x="75096" y="11842"/>
                  <a:pt x="74322" y="11052"/>
                </a:cubicBezTo>
                <a:cubicBezTo>
                  <a:pt x="74322" y="11052"/>
                  <a:pt x="72774" y="9473"/>
                  <a:pt x="72774" y="9473"/>
                </a:cubicBezTo>
                <a:cubicBezTo>
                  <a:pt x="72774" y="9473"/>
                  <a:pt x="72000" y="9473"/>
                  <a:pt x="72000" y="10263"/>
                </a:cubicBezTo>
                <a:cubicBezTo>
                  <a:pt x="71225" y="11052"/>
                  <a:pt x="71225" y="12631"/>
                  <a:pt x="70451" y="12631"/>
                </a:cubicBezTo>
                <a:cubicBezTo>
                  <a:pt x="70451" y="12631"/>
                  <a:pt x="71225" y="12631"/>
                  <a:pt x="68903" y="12631"/>
                </a:cubicBezTo>
                <a:cubicBezTo>
                  <a:pt x="67354" y="11842"/>
                  <a:pt x="67354" y="11842"/>
                  <a:pt x="66580" y="11052"/>
                </a:cubicBezTo>
                <a:cubicBezTo>
                  <a:pt x="65806" y="11052"/>
                  <a:pt x="64258" y="9473"/>
                  <a:pt x="64258" y="9473"/>
                </a:cubicBezTo>
                <a:cubicBezTo>
                  <a:pt x="63483" y="6315"/>
                  <a:pt x="63483" y="6315"/>
                  <a:pt x="63483" y="6315"/>
                </a:cubicBezTo>
                <a:cubicBezTo>
                  <a:pt x="61935" y="6315"/>
                  <a:pt x="61935" y="6315"/>
                  <a:pt x="61935" y="6315"/>
                </a:cubicBezTo>
                <a:cubicBezTo>
                  <a:pt x="61935" y="6315"/>
                  <a:pt x="64258" y="7105"/>
                  <a:pt x="61161" y="7105"/>
                </a:cubicBezTo>
                <a:cubicBezTo>
                  <a:pt x="58064" y="7105"/>
                  <a:pt x="54967" y="7105"/>
                  <a:pt x="54967" y="7105"/>
                </a:cubicBezTo>
                <a:cubicBezTo>
                  <a:pt x="54193" y="8684"/>
                  <a:pt x="54193" y="8684"/>
                  <a:pt x="54193" y="8684"/>
                </a:cubicBezTo>
                <a:cubicBezTo>
                  <a:pt x="54193" y="8684"/>
                  <a:pt x="53419" y="10263"/>
                  <a:pt x="53419" y="11052"/>
                </a:cubicBezTo>
                <a:cubicBezTo>
                  <a:pt x="53419" y="11052"/>
                  <a:pt x="54193" y="11842"/>
                  <a:pt x="53419" y="11052"/>
                </a:cubicBezTo>
                <a:cubicBezTo>
                  <a:pt x="53419" y="10263"/>
                  <a:pt x="52645" y="10263"/>
                  <a:pt x="52645" y="9473"/>
                </a:cubicBezTo>
                <a:cubicBezTo>
                  <a:pt x="52645" y="9473"/>
                  <a:pt x="52645" y="8684"/>
                  <a:pt x="52645" y="8684"/>
                </a:cubicBezTo>
                <a:cubicBezTo>
                  <a:pt x="52645" y="7894"/>
                  <a:pt x="51096" y="7105"/>
                  <a:pt x="51096" y="7105"/>
                </a:cubicBezTo>
                <a:cubicBezTo>
                  <a:pt x="50322" y="8684"/>
                  <a:pt x="50322" y="8684"/>
                  <a:pt x="50322" y="8684"/>
                </a:cubicBezTo>
                <a:cubicBezTo>
                  <a:pt x="50322" y="8684"/>
                  <a:pt x="51096" y="9473"/>
                  <a:pt x="49548" y="9473"/>
                </a:cubicBezTo>
                <a:cubicBezTo>
                  <a:pt x="48774" y="10263"/>
                  <a:pt x="48774" y="10263"/>
                  <a:pt x="48774" y="10263"/>
                </a:cubicBezTo>
                <a:cubicBezTo>
                  <a:pt x="48774" y="9473"/>
                  <a:pt x="49548" y="8684"/>
                  <a:pt x="49548" y="8684"/>
                </a:cubicBezTo>
                <a:cubicBezTo>
                  <a:pt x="49548" y="8684"/>
                  <a:pt x="50322" y="7105"/>
                  <a:pt x="50322" y="7105"/>
                </a:cubicBezTo>
                <a:cubicBezTo>
                  <a:pt x="50322" y="7105"/>
                  <a:pt x="50322" y="5526"/>
                  <a:pt x="49548" y="5526"/>
                </a:cubicBezTo>
                <a:cubicBezTo>
                  <a:pt x="49548" y="5526"/>
                  <a:pt x="48000" y="5526"/>
                  <a:pt x="47225" y="5526"/>
                </a:cubicBezTo>
                <a:cubicBezTo>
                  <a:pt x="47225" y="5526"/>
                  <a:pt x="46451" y="6315"/>
                  <a:pt x="46451" y="6315"/>
                </a:cubicBezTo>
                <a:cubicBezTo>
                  <a:pt x="46451" y="6315"/>
                  <a:pt x="47225" y="7105"/>
                  <a:pt x="46451" y="7105"/>
                </a:cubicBezTo>
                <a:cubicBezTo>
                  <a:pt x="46451" y="7105"/>
                  <a:pt x="45677" y="7105"/>
                  <a:pt x="45677" y="7894"/>
                </a:cubicBezTo>
                <a:cubicBezTo>
                  <a:pt x="44903" y="7894"/>
                  <a:pt x="44903" y="6315"/>
                  <a:pt x="44903" y="6315"/>
                </a:cubicBezTo>
                <a:cubicBezTo>
                  <a:pt x="44903" y="6315"/>
                  <a:pt x="44129" y="5526"/>
                  <a:pt x="44129" y="5526"/>
                </a:cubicBezTo>
                <a:cubicBezTo>
                  <a:pt x="44129" y="6315"/>
                  <a:pt x="43354" y="7894"/>
                  <a:pt x="43354" y="7894"/>
                </a:cubicBezTo>
                <a:cubicBezTo>
                  <a:pt x="42580" y="7894"/>
                  <a:pt x="42580" y="7894"/>
                  <a:pt x="42580" y="7105"/>
                </a:cubicBezTo>
                <a:cubicBezTo>
                  <a:pt x="41806" y="7105"/>
                  <a:pt x="41806" y="5526"/>
                  <a:pt x="41806" y="5526"/>
                </a:cubicBezTo>
                <a:cubicBezTo>
                  <a:pt x="41032" y="4736"/>
                  <a:pt x="41032" y="4736"/>
                  <a:pt x="41032" y="4736"/>
                </a:cubicBezTo>
                <a:cubicBezTo>
                  <a:pt x="41032" y="4736"/>
                  <a:pt x="38709" y="4736"/>
                  <a:pt x="37935" y="4736"/>
                </a:cubicBezTo>
                <a:cubicBezTo>
                  <a:pt x="37935" y="4736"/>
                  <a:pt x="36387" y="4736"/>
                  <a:pt x="36387" y="3947"/>
                </a:cubicBezTo>
                <a:cubicBezTo>
                  <a:pt x="35612" y="3157"/>
                  <a:pt x="34838" y="3157"/>
                  <a:pt x="34838" y="3157"/>
                </a:cubicBezTo>
                <a:cubicBezTo>
                  <a:pt x="34838" y="3157"/>
                  <a:pt x="34838" y="3157"/>
                  <a:pt x="34064" y="2368"/>
                </a:cubicBezTo>
                <a:cubicBezTo>
                  <a:pt x="33290" y="2368"/>
                  <a:pt x="33290" y="2368"/>
                  <a:pt x="32516" y="2368"/>
                </a:cubicBezTo>
                <a:cubicBezTo>
                  <a:pt x="31741" y="1578"/>
                  <a:pt x="32516" y="1578"/>
                  <a:pt x="30967" y="1578"/>
                </a:cubicBezTo>
                <a:cubicBezTo>
                  <a:pt x="29419" y="1578"/>
                  <a:pt x="29419" y="3157"/>
                  <a:pt x="28645" y="2368"/>
                </a:cubicBezTo>
                <a:cubicBezTo>
                  <a:pt x="27096" y="2368"/>
                  <a:pt x="27096" y="2368"/>
                  <a:pt x="27096" y="2368"/>
                </a:cubicBezTo>
                <a:cubicBezTo>
                  <a:pt x="26322" y="1578"/>
                  <a:pt x="26322" y="1578"/>
                  <a:pt x="26322" y="1578"/>
                </a:cubicBezTo>
                <a:cubicBezTo>
                  <a:pt x="26322" y="789"/>
                  <a:pt x="25548" y="0"/>
                  <a:pt x="25548" y="789"/>
                </a:cubicBezTo>
                <a:cubicBezTo>
                  <a:pt x="25548" y="2368"/>
                  <a:pt x="25548" y="1578"/>
                  <a:pt x="24774" y="2368"/>
                </a:cubicBezTo>
                <a:cubicBezTo>
                  <a:pt x="24774" y="3157"/>
                  <a:pt x="23225" y="3947"/>
                  <a:pt x="23225" y="3947"/>
                </a:cubicBezTo>
                <a:cubicBezTo>
                  <a:pt x="23225" y="3947"/>
                  <a:pt x="22451" y="3947"/>
                  <a:pt x="22451" y="4736"/>
                </a:cubicBezTo>
                <a:cubicBezTo>
                  <a:pt x="22451" y="4736"/>
                  <a:pt x="21677" y="5526"/>
                  <a:pt x="21677" y="5526"/>
                </a:cubicBezTo>
                <a:cubicBezTo>
                  <a:pt x="21677" y="5526"/>
                  <a:pt x="21677" y="4736"/>
                  <a:pt x="20903" y="4736"/>
                </a:cubicBezTo>
                <a:cubicBezTo>
                  <a:pt x="20903" y="4736"/>
                  <a:pt x="20903" y="4736"/>
                  <a:pt x="20903" y="4736"/>
                </a:cubicBezTo>
                <a:cubicBezTo>
                  <a:pt x="20903" y="4736"/>
                  <a:pt x="19354" y="4736"/>
                  <a:pt x="19354" y="5526"/>
                </a:cubicBezTo>
                <a:cubicBezTo>
                  <a:pt x="19354" y="5526"/>
                  <a:pt x="19354" y="6315"/>
                  <a:pt x="19354" y="7105"/>
                </a:cubicBezTo>
                <a:cubicBezTo>
                  <a:pt x="19354" y="7105"/>
                  <a:pt x="18580" y="7894"/>
                  <a:pt x="18580" y="7894"/>
                </a:cubicBezTo>
                <a:cubicBezTo>
                  <a:pt x="17032" y="8684"/>
                  <a:pt x="17032" y="8684"/>
                  <a:pt x="17032" y="8684"/>
                </a:cubicBezTo>
                <a:cubicBezTo>
                  <a:pt x="17032" y="8684"/>
                  <a:pt x="17032" y="8684"/>
                  <a:pt x="16258" y="8684"/>
                </a:cubicBezTo>
                <a:cubicBezTo>
                  <a:pt x="15483" y="8684"/>
                  <a:pt x="13935" y="8684"/>
                  <a:pt x="13935" y="8684"/>
                </a:cubicBezTo>
                <a:cubicBezTo>
                  <a:pt x="13161" y="8684"/>
                  <a:pt x="12387" y="8684"/>
                  <a:pt x="12387" y="8684"/>
                </a:cubicBezTo>
                <a:cubicBezTo>
                  <a:pt x="12387" y="9473"/>
                  <a:pt x="12387" y="9473"/>
                  <a:pt x="12387" y="9473"/>
                </a:cubicBezTo>
                <a:cubicBezTo>
                  <a:pt x="11612" y="10263"/>
                  <a:pt x="11612" y="10263"/>
                  <a:pt x="11612" y="10263"/>
                </a:cubicBezTo>
                <a:cubicBezTo>
                  <a:pt x="11612" y="10263"/>
                  <a:pt x="10838" y="11842"/>
                  <a:pt x="10064" y="11052"/>
                </a:cubicBezTo>
                <a:cubicBezTo>
                  <a:pt x="10064" y="11052"/>
                  <a:pt x="9290" y="11052"/>
                  <a:pt x="9290" y="11052"/>
                </a:cubicBezTo>
                <a:cubicBezTo>
                  <a:pt x="7741" y="10263"/>
                  <a:pt x="7741" y="10263"/>
                  <a:pt x="7741" y="10263"/>
                </a:cubicBezTo>
                <a:cubicBezTo>
                  <a:pt x="7741" y="10263"/>
                  <a:pt x="6967" y="11052"/>
                  <a:pt x="6967" y="11052"/>
                </a:cubicBezTo>
                <a:cubicBezTo>
                  <a:pt x="6967" y="11052"/>
                  <a:pt x="6193" y="11052"/>
                  <a:pt x="6193" y="11052"/>
                </a:cubicBezTo>
                <a:cubicBezTo>
                  <a:pt x="6193" y="11052"/>
                  <a:pt x="6193" y="11052"/>
                  <a:pt x="6193" y="11052"/>
                </a:cubicBezTo>
                <a:cubicBezTo>
                  <a:pt x="6193" y="11052"/>
                  <a:pt x="6193" y="11842"/>
                  <a:pt x="6967" y="12631"/>
                </a:cubicBezTo>
                <a:cubicBezTo>
                  <a:pt x="6967" y="12631"/>
                  <a:pt x="6967" y="13421"/>
                  <a:pt x="6967" y="14210"/>
                </a:cubicBezTo>
                <a:cubicBezTo>
                  <a:pt x="6967" y="14210"/>
                  <a:pt x="6193" y="15000"/>
                  <a:pt x="6193" y="15000"/>
                </a:cubicBezTo>
                <a:cubicBezTo>
                  <a:pt x="5419" y="15000"/>
                  <a:pt x="4645" y="14210"/>
                  <a:pt x="4645" y="14210"/>
                </a:cubicBezTo>
                <a:cubicBezTo>
                  <a:pt x="4645" y="14210"/>
                  <a:pt x="4645" y="13421"/>
                  <a:pt x="3870" y="13421"/>
                </a:cubicBezTo>
                <a:cubicBezTo>
                  <a:pt x="3870" y="14210"/>
                  <a:pt x="1548" y="15000"/>
                  <a:pt x="1548" y="15000"/>
                </a:cubicBezTo>
                <a:cubicBezTo>
                  <a:pt x="1548" y="16578"/>
                  <a:pt x="1548" y="16578"/>
                  <a:pt x="1548" y="16578"/>
                </a:cubicBezTo>
                <a:cubicBezTo>
                  <a:pt x="0" y="17368"/>
                  <a:pt x="0" y="17368"/>
                  <a:pt x="0" y="17368"/>
                </a:cubicBezTo>
                <a:cubicBezTo>
                  <a:pt x="3870" y="17368"/>
                  <a:pt x="3870" y="17368"/>
                  <a:pt x="3870" y="17368"/>
                </a:cubicBezTo>
                <a:cubicBezTo>
                  <a:pt x="4645" y="17368"/>
                  <a:pt x="4645" y="17368"/>
                  <a:pt x="4645" y="17368"/>
                </a:cubicBezTo>
                <a:cubicBezTo>
                  <a:pt x="6193" y="17368"/>
                  <a:pt x="6193" y="17368"/>
                  <a:pt x="6193" y="17368"/>
                </a:cubicBezTo>
                <a:cubicBezTo>
                  <a:pt x="6967" y="16578"/>
                  <a:pt x="6967" y="16578"/>
                  <a:pt x="6967" y="16578"/>
                </a:cubicBezTo>
                <a:cubicBezTo>
                  <a:pt x="6967" y="16578"/>
                  <a:pt x="7741" y="16578"/>
                  <a:pt x="7741" y="17368"/>
                </a:cubicBezTo>
                <a:cubicBezTo>
                  <a:pt x="7741" y="17368"/>
                  <a:pt x="9290" y="18157"/>
                  <a:pt x="9290" y="18157"/>
                </a:cubicBezTo>
                <a:cubicBezTo>
                  <a:pt x="9290" y="18157"/>
                  <a:pt x="9290" y="18157"/>
                  <a:pt x="9290" y="18157"/>
                </a:cubicBezTo>
                <a:cubicBezTo>
                  <a:pt x="11612" y="17368"/>
                  <a:pt x="11612" y="17368"/>
                  <a:pt x="11612" y="17368"/>
                </a:cubicBezTo>
                <a:cubicBezTo>
                  <a:pt x="11612" y="18157"/>
                  <a:pt x="11612" y="18157"/>
                  <a:pt x="11612" y="18157"/>
                </a:cubicBezTo>
                <a:cubicBezTo>
                  <a:pt x="11612" y="18157"/>
                  <a:pt x="11612" y="18947"/>
                  <a:pt x="12387" y="18947"/>
                </a:cubicBezTo>
                <a:cubicBezTo>
                  <a:pt x="13161" y="18947"/>
                  <a:pt x="13161" y="18947"/>
                  <a:pt x="13161" y="18947"/>
                </a:cubicBezTo>
                <a:cubicBezTo>
                  <a:pt x="13161" y="20526"/>
                  <a:pt x="13161" y="20526"/>
                  <a:pt x="13161" y="20526"/>
                </a:cubicBezTo>
                <a:cubicBezTo>
                  <a:pt x="14709" y="20526"/>
                  <a:pt x="14709" y="20526"/>
                  <a:pt x="14709" y="20526"/>
                </a:cubicBezTo>
                <a:cubicBezTo>
                  <a:pt x="14709" y="20526"/>
                  <a:pt x="15483" y="20526"/>
                  <a:pt x="15483" y="20526"/>
                </a:cubicBezTo>
                <a:cubicBezTo>
                  <a:pt x="15483" y="20526"/>
                  <a:pt x="15483" y="21315"/>
                  <a:pt x="15483" y="21315"/>
                </a:cubicBezTo>
                <a:cubicBezTo>
                  <a:pt x="15483" y="21315"/>
                  <a:pt x="16258" y="22105"/>
                  <a:pt x="17032" y="22894"/>
                </a:cubicBezTo>
                <a:cubicBezTo>
                  <a:pt x="17032" y="22894"/>
                  <a:pt x="17806" y="23684"/>
                  <a:pt x="17806" y="23684"/>
                </a:cubicBezTo>
                <a:cubicBezTo>
                  <a:pt x="18580" y="24473"/>
                  <a:pt x="18580" y="24473"/>
                  <a:pt x="18580" y="24473"/>
                </a:cubicBezTo>
                <a:cubicBezTo>
                  <a:pt x="19354" y="25263"/>
                  <a:pt x="19354" y="25263"/>
                  <a:pt x="19354" y="25263"/>
                </a:cubicBezTo>
                <a:cubicBezTo>
                  <a:pt x="20129" y="26052"/>
                  <a:pt x="20129" y="26052"/>
                  <a:pt x="20129" y="26052"/>
                </a:cubicBezTo>
                <a:cubicBezTo>
                  <a:pt x="20129" y="26052"/>
                  <a:pt x="20129" y="26052"/>
                  <a:pt x="20129" y="26052"/>
                </a:cubicBezTo>
                <a:cubicBezTo>
                  <a:pt x="20129" y="26842"/>
                  <a:pt x="20129" y="27631"/>
                  <a:pt x="20903" y="27631"/>
                </a:cubicBezTo>
                <a:cubicBezTo>
                  <a:pt x="20903" y="27631"/>
                  <a:pt x="20903" y="27631"/>
                  <a:pt x="21677" y="27631"/>
                </a:cubicBezTo>
                <a:cubicBezTo>
                  <a:pt x="21677" y="27631"/>
                  <a:pt x="21677" y="27631"/>
                  <a:pt x="21677" y="28421"/>
                </a:cubicBezTo>
                <a:cubicBezTo>
                  <a:pt x="21677" y="28421"/>
                  <a:pt x="21677" y="28421"/>
                  <a:pt x="22451" y="29210"/>
                </a:cubicBezTo>
                <a:cubicBezTo>
                  <a:pt x="22451" y="29210"/>
                  <a:pt x="23225" y="30000"/>
                  <a:pt x="23225" y="30000"/>
                </a:cubicBezTo>
                <a:cubicBezTo>
                  <a:pt x="23225" y="30000"/>
                  <a:pt x="23225" y="30000"/>
                  <a:pt x="23225" y="30789"/>
                </a:cubicBezTo>
                <a:cubicBezTo>
                  <a:pt x="23225" y="31578"/>
                  <a:pt x="24000" y="32368"/>
                  <a:pt x="24000" y="32368"/>
                </a:cubicBezTo>
                <a:cubicBezTo>
                  <a:pt x="24000" y="33157"/>
                  <a:pt x="24774" y="33157"/>
                  <a:pt x="24774" y="33157"/>
                </a:cubicBezTo>
                <a:cubicBezTo>
                  <a:pt x="24774" y="33157"/>
                  <a:pt x="24774" y="33157"/>
                  <a:pt x="24774" y="33157"/>
                </a:cubicBezTo>
                <a:cubicBezTo>
                  <a:pt x="24774" y="33157"/>
                  <a:pt x="25548" y="33157"/>
                  <a:pt x="25548" y="33947"/>
                </a:cubicBezTo>
                <a:cubicBezTo>
                  <a:pt x="25548" y="34736"/>
                  <a:pt x="24774" y="35526"/>
                  <a:pt x="25548" y="35526"/>
                </a:cubicBezTo>
                <a:cubicBezTo>
                  <a:pt x="25548" y="35526"/>
                  <a:pt x="26322" y="37105"/>
                  <a:pt x="27096" y="37105"/>
                </a:cubicBezTo>
                <a:cubicBezTo>
                  <a:pt x="27870" y="37105"/>
                  <a:pt x="27870" y="37105"/>
                  <a:pt x="27870" y="37105"/>
                </a:cubicBezTo>
                <a:cubicBezTo>
                  <a:pt x="28645" y="37105"/>
                  <a:pt x="28645" y="38684"/>
                  <a:pt x="29419" y="38684"/>
                </a:cubicBezTo>
                <a:cubicBezTo>
                  <a:pt x="29419" y="39473"/>
                  <a:pt x="29419" y="39473"/>
                  <a:pt x="30193" y="39473"/>
                </a:cubicBezTo>
                <a:cubicBezTo>
                  <a:pt x="30967" y="39473"/>
                  <a:pt x="30967" y="39473"/>
                  <a:pt x="30967" y="39473"/>
                </a:cubicBezTo>
                <a:cubicBezTo>
                  <a:pt x="30967" y="39473"/>
                  <a:pt x="30967" y="39473"/>
                  <a:pt x="30967" y="40263"/>
                </a:cubicBezTo>
                <a:cubicBezTo>
                  <a:pt x="31741" y="40263"/>
                  <a:pt x="33290" y="41842"/>
                  <a:pt x="33290" y="41842"/>
                </a:cubicBezTo>
                <a:cubicBezTo>
                  <a:pt x="33290" y="41842"/>
                  <a:pt x="34064" y="42631"/>
                  <a:pt x="34064" y="42631"/>
                </a:cubicBezTo>
                <a:cubicBezTo>
                  <a:pt x="34064" y="42631"/>
                  <a:pt x="34838" y="42631"/>
                  <a:pt x="35612" y="42631"/>
                </a:cubicBezTo>
                <a:cubicBezTo>
                  <a:pt x="35612" y="42631"/>
                  <a:pt x="36387" y="42631"/>
                  <a:pt x="36387" y="43421"/>
                </a:cubicBezTo>
                <a:cubicBezTo>
                  <a:pt x="36387" y="44210"/>
                  <a:pt x="37161" y="44210"/>
                  <a:pt x="37161" y="45000"/>
                </a:cubicBezTo>
                <a:cubicBezTo>
                  <a:pt x="37161" y="45789"/>
                  <a:pt x="37935" y="45789"/>
                  <a:pt x="37935" y="46578"/>
                </a:cubicBezTo>
                <a:cubicBezTo>
                  <a:pt x="37935" y="46578"/>
                  <a:pt x="38709" y="48157"/>
                  <a:pt x="38709" y="48157"/>
                </a:cubicBezTo>
                <a:cubicBezTo>
                  <a:pt x="43354" y="49736"/>
                  <a:pt x="43354" y="49736"/>
                  <a:pt x="43354" y="49736"/>
                </a:cubicBezTo>
                <a:cubicBezTo>
                  <a:pt x="44129" y="51315"/>
                  <a:pt x="44129" y="51315"/>
                  <a:pt x="44129" y="51315"/>
                </a:cubicBezTo>
                <a:cubicBezTo>
                  <a:pt x="44129" y="51315"/>
                  <a:pt x="44903" y="52894"/>
                  <a:pt x="44903" y="52894"/>
                </a:cubicBezTo>
                <a:cubicBezTo>
                  <a:pt x="45677" y="53684"/>
                  <a:pt x="46451" y="53684"/>
                  <a:pt x="46451" y="53684"/>
                </a:cubicBezTo>
                <a:cubicBezTo>
                  <a:pt x="48774" y="56052"/>
                  <a:pt x="48774" y="56052"/>
                  <a:pt x="48774" y="56052"/>
                </a:cubicBezTo>
                <a:cubicBezTo>
                  <a:pt x="51096" y="56842"/>
                  <a:pt x="51096" y="56842"/>
                  <a:pt x="51096" y="56842"/>
                </a:cubicBezTo>
                <a:cubicBezTo>
                  <a:pt x="51096" y="56842"/>
                  <a:pt x="52645" y="57631"/>
                  <a:pt x="53419" y="57631"/>
                </a:cubicBezTo>
                <a:cubicBezTo>
                  <a:pt x="53419" y="57631"/>
                  <a:pt x="54967" y="58421"/>
                  <a:pt x="55741" y="58421"/>
                </a:cubicBezTo>
                <a:cubicBezTo>
                  <a:pt x="55741" y="59210"/>
                  <a:pt x="56516" y="61578"/>
                  <a:pt x="56516" y="61578"/>
                </a:cubicBezTo>
                <a:cubicBezTo>
                  <a:pt x="57290" y="61578"/>
                  <a:pt x="58838" y="63157"/>
                  <a:pt x="58838" y="64736"/>
                </a:cubicBezTo>
                <a:cubicBezTo>
                  <a:pt x="59612" y="65526"/>
                  <a:pt x="59612" y="65526"/>
                  <a:pt x="59612" y="67105"/>
                </a:cubicBezTo>
                <a:cubicBezTo>
                  <a:pt x="60387" y="67894"/>
                  <a:pt x="61935" y="69473"/>
                  <a:pt x="61935" y="69473"/>
                </a:cubicBezTo>
                <a:cubicBezTo>
                  <a:pt x="61935" y="69473"/>
                  <a:pt x="61935" y="69473"/>
                  <a:pt x="62709" y="71052"/>
                </a:cubicBezTo>
                <a:cubicBezTo>
                  <a:pt x="63483" y="71842"/>
                  <a:pt x="64258" y="72631"/>
                  <a:pt x="64258" y="73421"/>
                </a:cubicBezTo>
                <a:cubicBezTo>
                  <a:pt x="64258" y="73421"/>
                  <a:pt x="64258" y="73421"/>
                  <a:pt x="64258" y="74210"/>
                </a:cubicBezTo>
                <a:cubicBezTo>
                  <a:pt x="64258" y="74210"/>
                  <a:pt x="64258" y="75000"/>
                  <a:pt x="64258" y="75000"/>
                </a:cubicBezTo>
                <a:cubicBezTo>
                  <a:pt x="64258" y="75000"/>
                  <a:pt x="65032" y="76578"/>
                  <a:pt x="65032" y="77368"/>
                </a:cubicBezTo>
                <a:cubicBezTo>
                  <a:pt x="65032" y="77368"/>
                  <a:pt x="65806" y="78947"/>
                  <a:pt x="65806" y="78947"/>
                </a:cubicBezTo>
                <a:cubicBezTo>
                  <a:pt x="65806" y="79736"/>
                  <a:pt x="65806" y="79736"/>
                  <a:pt x="65806" y="79736"/>
                </a:cubicBezTo>
                <a:cubicBezTo>
                  <a:pt x="66580" y="82105"/>
                  <a:pt x="66580" y="82105"/>
                  <a:pt x="66580" y="82105"/>
                </a:cubicBezTo>
                <a:cubicBezTo>
                  <a:pt x="65806" y="83684"/>
                  <a:pt x="65806" y="83684"/>
                  <a:pt x="65806" y="83684"/>
                </a:cubicBezTo>
                <a:cubicBezTo>
                  <a:pt x="65806" y="83684"/>
                  <a:pt x="65032" y="84473"/>
                  <a:pt x="65806" y="84473"/>
                </a:cubicBezTo>
                <a:cubicBezTo>
                  <a:pt x="66580" y="84473"/>
                  <a:pt x="67354" y="85263"/>
                  <a:pt x="66580" y="86052"/>
                </a:cubicBezTo>
                <a:cubicBezTo>
                  <a:pt x="66580" y="86052"/>
                  <a:pt x="65806" y="87631"/>
                  <a:pt x="65806" y="87631"/>
                </a:cubicBezTo>
                <a:cubicBezTo>
                  <a:pt x="65806" y="88421"/>
                  <a:pt x="65806" y="88421"/>
                  <a:pt x="65806" y="88421"/>
                </a:cubicBezTo>
                <a:cubicBezTo>
                  <a:pt x="65032" y="90000"/>
                  <a:pt x="65032" y="90000"/>
                  <a:pt x="65032" y="90000"/>
                </a:cubicBezTo>
                <a:cubicBezTo>
                  <a:pt x="65032" y="90000"/>
                  <a:pt x="66580" y="90789"/>
                  <a:pt x="66580" y="90789"/>
                </a:cubicBezTo>
                <a:cubicBezTo>
                  <a:pt x="66580" y="91578"/>
                  <a:pt x="67354" y="92368"/>
                  <a:pt x="66580" y="93157"/>
                </a:cubicBezTo>
                <a:cubicBezTo>
                  <a:pt x="66580" y="93157"/>
                  <a:pt x="66580" y="94736"/>
                  <a:pt x="66580" y="94736"/>
                </a:cubicBezTo>
                <a:cubicBezTo>
                  <a:pt x="66580" y="94736"/>
                  <a:pt x="66580" y="96315"/>
                  <a:pt x="66580" y="96315"/>
                </a:cubicBezTo>
                <a:cubicBezTo>
                  <a:pt x="66580" y="96315"/>
                  <a:pt x="68129" y="97105"/>
                  <a:pt x="67354" y="97894"/>
                </a:cubicBezTo>
                <a:cubicBezTo>
                  <a:pt x="67354" y="97894"/>
                  <a:pt x="67354" y="98684"/>
                  <a:pt x="67354" y="99473"/>
                </a:cubicBezTo>
                <a:cubicBezTo>
                  <a:pt x="68129" y="101052"/>
                  <a:pt x="69677" y="103421"/>
                  <a:pt x="69677" y="103421"/>
                </a:cubicBezTo>
                <a:cubicBezTo>
                  <a:pt x="69677" y="103421"/>
                  <a:pt x="70451" y="105000"/>
                  <a:pt x="70451" y="105000"/>
                </a:cubicBezTo>
                <a:cubicBezTo>
                  <a:pt x="70451" y="105789"/>
                  <a:pt x="69677" y="105789"/>
                  <a:pt x="70451" y="106578"/>
                </a:cubicBezTo>
                <a:cubicBezTo>
                  <a:pt x="70451" y="106578"/>
                  <a:pt x="69677" y="107368"/>
                  <a:pt x="70451" y="107368"/>
                </a:cubicBezTo>
                <a:cubicBezTo>
                  <a:pt x="71225" y="108157"/>
                  <a:pt x="72000" y="109736"/>
                  <a:pt x="72000" y="109736"/>
                </a:cubicBezTo>
                <a:cubicBezTo>
                  <a:pt x="72000" y="109736"/>
                  <a:pt x="72000" y="109736"/>
                  <a:pt x="72774" y="110526"/>
                </a:cubicBezTo>
                <a:cubicBezTo>
                  <a:pt x="72774" y="111315"/>
                  <a:pt x="72774" y="112894"/>
                  <a:pt x="72774" y="112894"/>
                </a:cubicBezTo>
                <a:cubicBezTo>
                  <a:pt x="72774" y="113684"/>
                  <a:pt x="73548" y="113684"/>
                  <a:pt x="72774" y="113684"/>
                </a:cubicBezTo>
                <a:cubicBezTo>
                  <a:pt x="72774" y="113684"/>
                  <a:pt x="72000" y="114473"/>
                  <a:pt x="72000" y="114473"/>
                </a:cubicBezTo>
                <a:cubicBezTo>
                  <a:pt x="71225" y="116052"/>
                  <a:pt x="71225" y="116052"/>
                  <a:pt x="71225" y="116052"/>
                </a:cubicBezTo>
                <a:cubicBezTo>
                  <a:pt x="71225" y="116052"/>
                  <a:pt x="72000" y="116842"/>
                  <a:pt x="72774" y="116842"/>
                </a:cubicBezTo>
                <a:cubicBezTo>
                  <a:pt x="72774" y="116842"/>
                  <a:pt x="73548" y="116842"/>
                  <a:pt x="73548" y="116842"/>
                </a:cubicBezTo>
                <a:cubicBezTo>
                  <a:pt x="75096" y="118421"/>
                  <a:pt x="75096" y="118421"/>
                  <a:pt x="75096" y="118421"/>
                </a:cubicBezTo>
                <a:cubicBezTo>
                  <a:pt x="75096" y="120000"/>
                  <a:pt x="75096" y="120000"/>
                  <a:pt x="75096" y="120000"/>
                </a:cubicBezTo>
                <a:lnTo>
                  <a:pt x="76645" y="120000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" name="Google Shape;3030;p256">
            <a:extLst>
              <a:ext uri="{FF2B5EF4-FFF2-40B4-BE49-F238E27FC236}">
                <a16:creationId xmlns:a16="http://schemas.microsoft.com/office/drawing/2014/main" id="{5B743CCE-E10A-1635-6A9C-3344013D749D}"/>
              </a:ext>
            </a:extLst>
          </p:cNvPr>
          <p:cNvSpPr/>
          <p:nvPr/>
        </p:nvSpPr>
        <p:spPr>
          <a:xfrm>
            <a:off x="7706669" y="3494544"/>
            <a:ext cx="473245" cy="38698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30" y="19816"/>
                </a:moveTo>
                <a:cubicBezTo>
                  <a:pt x="930" y="19816"/>
                  <a:pt x="19534" y="6605"/>
                  <a:pt x="19534" y="6605"/>
                </a:cubicBezTo>
                <a:cubicBezTo>
                  <a:pt x="25116" y="5504"/>
                  <a:pt x="25116" y="5504"/>
                  <a:pt x="25116" y="5504"/>
                </a:cubicBezTo>
                <a:cubicBezTo>
                  <a:pt x="27906" y="5504"/>
                  <a:pt x="27906" y="5504"/>
                  <a:pt x="27906" y="5504"/>
                </a:cubicBezTo>
                <a:cubicBezTo>
                  <a:pt x="28837" y="4403"/>
                  <a:pt x="28837" y="4403"/>
                  <a:pt x="28837" y="4403"/>
                </a:cubicBezTo>
                <a:cubicBezTo>
                  <a:pt x="28837" y="4403"/>
                  <a:pt x="29767" y="7706"/>
                  <a:pt x="30697" y="7706"/>
                </a:cubicBezTo>
                <a:cubicBezTo>
                  <a:pt x="30697" y="7706"/>
                  <a:pt x="32558" y="9908"/>
                  <a:pt x="32558" y="8807"/>
                </a:cubicBezTo>
                <a:cubicBezTo>
                  <a:pt x="33488" y="7706"/>
                  <a:pt x="33488" y="6605"/>
                  <a:pt x="34418" y="6605"/>
                </a:cubicBezTo>
                <a:cubicBezTo>
                  <a:pt x="34418" y="5504"/>
                  <a:pt x="35348" y="4403"/>
                  <a:pt x="37209" y="5504"/>
                </a:cubicBezTo>
                <a:cubicBezTo>
                  <a:pt x="38139" y="6605"/>
                  <a:pt x="38139" y="11009"/>
                  <a:pt x="38139" y="11009"/>
                </a:cubicBezTo>
                <a:cubicBezTo>
                  <a:pt x="45581" y="13211"/>
                  <a:pt x="40930" y="14311"/>
                  <a:pt x="51162" y="11009"/>
                </a:cubicBezTo>
                <a:cubicBezTo>
                  <a:pt x="51162" y="11009"/>
                  <a:pt x="53023" y="8807"/>
                  <a:pt x="53023" y="8807"/>
                </a:cubicBezTo>
                <a:cubicBezTo>
                  <a:pt x="53023" y="7706"/>
                  <a:pt x="52093" y="5504"/>
                  <a:pt x="53953" y="6605"/>
                </a:cubicBezTo>
                <a:cubicBezTo>
                  <a:pt x="54883" y="7706"/>
                  <a:pt x="55813" y="7706"/>
                  <a:pt x="56744" y="7706"/>
                </a:cubicBezTo>
                <a:cubicBezTo>
                  <a:pt x="57674" y="7706"/>
                  <a:pt x="59534" y="7706"/>
                  <a:pt x="59534" y="7706"/>
                </a:cubicBezTo>
                <a:cubicBezTo>
                  <a:pt x="59534" y="7706"/>
                  <a:pt x="60465" y="6605"/>
                  <a:pt x="59534" y="5504"/>
                </a:cubicBezTo>
                <a:cubicBezTo>
                  <a:pt x="59534" y="4403"/>
                  <a:pt x="58604" y="3302"/>
                  <a:pt x="59534" y="3302"/>
                </a:cubicBezTo>
                <a:cubicBezTo>
                  <a:pt x="59534" y="2201"/>
                  <a:pt x="61395" y="1100"/>
                  <a:pt x="61395" y="1100"/>
                </a:cubicBezTo>
                <a:cubicBezTo>
                  <a:pt x="61395" y="1100"/>
                  <a:pt x="62325" y="1100"/>
                  <a:pt x="62325" y="2201"/>
                </a:cubicBezTo>
                <a:cubicBezTo>
                  <a:pt x="63255" y="3302"/>
                  <a:pt x="63255" y="3302"/>
                  <a:pt x="63255" y="4403"/>
                </a:cubicBezTo>
                <a:cubicBezTo>
                  <a:pt x="64186" y="4403"/>
                  <a:pt x="64186" y="5504"/>
                  <a:pt x="65116" y="5504"/>
                </a:cubicBezTo>
                <a:cubicBezTo>
                  <a:pt x="66976" y="5504"/>
                  <a:pt x="66976" y="5504"/>
                  <a:pt x="67906" y="4403"/>
                </a:cubicBezTo>
                <a:cubicBezTo>
                  <a:pt x="68837" y="3302"/>
                  <a:pt x="68837" y="3302"/>
                  <a:pt x="69767" y="2201"/>
                </a:cubicBezTo>
                <a:cubicBezTo>
                  <a:pt x="70697" y="0"/>
                  <a:pt x="70697" y="0"/>
                  <a:pt x="71627" y="1100"/>
                </a:cubicBezTo>
                <a:cubicBezTo>
                  <a:pt x="72558" y="1100"/>
                  <a:pt x="74418" y="2201"/>
                  <a:pt x="74418" y="2201"/>
                </a:cubicBezTo>
                <a:cubicBezTo>
                  <a:pt x="72558" y="4403"/>
                  <a:pt x="72558" y="4403"/>
                  <a:pt x="72558" y="4403"/>
                </a:cubicBezTo>
                <a:cubicBezTo>
                  <a:pt x="72558" y="4403"/>
                  <a:pt x="71627" y="4403"/>
                  <a:pt x="73488" y="5504"/>
                </a:cubicBezTo>
                <a:cubicBezTo>
                  <a:pt x="76279" y="6605"/>
                  <a:pt x="77209" y="6605"/>
                  <a:pt x="77209" y="6605"/>
                </a:cubicBezTo>
                <a:cubicBezTo>
                  <a:pt x="79069" y="3302"/>
                  <a:pt x="79069" y="3302"/>
                  <a:pt x="79069" y="3302"/>
                </a:cubicBezTo>
                <a:cubicBezTo>
                  <a:pt x="79069" y="3302"/>
                  <a:pt x="79069" y="1100"/>
                  <a:pt x="80000" y="3302"/>
                </a:cubicBezTo>
                <a:cubicBezTo>
                  <a:pt x="80000" y="4403"/>
                  <a:pt x="80930" y="6605"/>
                  <a:pt x="80930" y="6605"/>
                </a:cubicBezTo>
                <a:cubicBezTo>
                  <a:pt x="80930" y="6605"/>
                  <a:pt x="80930" y="9908"/>
                  <a:pt x="81860" y="9908"/>
                </a:cubicBezTo>
                <a:cubicBezTo>
                  <a:pt x="82790" y="9908"/>
                  <a:pt x="82790" y="8807"/>
                  <a:pt x="82790" y="9908"/>
                </a:cubicBezTo>
                <a:cubicBezTo>
                  <a:pt x="82790" y="11009"/>
                  <a:pt x="81860" y="11009"/>
                  <a:pt x="82790" y="11009"/>
                </a:cubicBezTo>
                <a:cubicBezTo>
                  <a:pt x="82790" y="12110"/>
                  <a:pt x="84651" y="12110"/>
                  <a:pt x="84651" y="12110"/>
                </a:cubicBezTo>
                <a:cubicBezTo>
                  <a:pt x="84651" y="12110"/>
                  <a:pt x="85581" y="12110"/>
                  <a:pt x="85581" y="13211"/>
                </a:cubicBezTo>
                <a:cubicBezTo>
                  <a:pt x="85581" y="14311"/>
                  <a:pt x="85581" y="15412"/>
                  <a:pt x="85581" y="15412"/>
                </a:cubicBezTo>
                <a:cubicBezTo>
                  <a:pt x="85581" y="15412"/>
                  <a:pt x="88372" y="15412"/>
                  <a:pt x="88372" y="15412"/>
                </a:cubicBezTo>
                <a:cubicBezTo>
                  <a:pt x="89302" y="15412"/>
                  <a:pt x="90232" y="16513"/>
                  <a:pt x="91162" y="16513"/>
                </a:cubicBezTo>
                <a:cubicBezTo>
                  <a:pt x="92093" y="15412"/>
                  <a:pt x="93023" y="14311"/>
                  <a:pt x="93023" y="14311"/>
                </a:cubicBezTo>
                <a:cubicBezTo>
                  <a:pt x="93023" y="15412"/>
                  <a:pt x="94883" y="15412"/>
                  <a:pt x="94883" y="16513"/>
                </a:cubicBezTo>
                <a:cubicBezTo>
                  <a:pt x="93953" y="18715"/>
                  <a:pt x="93023" y="18715"/>
                  <a:pt x="94883" y="19816"/>
                </a:cubicBezTo>
                <a:cubicBezTo>
                  <a:pt x="96744" y="19816"/>
                  <a:pt x="98604" y="20917"/>
                  <a:pt x="99534" y="20917"/>
                </a:cubicBezTo>
                <a:cubicBezTo>
                  <a:pt x="100465" y="22018"/>
                  <a:pt x="103255" y="23119"/>
                  <a:pt x="103255" y="23119"/>
                </a:cubicBezTo>
                <a:cubicBezTo>
                  <a:pt x="104186" y="23119"/>
                  <a:pt x="105116" y="23119"/>
                  <a:pt x="105116" y="24220"/>
                </a:cubicBezTo>
                <a:cubicBezTo>
                  <a:pt x="105116" y="25321"/>
                  <a:pt x="103255" y="27522"/>
                  <a:pt x="103255" y="27522"/>
                </a:cubicBezTo>
                <a:cubicBezTo>
                  <a:pt x="103255" y="27522"/>
                  <a:pt x="102325" y="28623"/>
                  <a:pt x="102325" y="29724"/>
                </a:cubicBezTo>
                <a:cubicBezTo>
                  <a:pt x="102325" y="29724"/>
                  <a:pt x="101395" y="33027"/>
                  <a:pt x="101395" y="33027"/>
                </a:cubicBezTo>
                <a:cubicBezTo>
                  <a:pt x="100465" y="34128"/>
                  <a:pt x="99534" y="36330"/>
                  <a:pt x="99534" y="36330"/>
                </a:cubicBezTo>
                <a:cubicBezTo>
                  <a:pt x="99534" y="36330"/>
                  <a:pt x="98604" y="38532"/>
                  <a:pt x="97674" y="38532"/>
                </a:cubicBezTo>
                <a:cubicBezTo>
                  <a:pt x="97674" y="38532"/>
                  <a:pt x="96744" y="39633"/>
                  <a:pt x="96744" y="39633"/>
                </a:cubicBezTo>
                <a:cubicBezTo>
                  <a:pt x="96744" y="40733"/>
                  <a:pt x="96744" y="42935"/>
                  <a:pt x="96744" y="42935"/>
                </a:cubicBezTo>
                <a:cubicBezTo>
                  <a:pt x="97674" y="45137"/>
                  <a:pt x="97674" y="45137"/>
                  <a:pt x="97674" y="45137"/>
                </a:cubicBezTo>
                <a:cubicBezTo>
                  <a:pt x="97674" y="47339"/>
                  <a:pt x="97674" y="47339"/>
                  <a:pt x="97674" y="47339"/>
                </a:cubicBezTo>
                <a:cubicBezTo>
                  <a:pt x="101395" y="46238"/>
                  <a:pt x="101395" y="46238"/>
                  <a:pt x="101395" y="46238"/>
                </a:cubicBezTo>
                <a:cubicBezTo>
                  <a:pt x="101395" y="46238"/>
                  <a:pt x="101395" y="46238"/>
                  <a:pt x="102325" y="47339"/>
                </a:cubicBezTo>
                <a:cubicBezTo>
                  <a:pt x="104186" y="47339"/>
                  <a:pt x="105116" y="46238"/>
                  <a:pt x="106046" y="46238"/>
                </a:cubicBezTo>
                <a:cubicBezTo>
                  <a:pt x="106046" y="46238"/>
                  <a:pt x="107906" y="48440"/>
                  <a:pt x="107906" y="48440"/>
                </a:cubicBezTo>
                <a:cubicBezTo>
                  <a:pt x="107906" y="48440"/>
                  <a:pt x="108837" y="49541"/>
                  <a:pt x="108837" y="49541"/>
                </a:cubicBezTo>
                <a:cubicBezTo>
                  <a:pt x="109767" y="49541"/>
                  <a:pt x="111627" y="50642"/>
                  <a:pt x="111627" y="50642"/>
                </a:cubicBezTo>
                <a:cubicBezTo>
                  <a:pt x="111627" y="53944"/>
                  <a:pt x="111627" y="53944"/>
                  <a:pt x="111627" y="53944"/>
                </a:cubicBezTo>
                <a:cubicBezTo>
                  <a:pt x="111627" y="53944"/>
                  <a:pt x="113488" y="53944"/>
                  <a:pt x="113488" y="53944"/>
                </a:cubicBezTo>
                <a:cubicBezTo>
                  <a:pt x="114418" y="53944"/>
                  <a:pt x="115348" y="55045"/>
                  <a:pt x="115348" y="55045"/>
                </a:cubicBezTo>
                <a:cubicBezTo>
                  <a:pt x="115348" y="55045"/>
                  <a:pt x="115348" y="58348"/>
                  <a:pt x="114418" y="58348"/>
                </a:cubicBezTo>
                <a:cubicBezTo>
                  <a:pt x="114418" y="59449"/>
                  <a:pt x="113488" y="60550"/>
                  <a:pt x="113488" y="60550"/>
                </a:cubicBezTo>
                <a:cubicBezTo>
                  <a:pt x="113488" y="60550"/>
                  <a:pt x="114418" y="62752"/>
                  <a:pt x="115348" y="62752"/>
                </a:cubicBezTo>
                <a:cubicBezTo>
                  <a:pt x="115348" y="62752"/>
                  <a:pt x="117209" y="62752"/>
                  <a:pt x="117209" y="62752"/>
                </a:cubicBezTo>
                <a:cubicBezTo>
                  <a:pt x="118139" y="62752"/>
                  <a:pt x="119069" y="64954"/>
                  <a:pt x="119069" y="64954"/>
                </a:cubicBezTo>
                <a:cubicBezTo>
                  <a:pt x="119069" y="64954"/>
                  <a:pt x="120000" y="66055"/>
                  <a:pt x="120000" y="67155"/>
                </a:cubicBezTo>
                <a:cubicBezTo>
                  <a:pt x="120000" y="68256"/>
                  <a:pt x="119069" y="70458"/>
                  <a:pt x="119069" y="70458"/>
                </a:cubicBezTo>
                <a:cubicBezTo>
                  <a:pt x="119069" y="70458"/>
                  <a:pt x="119069" y="71559"/>
                  <a:pt x="119069" y="72660"/>
                </a:cubicBezTo>
                <a:cubicBezTo>
                  <a:pt x="119069" y="72660"/>
                  <a:pt x="118139" y="73761"/>
                  <a:pt x="118139" y="73761"/>
                </a:cubicBezTo>
                <a:cubicBezTo>
                  <a:pt x="116279" y="73761"/>
                  <a:pt x="116279" y="73761"/>
                  <a:pt x="116279" y="73761"/>
                </a:cubicBezTo>
                <a:cubicBezTo>
                  <a:pt x="116279" y="73761"/>
                  <a:pt x="116279" y="77064"/>
                  <a:pt x="115348" y="77064"/>
                </a:cubicBezTo>
                <a:cubicBezTo>
                  <a:pt x="115348" y="77064"/>
                  <a:pt x="114418" y="77064"/>
                  <a:pt x="114418" y="77064"/>
                </a:cubicBezTo>
                <a:cubicBezTo>
                  <a:pt x="113488" y="77064"/>
                  <a:pt x="112558" y="78165"/>
                  <a:pt x="112558" y="78165"/>
                </a:cubicBezTo>
                <a:cubicBezTo>
                  <a:pt x="112558" y="79266"/>
                  <a:pt x="112558" y="79266"/>
                  <a:pt x="112558" y="79266"/>
                </a:cubicBezTo>
                <a:cubicBezTo>
                  <a:pt x="111627" y="81467"/>
                  <a:pt x="111627" y="81467"/>
                  <a:pt x="111627" y="81467"/>
                </a:cubicBezTo>
                <a:cubicBezTo>
                  <a:pt x="111627" y="81467"/>
                  <a:pt x="111627" y="81467"/>
                  <a:pt x="110697" y="81467"/>
                </a:cubicBezTo>
                <a:cubicBezTo>
                  <a:pt x="110697" y="81467"/>
                  <a:pt x="110697" y="81467"/>
                  <a:pt x="109767" y="81467"/>
                </a:cubicBezTo>
                <a:cubicBezTo>
                  <a:pt x="109767" y="82568"/>
                  <a:pt x="108837" y="82568"/>
                  <a:pt x="108837" y="82568"/>
                </a:cubicBezTo>
                <a:cubicBezTo>
                  <a:pt x="108837" y="82568"/>
                  <a:pt x="107906" y="81467"/>
                  <a:pt x="106976" y="81467"/>
                </a:cubicBezTo>
                <a:cubicBezTo>
                  <a:pt x="106976" y="81467"/>
                  <a:pt x="106046" y="81467"/>
                  <a:pt x="106046" y="82568"/>
                </a:cubicBezTo>
                <a:cubicBezTo>
                  <a:pt x="105116" y="83669"/>
                  <a:pt x="105116" y="84770"/>
                  <a:pt x="104186" y="84770"/>
                </a:cubicBezTo>
                <a:cubicBezTo>
                  <a:pt x="104186" y="84770"/>
                  <a:pt x="103255" y="85871"/>
                  <a:pt x="103255" y="85871"/>
                </a:cubicBezTo>
                <a:cubicBezTo>
                  <a:pt x="103255" y="85871"/>
                  <a:pt x="103255" y="88073"/>
                  <a:pt x="102325" y="88073"/>
                </a:cubicBezTo>
                <a:cubicBezTo>
                  <a:pt x="102325" y="89174"/>
                  <a:pt x="101395" y="90275"/>
                  <a:pt x="101395" y="90275"/>
                </a:cubicBezTo>
                <a:cubicBezTo>
                  <a:pt x="101395" y="90275"/>
                  <a:pt x="101395" y="91376"/>
                  <a:pt x="101395" y="91376"/>
                </a:cubicBezTo>
                <a:cubicBezTo>
                  <a:pt x="101395" y="92477"/>
                  <a:pt x="101395" y="93577"/>
                  <a:pt x="100465" y="94678"/>
                </a:cubicBezTo>
                <a:cubicBezTo>
                  <a:pt x="99534" y="94678"/>
                  <a:pt x="97674" y="96880"/>
                  <a:pt x="97674" y="96880"/>
                </a:cubicBezTo>
                <a:cubicBezTo>
                  <a:pt x="97674" y="96880"/>
                  <a:pt x="97674" y="96880"/>
                  <a:pt x="97674" y="97981"/>
                </a:cubicBezTo>
                <a:cubicBezTo>
                  <a:pt x="98604" y="97981"/>
                  <a:pt x="98604" y="99082"/>
                  <a:pt x="98604" y="99082"/>
                </a:cubicBezTo>
                <a:cubicBezTo>
                  <a:pt x="98604" y="101284"/>
                  <a:pt x="98604" y="101284"/>
                  <a:pt x="98604" y="101284"/>
                </a:cubicBezTo>
                <a:cubicBezTo>
                  <a:pt x="98604" y="101284"/>
                  <a:pt x="97674" y="102385"/>
                  <a:pt x="97674" y="103486"/>
                </a:cubicBezTo>
                <a:cubicBezTo>
                  <a:pt x="98604" y="103486"/>
                  <a:pt x="98604" y="103486"/>
                  <a:pt x="98604" y="103486"/>
                </a:cubicBezTo>
                <a:cubicBezTo>
                  <a:pt x="99534" y="105688"/>
                  <a:pt x="99534" y="105688"/>
                  <a:pt x="99534" y="105688"/>
                </a:cubicBezTo>
                <a:cubicBezTo>
                  <a:pt x="100465" y="107889"/>
                  <a:pt x="100465" y="107889"/>
                  <a:pt x="100465" y="107889"/>
                </a:cubicBezTo>
                <a:cubicBezTo>
                  <a:pt x="101395" y="107889"/>
                  <a:pt x="101395" y="107889"/>
                  <a:pt x="101395" y="107889"/>
                </a:cubicBezTo>
                <a:cubicBezTo>
                  <a:pt x="101395" y="107889"/>
                  <a:pt x="102325" y="110091"/>
                  <a:pt x="102325" y="111192"/>
                </a:cubicBezTo>
                <a:cubicBezTo>
                  <a:pt x="102325" y="111192"/>
                  <a:pt x="102325" y="113394"/>
                  <a:pt x="102325" y="113394"/>
                </a:cubicBezTo>
                <a:cubicBezTo>
                  <a:pt x="100465" y="115596"/>
                  <a:pt x="100465" y="115596"/>
                  <a:pt x="100465" y="115596"/>
                </a:cubicBezTo>
                <a:cubicBezTo>
                  <a:pt x="99534" y="117798"/>
                  <a:pt x="99534" y="117798"/>
                  <a:pt x="99534" y="117798"/>
                </a:cubicBezTo>
                <a:cubicBezTo>
                  <a:pt x="99534" y="117798"/>
                  <a:pt x="98604" y="117798"/>
                  <a:pt x="98604" y="117798"/>
                </a:cubicBezTo>
                <a:cubicBezTo>
                  <a:pt x="97674" y="117798"/>
                  <a:pt x="96744" y="117798"/>
                  <a:pt x="96744" y="117798"/>
                </a:cubicBezTo>
                <a:cubicBezTo>
                  <a:pt x="95813" y="118899"/>
                  <a:pt x="95813" y="118899"/>
                  <a:pt x="95813" y="118899"/>
                </a:cubicBezTo>
                <a:cubicBezTo>
                  <a:pt x="93953" y="118899"/>
                  <a:pt x="93953" y="118899"/>
                  <a:pt x="93953" y="118899"/>
                </a:cubicBezTo>
                <a:cubicBezTo>
                  <a:pt x="92093" y="120000"/>
                  <a:pt x="92093" y="120000"/>
                  <a:pt x="92093" y="120000"/>
                </a:cubicBezTo>
                <a:cubicBezTo>
                  <a:pt x="89302" y="120000"/>
                  <a:pt x="89302" y="120000"/>
                  <a:pt x="89302" y="120000"/>
                </a:cubicBezTo>
                <a:cubicBezTo>
                  <a:pt x="88372" y="117798"/>
                  <a:pt x="88372" y="117798"/>
                  <a:pt x="88372" y="117798"/>
                </a:cubicBezTo>
                <a:cubicBezTo>
                  <a:pt x="87441" y="115596"/>
                  <a:pt x="87441" y="115596"/>
                  <a:pt x="87441" y="115596"/>
                </a:cubicBezTo>
                <a:cubicBezTo>
                  <a:pt x="86511" y="114495"/>
                  <a:pt x="86511" y="114495"/>
                  <a:pt x="86511" y="114495"/>
                </a:cubicBezTo>
                <a:cubicBezTo>
                  <a:pt x="85581" y="114495"/>
                  <a:pt x="85581" y="114495"/>
                  <a:pt x="85581" y="114495"/>
                </a:cubicBezTo>
                <a:cubicBezTo>
                  <a:pt x="82790" y="113394"/>
                  <a:pt x="82790" y="113394"/>
                  <a:pt x="82790" y="113394"/>
                </a:cubicBezTo>
                <a:cubicBezTo>
                  <a:pt x="83720" y="111192"/>
                  <a:pt x="83720" y="111192"/>
                  <a:pt x="83720" y="111192"/>
                </a:cubicBezTo>
                <a:cubicBezTo>
                  <a:pt x="83720" y="111192"/>
                  <a:pt x="82790" y="108990"/>
                  <a:pt x="82790" y="108990"/>
                </a:cubicBezTo>
                <a:cubicBezTo>
                  <a:pt x="81860" y="108990"/>
                  <a:pt x="80930" y="108990"/>
                  <a:pt x="80930" y="108990"/>
                </a:cubicBezTo>
                <a:cubicBezTo>
                  <a:pt x="79069" y="106788"/>
                  <a:pt x="79069" y="106788"/>
                  <a:pt x="79069" y="106788"/>
                </a:cubicBezTo>
                <a:cubicBezTo>
                  <a:pt x="79069" y="106788"/>
                  <a:pt x="79069" y="105688"/>
                  <a:pt x="78139" y="104587"/>
                </a:cubicBezTo>
                <a:cubicBezTo>
                  <a:pt x="77209" y="104587"/>
                  <a:pt x="77209" y="103486"/>
                  <a:pt x="76279" y="103486"/>
                </a:cubicBezTo>
                <a:cubicBezTo>
                  <a:pt x="75348" y="103486"/>
                  <a:pt x="73488" y="103486"/>
                  <a:pt x="73488" y="103486"/>
                </a:cubicBezTo>
                <a:cubicBezTo>
                  <a:pt x="73488" y="103486"/>
                  <a:pt x="72558" y="101284"/>
                  <a:pt x="71627" y="101284"/>
                </a:cubicBezTo>
                <a:cubicBezTo>
                  <a:pt x="71627" y="101284"/>
                  <a:pt x="67906" y="101284"/>
                  <a:pt x="67906" y="101284"/>
                </a:cubicBezTo>
                <a:cubicBezTo>
                  <a:pt x="67906" y="101284"/>
                  <a:pt x="68837" y="97981"/>
                  <a:pt x="68837" y="97981"/>
                </a:cubicBezTo>
                <a:cubicBezTo>
                  <a:pt x="68837" y="96880"/>
                  <a:pt x="68837" y="93577"/>
                  <a:pt x="68837" y="93577"/>
                </a:cubicBezTo>
                <a:cubicBezTo>
                  <a:pt x="68837" y="92477"/>
                  <a:pt x="68837" y="92477"/>
                  <a:pt x="68837" y="92477"/>
                </a:cubicBezTo>
                <a:cubicBezTo>
                  <a:pt x="68837" y="92477"/>
                  <a:pt x="67906" y="91376"/>
                  <a:pt x="68837" y="89174"/>
                </a:cubicBezTo>
                <a:cubicBezTo>
                  <a:pt x="69767" y="86972"/>
                  <a:pt x="68837" y="88073"/>
                  <a:pt x="69767" y="85871"/>
                </a:cubicBezTo>
                <a:cubicBezTo>
                  <a:pt x="70697" y="82568"/>
                  <a:pt x="70697" y="81467"/>
                  <a:pt x="70697" y="81467"/>
                </a:cubicBezTo>
                <a:cubicBezTo>
                  <a:pt x="68837" y="80366"/>
                  <a:pt x="68837" y="80366"/>
                  <a:pt x="68837" y="80366"/>
                </a:cubicBezTo>
                <a:cubicBezTo>
                  <a:pt x="68837" y="80366"/>
                  <a:pt x="67906" y="79266"/>
                  <a:pt x="66976" y="80366"/>
                </a:cubicBezTo>
                <a:cubicBezTo>
                  <a:pt x="66976" y="82568"/>
                  <a:pt x="66046" y="82568"/>
                  <a:pt x="66046" y="82568"/>
                </a:cubicBezTo>
                <a:cubicBezTo>
                  <a:pt x="64186" y="85871"/>
                  <a:pt x="64186" y="85871"/>
                  <a:pt x="64186" y="85871"/>
                </a:cubicBezTo>
                <a:cubicBezTo>
                  <a:pt x="64186" y="89174"/>
                  <a:pt x="64186" y="89174"/>
                  <a:pt x="64186" y="89174"/>
                </a:cubicBezTo>
                <a:cubicBezTo>
                  <a:pt x="64186" y="89174"/>
                  <a:pt x="65116" y="90275"/>
                  <a:pt x="62325" y="90275"/>
                </a:cubicBezTo>
                <a:cubicBezTo>
                  <a:pt x="60465" y="90275"/>
                  <a:pt x="58604" y="90275"/>
                  <a:pt x="58604" y="90275"/>
                </a:cubicBezTo>
                <a:cubicBezTo>
                  <a:pt x="58604" y="90275"/>
                  <a:pt x="60465" y="92477"/>
                  <a:pt x="58604" y="92477"/>
                </a:cubicBezTo>
                <a:cubicBezTo>
                  <a:pt x="55813" y="92477"/>
                  <a:pt x="53023" y="92477"/>
                  <a:pt x="53023" y="92477"/>
                </a:cubicBezTo>
                <a:cubicBezTo>
                  <a:pt x="51162" y="90275"/>
                  <a:pt x="51162" y="90275"/>
                  <a:pt x="51162" y="90275"/>
                </a:cubicBezTo>
                <a:cubicBezTo>
                  <a:pt x="47441" y="91376"/>
                  <a:pt x="47441" y="91376"/>
                  <a:pt x="47441" y="91376"/>
                </a:cubicBezTo>
                <a:cubicBezTo>
                  <a:pt x="47441" y="91376"/>
                  <a:pt x="47441" y="90275"/>
                  <a:pt x="47441" y="88073"/>
                </a:cubicBezTo>
                <a:cubicBezTo>
                  <a:pt x="47441" y="86972"/>
                  <a:pt x="46511" y="84770"/>
                  <a:pt x="47441" y="84770"/>
                </a:cubicBezTo>
                <a:cubicBezTo>
                  <a:pt x="48372" y="84770"/>
                  <a:pt x="49302" y="83669"/>
                  <a:pt x="49302" y="83669"/>
                </a:cubicBezTo>
                <a:cubicBezTo>
                  <a:pt x="48372" y="80366"/>
                  <a:pt x="48372" y="80366"/>
                  <a:pt x="48372" y="80366"/>
                </a:cubicBezTo>
                <a:cubicBezTo>
                  <a:pt x="48372" y="80366"/>
                  <a:pt x="48372" y="80366"/>
                  <a:pt x="48372" y="80366"/>
                </a:cubicBezTo>
                <a:cubicBezTo>
                  <a:pt x="48372" y="80366"/>
                  <a:pt x="47441" y="80366"/>
                  <a:pt x="47441" y="79266"/>
                </a:cubicBezTo>
                <a:cubicBezTo>
                  <a:pt x="47441" y="78165"/>
                  <a:pt x="48372" y="75963"/>
                  <a:pt x="48372" y="75963"/>
                </a:cubicBezTo>
                <a:cubicBezTo>
                  <a:pt x="49302" y="74862"/>
                  <a:pt x="49302" y="72660"/>
                  <a:pt x="49302" y="72660"/>
                </a:cubicBezTo>
                <a:cubicBezTo>
                  <a:pt x="48372" y="72660"/>
                  <a:pt x="48372" y="72660"/>
                  <a:pt x="48372" y="72660"/>
                </a:cubicBezTo>
                <a:cubicBezTo>
                  <a:pt x="48372" y="72660"/>
                  <a:pt x="46511" y="73761"/>
                  <a:pt x="46511" y="71559"/>
                </a:cubicBezTo>
                <a:cubicBezTo>
                  <a:pt x="46511" y="70458"/>
                  <a:pt x="45581" y="68256"/>
                  <a:pt x="45581" y="68256"/>
                </a:cubicBezTo>
                <a:cubicBezTo>
                  <a:pt x="45581" y="68256"/>
                  <a:pt x="43720" y="67155"/>
                  <a:pt x="43720" y="67155"/>
                </a:cubicBezTo>
                <a:cubicBezTo>
                  <a:pt x="42790" y="67155"/>
                  <a:pt x="42790" y="67155"/>
                  <a:pt x="41860" y="68256"/>
                </a:cubicBezTo>
                <a:cubicBezTo>
                  <a:pt x="41860" y="68256"/>
                  <a:pt x="39069" y="67155"/>
                  <a:pt x="39069" y="67155"/>
                </a:cubicBezTo>
                <a:cubicBezTo>
                  <a:pt x="39069" y="67155"/>
                  <a:pt x="36279" y="67155"/>
                  <a:pt x="36279" y="67155"/>
                </a:cubicBezTo>
                <a:cubicBezTo>
                  <a:pt x="35348" y="67155"/>
                  <a:pt x="34418" y="69357"/>
                  <a:pt x="34418" y="69357"/>
                </a:cubicBezTo>
                <a:cubicBezTo>
                  <a:pt x="32558" y="66055"/>
                  <a:pt x="32558" y="66055"/>
                  <a:pt x="32558" y="66055"/>
                </a:cubicBezTo>
                <a:cubicBezTo>
                  <a:pt x="33488" y="62752"/>
                  <a:pt x="33488" y="62752"/>
                  <a:pt x="33488" y="62752"/>
                </a:cubicBezTo>
                <a:cubicBezTo>
                  <a:pt x="33488" y="62752"/>
                  <a:pt x="31627" y="60550"/>
                  <a:pt x="31627" y="59449"/>
                </a:cubicBezTo>
                <a:cubicBezTo>
                  <a:pt x="31627" y="59449"/>
                  <a:pt x="30697" y="57247"/>
                  <a:pt x="30697" y="57247"/>
                </a:cubicBezTo>
                <a:cubicBezTo>
                  <a:pt x="28837" y="57247"/>
                  <a:pt x="28837" y="57247"/>
                  <a:pt x="28837" y="57247"/>
                </a:cubicBezTo>
                <a:cubicBezTo>
                  <a:pt x="27906" y="56146"/>
                  <a:pt x="27906" y="56146"/>
                  <a:pt x="27906" y="56146"/>
                </a:cubicBezTo>
                <a:cubicBezTo>
                  <a:pt x="27906" y="56146"/>
                  <a:pt x="26046" y="56146"/>
                  <a:pt x="25116" y="56146"/>
                </a:cubicBezTo>
                <a:cubicBezTo>
                  <a:pt x="24186" y="56146"/>
                  <a:pt x="24186" y="56146"/>
                  <a:pt x="23255" y="56146"/>
                </a:cubicBezTo>
                <a:cubicBezTo>
                  <a:pt x="23255" y="56146"/>
                  <a:pt x="21395" y="53944"/>
                  <a:pt x="21395" y="53944"/>
                </a:cubicBezTo>
                <a:cubicBezTo>
                  <a:pt x="21395" y="52844"/>
                  <a:pt x="21395" y="51743"/>
                  <a:pt x="21395" y="50642"/>
                </a:cubicBezTo>
                <a:cubicBezTo>
                  <a:pt x="20465" y="49541"/>
                  <a:pt x="19534" y="47339"/>
                  <a:pt x="19534" y="46238"/>
                </a:cubicBezTo>
                <a:cubicBezTo>
                  <a:pt x="19534" y="46238"/>
                  <a:pt x="20465" y="44036"/>
                  <a:pt x="20465" y="44036"/>
                </a:cubicBezTo>
                <a:cubicBezTo>
                  <a:pt x="19534" y="42935"/>
                  <a:pt x="17674" y="40733"/>
                  <a:pt x="17674" y="40733"/>
                </a:cubicBezTo>
                <a:cubicBezTo>
                  <a:pt x="16744" y="38532"/>
                  <a:pt x="16744" y="38532"/>
                  <a:pt x="16744" y="38532"/>
                </a:cubicBezTo>
                <a:cubicBezTo>
                  <a:pt x="16744" y="38532"/>
                  <a:pt x="13953" y="40733"/>
                  <a:pt x="13023" y="40733"/>
                </a:cubicBezTo>
                <a:cubicBezTo>
                  <a:pt x="12093" y="40733"/>
                  <a:pt x="10232" y="39633"/>
                  <a:pt x="10232" y="40733"/>
                </a:cubicBezTo>
                <a:cubicBezTo>
                  <a:pt x="10232" y="40733"/>
                  <a:pt x="11162" y="42935"/>
                  <a:pt x="10232" y="42935"/>
                </a:cubicBezTo>
                <a:cubicBezTo>
                  <a:pt x="9302" y="42935"/>
                  <a:pt x="7441" y="42935"/>
                  <a:pt x="6511" y="41834"/>
                </a:cubicBezTo>
                <a:cubicBezTo>
                  <a:pt x="5581" y="40733"/>
                  <a:pt x="5581" y="39633"/>
                  <a:pt x="5581" y="38532"/>
                </a:cubicBezTo>
                <a:cubicBezTo>
                  <a:pt x="4651" y="38532"/>
                  <a:pt x="4651" y="36330"/>
                  <a:pt x="3720" y="36330"/>
                </a:cubicBezTo>
                <a:cubicBezTo>
                  <a:pt x="2790" y="36330"/>
                  <a:pt x="1860" y="36330"/>
                  <a:pt x="1860" y="35229"/>
                </a:cubicBezTo>
                <a:cubicBezTo>
                  <a:pt x="1860" y="35229"/>
                  <a:pt x="1860" y="31926"/>
                  <a:pt x="1860" y="31926"/>
                </a:cubicBezTo>
                <a:cubicBezTo>
                  <a:pt x="1860" y="29724"/>
                  <a:pt x="1860" y="29724"/>
                  <a:pt x="1860" y="29724"/>
                </a:cubicBezTo>
                <a:cubicBezTo>
                  <a:pt x="1860" y="29724"/>
                  <a:pt x="1860" y="26422"/>
                  <a:pt x="930" y="26422"/>
                </a:cubicBezTo>
                <a:cubicBezTo>
                  <a:pt x="930" y="25321"/>
                  <a:pt x="0" y="24220"/>
                  <a:pt x="0" y="24220"/>
                </a:cubicBezTo>
                <a:cubicBezTo>
                  <a:pt x="0" y="20917"/>
                  <a:pt x="0" y="20917"/>
                  <a:pt x="0" y="20917"/>
                </a:cubicBezTo>
                <a:lnTo>
                  <a:pt x="930" y="19816"/>
                </a:ln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" name="Google Shape;3031;p256">
            <a:extLst>
              <a:ext uri="{FF2B5EF4-FFF2-40B4-BE49-F238E27FC236}">
                <a16:creationId xmlns:a16="http://schemas.microsoft.com/office/drawing/2014/main" id="{2AC4799E-BC01-C52E-21EC-F93B820E35C5}"/>
              </a:ext>
            </a:extLst>
          </p:cNvPr>
          <p:cNvSpPr/>
          <p:nvPr/>
        </p:nvSpPr>
        <p:spPr>
          <a:xfrm>
            <a:off x="8897037" y="3580117"/>
            <a:ext cx="879504" cy="47228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1500" y="24360"/>
                </a:moveTo>
                <a:cubicBezTo>
                  <a:pt x="22000" y="24360"/>
                  <a:pt x="25000" y="19849"/>
                  <a:pt x="25000" y="19849"/>
                </a:cubicBezTo>
                <a:cubicBezTo>
                  <a:pt x="28000" y="18045"/>
                  <a:pt x="28000" y="18045"/>
                  <a:pt x="28000" y="18045"/>
                </a:cubicBezTo>
                <a:cubicBezTo>
                  <a:pt x="29000" y="16240"/>
                  <a:pt x="29000" y="16240"/>
                  <a:pt x="29000" y="16240"/>
                </a:cubicBezTo>
                <a:cubicBezTo>
                  <a:pt x="30000" y="12631"/>
                  <a:pt x="30000" y="12631"/>
                  <a:pt x="30000" y="12631"/>
                </a:cubicBezTo>
                <a:cubicBezTo>
                  <a:pt x="30000" y="12631"/>
                  <a:pt x="29500" y="10827"/>
                  <a:pt x="31000" y="10827"/>
                </a:cubicBezTo>
                <a:cubicBezTo>
                  <a:pt x="32500" y="10827"/>
                  <a:pt x="37000" y="9022"/>
                  <a:pt x="37000" y="9022"/>
                </a:cubicBezTo>
                <a:cubicBezTo>
                  <a:pt x="37500" y="7218"/>
                  <a:pt x="37500" y="7218"/>
                  <a:pt x="37500" y="7218"/>
                </a:cubicBezTo>
                <a:cubicBezTo>
                  <a:pt x="36500" y="4511"/>
                  <a:pt x="36500" y="4511"/>
                  <a:pt x="36500" y="4511"/>
                </a:cubicBezTo>
                <a:cubicBezTo>
                  <a:pt x="36500" y="4511"/>
                  <a:pt x="36500" y="902"/>
                  <a:pt x="36500" y="902"/>
                </a:cubicBezTo>
                <a:cubicBezTo>
                  <a:pt x="37000" y="0"/>
                  <a:pt x="39000" y="0"/>
                  <a:pt x="40000" y="0"/>
                </a:cubicBezTo>
                <a:cubicBezTo>
                  <a:pt x="41000" y="902"/>
                  <a:pt x="42000" y="1804"/>
                  <a:pt x="42500" y="2706"/>
                </a:cubicBezTo>
                <a:cubicBezTo>
                  <a:pt x="42500" y="3609"/>
                  <a:pt x="42500" y="2706"/>
                  <a:pt x="42500" y="4511"/>
                </a:cubicBezTo>
                <a:cubicBezTo>
                  <a:pt x="42500" y="6315"/>
                  <a:pt x="42500" y="8120"/>
                  <a:pt x="42500" y="8120"/>
                </a:cubicBezTo>
                <a:cubicBezTo>
                  <a:pt x="42500" y="8120"/>
                  <a:pt x="43000" y="9022"/>
                  <a:pt x="43500" y="9924"/>
                </a:cubicBezTo>
                <a:cubicBezTo>
                  <a:pt x="44500" y="9924"/>
                  <a:pt x="45500" y="11729"/>
                  <a:pt x="45500" y="10827"/>
                </a:cubicBezTo>
                <a:cubicBezTo>
                  <a:pt x="45500" y="10827"/>
                  <a:pt x="46000" y="9924"/>
                  <a:pt x="46500" y="9022"/>
                </a:cubicBezTo>
                <a:cubicBezTo>
                  <a:pt x="46500" y="9022"/>
                  <a:pt x="46500" y="9022"/>
                  <a:pt x="46500" y="9022"/>
                </a:cubicBezTo>
                <a:cubicBezTo>
                  <a:pt x="46500" y="10827"/>
                  <a:pt x="47000" y="9924"/>
                  <a:pt x="47500" y="9924"/>
                </a:cubicBezTo>
                <a:cubicBezTo>
                  <a:pt x="48000" y="9924"/>
                  <a:pt x="50000" y="8120"/>
                  <a:pt x="50000" y="8120"/>
                </a:cubicBezTo>
                <a:cubicBezTo>
                  <a:pt x="50000" y="8120"/>
                  <a:pt x="49500" y="5413"/>
                  <a:pt x="49500" y="5413"/>
                </a:cubicBezTo>
                <a:cubicBezTo>
                  <a:pt x="49500" y="4511"/>
                  <a:pt x="49500" y="3609"/>
                  <a:pt x="49500" y="2706"/>
                </a:cubicBezTo>
                <a:cubicBezTo>
                  <a:pt x="50000" y="1804"/>
                  <a:pt x="50000" y="1804"/>
                  <a:pt x="50000" y="1804"/>
                </a:cubicBezTo>
                <a:cubicBezTo>
                  <a:pt x="50500" y="1804"/>
                  <a:pt x="51500" y="2706"/>
                  <a:pt x="51500" y="2706"/>
                </a:cubicBezTo>
                <a:cubicBezTo>
                  <a:pt x="51500" y="2706"/>
                  <a:pt x="52500" y="3609"/>
                  <a:pt x="53000" y="3609"/>
                </a:cubicBezTo>
                <a:cubicBezTo>
                  <a:pt x="54000" y="3609"/>
                  <a:pt x="53500" y="5413"/>
                  <a:pt x="53500" y="5413"/>
                </a:cubicBezTo>
                <a:cubicBezTo>
                  <a:pt x="53500" y="5413"/>
                  <a:pt x="54000" y="8120"/>
                  <a:pt x="55000" y="9022"/>
                </a:cubicBezTo>
                <a:cubicBezTo>
                  <a:pt x="56000" y="9924"/>
                  <a:pt x="56000" y="10827"/>
                  <a:pt x="56000" y="11729"/>
                </a:cubicBezTo>
                <a:cubicBezTo>
                  <a:pt x="56500" y="11729"/>
                  <a:pt x="57500" y="11729"/>
                  <a:pt x="57500" y="11729"/>
                </a:cubicBezTo>
                <a:cubicBezTo>
                  <a:pt x="59000" y="10827"/>
                  <a:pt x="59000" y="10827"/>
                  <a:pt x="59000" y="10827"/>
                </a:cubicBezTo>
                <a:cubicBezTo>
                  <a:pt x="59000" y="10827"/>
                  <a:pt x="60000" y="11729"/>
                  <a:pt x="60500" y="13533"/>
                </a:cubicBezTo>
                <a:cubicBezTo>
                  <a:pt x="60500" y="14436"/>
                  <a:pt x="62000" y="14436"/>
                  <a:pt x="62500" y="13533"/>
                </a:cubicBezTo>
                <a:cubicBezTo>
                  <a:pt x="63000" y="13533"/>
                  <a:pt x="63000" y="13533"/>
                  <a:pt x="63000" y="13533"/>
                </a:cubicBezTo>
                <a:cubicBezTo>
                  <a:pt x="63500" y="14436"/>
                  <a:pt x="63500" y="14436"/>
                  <a:pt x="63500" y="14436"/>
                </a:cubicBezTo>
                <a:cubicBezTo>
                  <a:pt x="63500" y="14436"/>
                  <a:pt x="64500" y="18045"/>
                  <a:pt x="66000" y="15338"/>
                </a:cubicBezTo>
                <a:cubicBezTo>
                  <a:pt x="67500" y="12631"/>
                  <a:pt x="66500" y="15338"/>
                  <a:pt x="66500" y="15338"/>
                </a:cubicBezTo>
                <a:cubicBezTo>
                  <a:pt x="66500" y="15338"/>
                  <a:pt x="67500" y="18045"/>
                  <a:pt x="68000" y="18045"/>
                </a:cubicBezTo>
                <a:cubicBezTo>
                  <a:pt x="69000" y="18045"/>
                  <a:pt x="69000" y="18045"/>
                  <a:pt x="69000" y="18045"/>
                </a:cubicBezTo>
                <a:cubicBezTo>
                  <a:pt x="71000" y="16240"/>
                  <a:pt x="71000" y="16240"/>
                  <a:pt x="71000" y="16240"/>
                </a:cubicBezTo>
                <a:cubicBezTo>
                  <a:pt x="72500" y="15338"/>
                  <a:pt x="72500" y="15338"/>
                  <a:pt x="72500" y="15338"/>
                </a:cubicBezTo>
                <a:cubicBezTo>
                  <a:pt x="72500" y="15338"/>
                  <a:pt x="74000" y="15338"/>
                  <a:pt x="73500" y="19849"/>
                </a:cubicBezTo>
                <a:cubicBezTo>
                  <a:pt x="73500" y="23458"/>
                  <a:pt x="73000" y="22556"/>
                  <a:pt x="73000" y="22556"/>
                </a:cubicBezTo>
                <a:cubicBezTo>
                  <a:pt x="72000" y="25263"/>
                  <a:pt x="72000" y="25263"/>
                  <a:pt x="72000" y="25263"/>
                </a:cubicBezTo>
                <a:cubicBezTo>
                  <a:pt x="72000" y="27969"/>
                  <a:pt x="72000" y="27969"/>
                  <a:pt x="72000" y="27969"/>
                </a:cubicBezTo>
                <a:cubicBezTo>
                  <a:pt x="72000" y="27969"/>
                  <a:pt x="72500" y="27969"/>
                  <a:pt x="73000" y="27969"/>
                </a:cubicBezTo>
                <a:cubicBezTo>
                  <a:pt x="73500" y="27969"/>
                  <a:pt x="74000" y="31578"/>
                  <a:pt x="74000" y="31578"/>
                </a:cubicBezTo>
                <a:cubicBezTo>
                  <a:pt x="75500" y="32481"/>
                  <a:pt x="75500" y="32481"/>
                  <a:pt x="75500" y="32481"/>
                </a:cubicBezTo>
                <a:cubicBezTo>
                  <a:pt x="75500" y="32481"/>
                  <a:pt x="76000" y="33383"/>
                  <a:pt x="77000" y="34285"/>
                </a:cubicBezTo>
                <a:cubicBezTo>
                  <a:pt x="77500" y="35187"/>
                  <a:pt x="78000" y="36992"/>
                  <a:pt x="78000" y="36992"/>
                </a:cubicBezTo>
                <a:cubicBezTo>
                  <a:pt x="78000" y="36992"/>
                  <a:pt x="78500" y="40601"/>
                  <a:pt x="79000" y="41503"/>
                </a:cubicBezTo>
                <a:cubicBezTo>
                  <a:pt x="79000" y="43308"/>
                  <a:pt x="82000" y="39699"/>
                  <a:pt x="82000" y="39699"/>
                </a:cubicBezTo>
                <a:cubicBezTo>
                  <a:pt x="82500" y="35187"/>
                  <a:pt x="82500" y="35187"/>
                  <a:pt x="82500" y="35187"/>
                </a:cubicBezTo>
                <a:cubicBezTo>
                  <a:pt x="85500" y="33383"/>
                  <a:pt x="85500" y="33383"/>
                  <a:pt x="85500" y="33383"/>
                </a:cubicBezTo>
                <a:cubicBezTo>
                  <a:pt x="84500" y="27969"/>
                  <a:pt x="84500" y="27969"/>
                  <a:pt x="84500" y="27969"/>
                </a:cubicBezTo>
                <a:cubicBezTo>
                  <a:pt x="83500" y="24360"/>
                  <a:pt x="83500" y="24360"/>
                  <a:pt x="83500" y="24360"/>
                </a:cubicBezTo>
                <a:cubicBezTo>
                  <a:pt x="83500" y="24360"/>
                  <a:pt x="85500" y="25263"/>
                  <a:pt x="86000" y="24360"/>
                </a:cubicBezTo>
                <a:cubicBezTo>
                  <a:pt x="86500" y="24360"/>
                  <a:pt x="88000" y="25263"/>
                  <a:pt x="88000" y="25263"/>
                </a:cubicBezTo>
                <a:cubicBezTo>
                  <a:pt x="93500" y="29774"/>
                  <a:pt x="93500" y="29774"/>
                  <a:pt x="93500" y="29774"/>
                </a:cubicBezTo>
                <a:cubicBezTo>
                  <a:pt x="93500" y="29774"/>
                  <a:pt x="95000" y="28872"/>
                  <a:pt x="96000" y="28872"/>
                </a:cubicBezTo>
                <a:cubicBezTo>
                  <a:pt x="97000" y="27969"/>
                  <a:pt x="97000" y="26165"/>
                  <a:pt x="97000" y="26165"/>
                </a:cubicBezTo>
                <a:cubicBezTo>
                  <a:pt x="97000" y="26165"/>
                  <a:pt x="97500" y="27067"/>
                  <a:pt x="98500" y="28872"/>
                </a:cubicBezTo>
                <a:cubicBezTo>
                  <a:pt x="99000" y="31578"/>
                  <a:pt x="98000" y="30676"/>
                  <a:pt x="98000" y="31578"/>
                </a:cubicBezTo>
                <a:cubicBezTo>
                  <a:pt x="97500" y="32481"/>
                  <a:pt x="96500" y="35187"/>
                  <a:pt x="96500" y="35187"/>
                </a:cubicBezTo>
                <a:cubicBezTo>
                  <a:pt x="96500" y="35187"/>
                  <a:pt x="97000" y="36992"/>
                  <a:pt x="98000" y="36992"/>
                </a:cubicBezTo>
                <a:cubicBezTo>
                  <a:pt x="98500" y="36992"/>
                  <a:pt x="98000" y="37894"/>
                  <a:pt x="99000" y="39699"/>
                </a:cubicBezTo>
                <a:cubicBezTo>
                  <a:pt x="99500" y="40601"/>
                  <a:pt x="101500" y="41503"/>
                  <a:pt x="101500" y="41503"/>
                </a:cubicBezTo>
                <a:cubicBezTo>
                  <a:pt x="103000" y="41503"/>
                  <a:pt x="103000" y="41503"/>
                  <a:pt x="103000" y="41503"/>
                </a:cubicBezTo>
                <a:cubicBezTo>
                  <a:pt x="104500" y="38796"/>
                  <a:pt x="104500" y="38796"/>
                  <a:pt x="104500" y="38796"/>
                </a:cubicBezTo>
                <a:cubicBezTo>
                  <a:pt x="104500" y="38796"/>
                  <a:pt x="106000" y="39699"/>
                  <a:pt x="106500" y="40601"/>
                </a:cubicBezTo>
                <a:cubicBezTo>
                  <a:pt x="107000" y="41503"/>
                  <a:pt x="109500" y="43308"/>
                  <a:pt x="109500" y="43308"/>
                </a:cubicBezTo>
                <a:cubicBezTo>
                  <a:pt x="113500" y="41503"/>
                  <a:pt x="113500" y="41503"/>
                  <a:pt x="113500" y="41503"/>
                </a:cubicBezTo>
                <a:cubicBezTo>
                  <a:pt x="114000" y="48721"/>
                  <a:pt x="114000" y="48721"/>
                  <a:pt x="114000" y="48721"/>
                </a:cubicBezTo>
                <a:cubicBezTo>
                  <a:pt x="114000" y="48721"/>
                  <a:pt x="115000" y="48721"/>
                  <a:pt x="116000" y="51428"/>
                </a:cubicBezTo>
                <a:cubicBezTo>
                  <a:pt x="117000" y="53233"/>
                  <a:pt x="116500" y="51428"/>
                  <a:pt x="116500" y="51428"/>
                </a:cubicBezTo>
                <a:cubicBezTo>
                  <a:pt x="116500" y="51428"/>
                  <a:pt x="118500" y="53233"/>
                  <a:pt x="118500" y="54135"/>
                </a:cubicBezTo>
                <a:cubicBezTo>
                  <a:pt x="118500" y="55939"/>
                  <a:pt x="119000" y="57744"/>
                  <a:pt x="119000" y="57744"/>
                </a:cubicBezTo>
                <a:cubicBezTo>
                  <a:pt x="120000" y="61353"/>
                  <a:pt x="120000" y="61353"/>
                  <a:pt x="120000" y="61353"/>
                </a:cubicBezTo>
                <a:cubicBezTo>
                  <a:pt x="119500" y="61353"/>
                  <a:pt x="118500" y="61353"/>
                  <a:pt x="118000" y="61353"/>
                </a:cubicBezTo>
                <a:cubicBezTo>
                  <a:pt x="118000" y="61353"/>
                  <a:pt x="117500" y="62255"/>
                  <a:pt x="117000" y="62255"/>
                </a:cubicBezTo>
                <a:cubicBezTo>
                  <a:pt x="116500" y="62255"/>
                  <a:pt x="116000" y="62255"/>
                  <a:pt x="116000" y="62255"/>
                </a:cubicBezTo>
                <a:cubicBezTo>
                  <a:pt x="114500" y="63157"/>
                  <a:pt x="114500" y="63157"/>
                  <a:pt x="114500" y="63157"/>
                </a:cubicBezTo>
                <a:cubicBezTo>
                  <a:pt x="113500" y="64962"/>
                  <a:pt x="113500" y="64962"/>
                  <a:pt x="113500" y="64962"/>
                </a:cubicBezTo>
                <a:cubicBezTo>
                  <a:pt x="112500" y="66766"/>
                  <a:pt x="112500" y="66766"/>
                  <a:pt x="112500" y="66766"/>
                </a:cubicBezTo>
                <a:cubicBezTo>
                  <a:pt x="111500" y="70375"/>
                  <a:pt x="111500" y="70375"/>
                  <a:pt x="111500" y="70375"/>
                </a:cubicBezTo>
                <a:cubicBezTo>
                  <a:pt x="111500" y="72180"/>
                  <a:pt x="111500" y="72180"/>
                  <a:pt x="111500" y="72180"/>
                </a:cubicBezTo>
                <a:cubicBezTo>
                  <a:pt x="110000" y="74887"/>
                  <a:pt x="110000" y="74887"/>
                  <a:pt x="110000" y="74887"/>
                </a:cubicBezTo>
                <a:cubicBezTo>
                  <a:pt x="110000" y="74887"/>
                  <a:pt x="108500" y="76691"/>
                  <a:pt x="108000" y="76691"/>
                </a:cubicBezTo>
                <a:cubicBezTo>
                  <a:pt x="107500" y="76691"/>
                  <a:pt x="107500" y="80300"/>
                  <a:pt x="107500" y="80300"/>
                </a:cubicBezTo>
                <a:cubicBezTo>
                  <a:pt x="108000" y="83007"/>
                  <a:pt x="108000" y="83007"/>
                  <a:pt x="108000" y="83007"/>
                </a:cubicBezTo>
                <a:cubicBezTo>
                  <a:pt x="107500" y="87518"/>
                  <a:pt x="107500" y="87518"/>
                  <a:pt x="107500" y="87518"/>
                </a:cubicBezTo>
                <a:cubicBezTo>
                  <a:pt x="105000" y="89323"/>
                  <a:pt x="105000" y="89323"/>
                  <a:pt x="105000" y="89323"/>
                </a:cubicBezTo>
                <a:cubicBezTo>
                  <a:pt x="104500" y="92030"/>
                  <a:pt x="104500" y="92030"/>
                  <a:pt x="104500" y="92030"/>
                </a:cubicBezTo>
                <a:cubicBezTo>
                  <a:pt x="104000" y="93834"/>
                  <a:pt x="104000" y="93834"/>
                  <a:pt x="104000" y="93834"/>
                </a:cubicBezTo>
                <a:cubicBezTo>
                  <a:pt x="104000" y="93834"/>
                  <a:pt x="103000" y="94736"/>
                  <a:pt x="103000" y="94736"/>
                </a:cubicBezTo>
                <a:cubicBezTo>
                  <a:pt x="102500" y="93834"/>
                  <a:pt x="102500" y="96541"/>
                  <a:pt x="102500" y="96541"/>
                </a:cubicBezTo>
                <a:cubicBezTo>
                  <a:pt x="101500" y="98345"/>
                  <a:pt x="101500" y="98345"/>
                  <a:pt x="101500" y="98345"/>
                </a:cubicBezTo>
                <a:cubicBezTo>
                  <a:pt x="101000" y="98345"/>
                  <a:pt x="101000" y="98345"/>
                  <a:pt x="101000" y="98345"/>
                </a:cubicBezTo>
                <a:cubicBezTo>
                  <a:pt x="100000" y="99248"/>
                  <a:pt x="100000" y="99248"/>
                  <a:pt x="100000" y="99248"/>
                </a:cubicBezTo>
                <a:cubicBezTo>
                  <a:pt x="100000" y="99248"/>
                  <a:pt x="99500" y="100150"/>
                  <a:pt x="99000" y="100150"/>
                </a:cubicBezTo>
                <a:cubicBezTo>
                  <a:pt x="99000" y="101052"/>
                  <a:pt x="98500" y="100150"/>
                  <a:pt x="98500" y="100150"/>
                </a:cubicBezTo>
                <a:cubicBezTo>
                  <a:pt x="98500" y="100150"/>
                  <a:pt x="97500" y="99248"/>
                  <a:pt x="97000" y="99248"/>
                </a:cubicBezTo>
                <a:cubicBezTo>
                  <a:pt x="97000" y="99248"/>
                  <a:pt x="97000" y="100150"/>
                  <a:pt x="96500" y="100150"/>
                </a:cubicBezTo>
                <a:cubicBezTo>
                  <a:pt x="96500" y="100150"/>
                  <a:pt x="96500" y="100150"/>
                  <a:pt x="96000" y="101052"/>
                </a:cubicBezTo>
                <a:cubicBezTo>
                  <a:pt x="96000" y="101052"/>
                  <a:pt x="95500" y="100150"/>
                  <a:pt x="95000" y="100150"/>
                </a:cubicBezTo>
                <a:cubicBezTo>
                  <a:pt x="94500" y="100150"/>
                  <a:pt x="94500" y="99248"/>
                  <a:pt x="94500" y="99248"/>
                </a:cubicBezTo>
                <a:cubicBezTo>
                  <a:pt x="94000" y="99248"/>
                  <a:pt x="93500" y="99248"/>
                  <a:pt x="93500" y="99248"/>
                </a:cubicBezTo>
                <a:cubicBezTo>
                  <a:pt x="93000" y="99248"/>
                  <a:pt x="92500" y="99248"/>
                  <a:pt x="92500" y="99248"/>
                </a:cubicBezTo>
                <a:cubicBezTo>
                  <a:pt x="92500" y="99248"/>
                  <a:pt x="92000" y="100150"/>
                  <a:pt x="92000" y="100150"/>
                </a:cubicBezTo>
                <a:cubicBezTo>
                  <a:pt x="91000" y="101052"/>
                  <a:pt x="91000" y="101052"/>
                  <a:pt x="91000" y="101052"/>
                </a:cubicBezTo>
                <a:cubicBezTo>
                  <a:pt x="91000" y="101052"/>
                  <a:pt x="91000" y="101954"/>
                  <a:pt x="91000" y="102857"/>
                </a:cubicBezTo>
                <a:cubicBezTo>
                  <a:pt x="91000" y="102857"/>
                  <a:pt x="91000" y="103759"/>
                  <a:pt x="90500" y="103759"/>
                </a:cubicBezTo>
                <a:cubicBezTo>
                  <a:pt x="90500" y="103759"/>
                  <a:pt x="90000" y="105563"/>
                  <a:pt x="90000" y="105563"/>
                </a:cubicBezTo>
                <a:cubicBezTo>
                  <a:pt x="90000" y="105563"/>
                  <a:pt x="90000" y="108270"/>
                  <a:pt x="89500" y="108270"/>
                </a:cubicBezTo>
                <a:cubicBezTo>
                  <a:pt x="89500" y="108270"/>
                  <a:pt x="89500" y="109172"/>
                  <a:pt x="89500" y="109172"/>
                </a:cubicBezTo>
                <a:cubicBezTo>
                  <a:pt x="89500" y="110977"/>
                  <a:pt x="89500" y="110977"/>
                  <a:pt x="89500" y="110977"/>
                </a:cubicBezTo>
                <a:cubicBezTo>
                  <a:pt x="89500" y="111879"/>
                  <a:pt x="89500" y="111879"/>
                  <a:pt x="89500" y="111879"/>
                </a:cubicBezTo>
                <a:cubicBezTo>
                  <a:pt x="88500" y="110977"/>
                  <a:pt x="88500" y="110977"/>
                  <a:pt x="88500" y="110977"/>
                </a:cubicBezTo>
                <a:cubicBezTo>
                  <a:pt x="87500" y="105563"/>
                  <a:pt x="87500" y="105563"/>
                  <a:pt x="87500" y="105563"/>
                </a:cubicBezTo>
                <a:cubicBezTo>
                  <a:pt x="87500" y="105563"/>
                  <a:pt x="86000" y="106466"/>
                  <a:pt x="84500" y="106466"/>
                </a:cubicBezTo>
                <a:cubicBezTo>
                  <a:pt x="83000" y="105563"/>
                  <a:pt x="82000" y="103759"/>
                  <a:pt x="81500" y="103759"/>
                </a:cubicBezTo>
                <a:cubicBezTo>
                  <a:pt x="81500" y="102857"/>
                  <a:pt x="79500" y="103759"/>
                  <a:pt x="79500" y="103759"/>
                </a:cubicBezTo>
                <a:cubicBezTo>
                  <a:pt x="79000" y="107368"/>
                  <a:pt x="79000" y="107368"/>
                  <a:pt x="79000" y="107368"/>
                </a:cubicBezTo>
                <a:cubicBezTo>
                  <a:pt x="73500" y="106466"/>
                  <a:pt x="73500" y="106466"/>
                  <a:pt x="73500" y="106466"/>
                </a:cubicBezTo>
                <a:cubicBezTo>
                  <a:pt x="71500" y="104661"/>
                  <a:pt x="71500" y="104661"/>
                  <a:pt x="71500" y="104661"/>
                </a:cubicBezTo>
                <a:cubicBezTo>
                  <a:pt x="68000" y="101954"/>
                  <a:pt x="68000" y="101954"/>
                  <a:pt x="68000" y="101954"/>
                </a:cubicBezTo>
                <a:cubicBezTo>
                  <a:pt x="67000" y="101052"/>
                  <a:pt x="67000" y="101052"/>
                  <a:pt x="67000" y="101052"/>
                </a:cubicBezTo>
                <a:cubicBezTo>
                  <a:pt x="67000" y="101052"/>
                  <a:pt x="65000" y="101052"/>
                  <a:pt x="64500" y="101052"/>
                </a:cubicBezTo>
                <a:cubicBezTo>
                  <a:pt x="64000" y="101052"/>
                  <a:pt x="62000" y="100150"/>
                  <a:pt x="62000" y="100150"/>
                </a:cubicBezTo>
                <a:cubicBezTo>
                  <a:pt x="62000" y="100150"/>
                  <a:pt x="60000" y="99248"/>
                  <a:pt x="59500" y="99248"/>
                </a:cubicBezTo>
                <a:cubicBezTo>
                  <a:pt x="59000" y="99248"/>
                  <a:pt x="58000" y="99248"/>
                  <a:pt x="58000" y="99248"/>
                </a:cubicBezTo>
                <a:cubicBezTo>
                  <a:pt x="55500" y="98345"/>
                  <a:pt x="55500" y="98345"/>
                  <a:pt x="55500" y="98345"/>
                </a:cubicBezTo>
                <a:cubicBezTo>
                  <a:pt x="55500" y="98345"/>
                  <a:pt x="54000" y="96541"/>
                  <a:pt x="53000" y="97443"/>
                </a:cubicBezTo>
                <a:cubicBezTo>
                  <a:pt x="52500" y="97443"/>
                  <a:pt x="53000" y="100150"/>
                  <a:pt x="53000" y="100150"/>
                </a:cubicBezTo>
                <a:cubicBezTo>
                  <a:pt x="53000" y="100150"/>
                  <a:pt x="52500" y="104661"/>
                  <a:pt x="53000" y="105563"/>
                </a:cubicBezTo>
                <a:cubicBezTo>
                  <a:pt x="53000" y="107368"/>
                  <a:pt x="52000" y="109172"/>
                  <a:pt x="52000" y="109172"/>
                </a:cubicBezTo>
                <a:cubicBezTo>
                  <a:pt x="50500" y="110075"/>
                  <a:pt x="50500" y="110075"/>
                  <a:pt x="50500" y="110075"/>
                </a:cubicBezTo>
                <a:cubicBezTo>
                  <a:pt x="50500" y="110075"/>
                  <a:pt x="49500" y="112781"/>
                  <a:pt x="49000" y="112781"/>
                </a:cubicBezTo>
                <a:cubicBezTo>
                  <a:pt x="48500" y="112781"/>
                  <a:pt x="48500" y="118195"/>
                  <a:pt x="48500" y="118195"/>
                </a:cubicBezTo>
                <a:cubicBezTo>
                  <a:pt x="46500" y="119097"/>
                  <a:pt x="46500" y="119097"/>
                  <a:pt x="46500" y="119097"/>
                </a:cubicBezTo>
                <a:cubicBezTo>
                  <a:pt x="44500" y="116390"/>
                  <a:pt x="44500" y="116390"/>
                  <a:pt x="44500" y="116390"/>
                </a:cubicBezTo>
                <a:cubicBezTo>
                  <a:pt x="43000" y="118195"/>
                  <a:pt x="43000" y="118195"/>
                  <a:pt x="43000" y="118195"/>
                </a:cubicBezTo>
                <a:cubicBezTo>
                  <a:pt x="42500" y="120000"/>
                  <a:pt x="42500" y="120000"/>
                  <a:pt x="42500" y="120000"/>
                </a:cubicBezTo>
                <a:cubicBezTo>
                  <a:pt x="42500" y="120000"/>
                  <a:pt x="40000" y="119097"/>
                  <a:pt x="40000" y="119097"/>
                </a:cubicBezTo>
                <a:cubicBezTo>
                  <a:pt x="39500" y="119097"/>
                  <a:pt x="37000" y="118195"/>
                  <a:pt x="37000" y="118195"/>
                </a:cubicBezTo>
                <a:cubicBezTo>
                  <a:pt x="37000" y="118195"/>
                  <a:pt x="35500" y="115488"/>
                  <a:pt x="35000" y="114586"/>
                </a:cubicBezTo>
                <a:cubicBezTo>
                  <a:pt x="34500" y="113684"/>
                  <a:pt x="32500" y="111879"/>
                  <a:pt x="32000" y="110977"/>
                </a:cubicBezTo>
                <a:cubicBezTo>
                  <a:pt x="31500" y="110977"/>
                  <a:pt x="31500" y="110075"/>
                  <a:pt x="31500" y="110075"/>
                </a:cubicBezTo>
                <a:cubicBezTo>
                  <a:pt x="30500" y="108270"/>
                  <a:pt x="31000" y="108270"/>
                  <a:pt x="30000" y="107368"/>
                </a:cubicBezTo>
                <a:cubicBezTo>
                  <a:pt x="29000" y="106466"/>
                  <a:pt x="28000" y="106466"/>
                  <a:pt x="28000" y="105563"/>
                </a:cubicBezTo>
                <a:cubicBezTo>
                  <a:pt x="28000" y="104661"/>
                  <a:pt x="28500" y="102857"/>
                  <a:pt x="27500" y="102857"/>
                </a:cubicBezTo>
                <a:cubicBezTo>
                  <a:pt x="26000" y="103759"/>
                  <a:pt x="25500" y="104661"/>
                  <a:pt x="25000" y="103759"/>
                </a:cubicBezTo>
                <a:cubicBezTo>
                  <a:pt x="24000" y="101954"/>
                  <a:pt x="24000" y="101954"/>
                  <a:pt x="23500" y="100150"/>
                </a:cubicBezTo>
                <a:cubicBezTo>
                  <a:pt x="23500" y="98345"/>
                  <a:pt x="23500" y="96541"/>
                  <a:pt x="22500" y="96541"/>
                </a:cubicBezTo>
                <a:cubicBezTo>
                  <a:pt x="21500" y="96541"/>
                  <a:pt x="21000" y="95639"/>
                  <a:pt x="21000" y="95639"/>
                </a:cubicBezTo>
                <a:cubicBezTo>
                  <a:pt x="21000" y="95639"/>
                  <a:pt x="20500" y="96541"/>
                  <a:pt x="20000" y="94736"/>
                </a:cubicBezTo>
                <a:cubicBezTo>
                  <a:pt x="19500" y="92030"/>
                  <a:pt x="21000" y="93834"/>
                  <a:pt x="19500" y="90225"/>
                </a:cubicBezTo>
                <a:cubicBezTo>
                  <a:pt x="17500" y="87518"/>
                  <a:pt x="18000" y="88421"/>
                  <a:pt x="17000" y="86616"/>
                </a:cubicBezTo>
                <a:cubicBezTo>
                  <a:pt x="16000" y="84812"/>
                  <a:pt x="13000" y="86616"/>
                  <a:pt x="13000" y="86616"/>
                </a:cubicBezTo>
                <a:cubicBezTo>
                  <a:pt x="13000" y="86616"/>
                  <a:pt x="13000" y="85714"/>
                  <a:pt x="12000" y="83909"/>
                </a:cubicBezTo>
                <a:cubicBezTo>
                  <a:pt x="11000" y="82105"/>
                  <a:pt x="11500" y="83007"/>
                  <a:pt x="10500" y="81203"/>
                </a:cubicBezTo>
                <a:cubicBezTo>
                  <a:pt x="9500" y="78496"/>
                  <a:pt x="9500" y="79398"/>
                  <a:pt x="9500" y="76691"/>
                </a:cubicBezTo>
                <a:cubicBezTo>
                  <a:pt x="9000" y="73984"/>
                  <a:pt x="9500" y="73082"/>
                  <a:pt x="8500" y="71278"/>
                </a:cubicBezTo>
                <a:cubicBezTo>
                  <a:pt x="7500" y="69473"/>
                  <a:pt x="7000" y="67669"/>
                  <a:pt x="7000" y="67669"/>
                </a:cubicBezTo>
                <a:cubicBezTo>
                  <a:pt x="7000" y="67669"/>
                  <a:pt x="6000" y="65864"/>
                  <a:pt x="7000" y="63157"/>
                </a:cubicBezTo>
                <a:cubicBezTo>
                  <a:pt x="8000" y="61353"/>
                  <a:pt x="8000" y="61353"/>
                  <a:pt x="8000" y="59548"/>
                </a:cubicBezTo>
                <a:cubicBezTo>
                  <a:pt x="8000" y="58646"/>
                  <a:pt x="8500" y="56842"/>
                  <a:pt x="7000" y="55037"/>
                </a:cubicBezTo>
                <a:cubicBezTo>
                  <a:pt x="5500" y="53233"/>
                  <a:pt x="5500" y="53233"/>
                  <a:pt x="4000" y="51428"/>
                </a:cubicBezTo>
                <a:cubicBezTo>
                  <a:pt x="3000" y="50526"/>
                  <a:pt x="2500" y="50526"/>
                  <a:pt x="2000" y="49624"/>
                </a:cubicBezTo>
                <a:cubicBezTo>
                  <a:pt x="1500" y="48721"/>
                  <a:pt x="500" y="42406"/>
                  <a:pt x="500" y="42406"/>
                </a:cubicBezTo>
                <a:cubicBezTo>
                  <a:pt x="0" y="39699"/>
                  <a:pt x="0" y="39699"/>
                  <a:pt x="0" y="39699"/>
                </a:cubicBezTo>
                <a:cubicBezTo>
                  <a:pt x="2500" y="39699"/>
                  <a:pt x="2500" y="39699"/>
                  <a:pt x="2500" y="39699"/>
                </a:cubicBezTo>
                <a:cubicBezTo>
                  <a:pt x="3000" y="43308"/>
                  <a:pt x="3000" y="43308"/>
                  <a:pt x="3000" y="43308"/>
                </a:cubicBezTo>
                <a:cubicBezTo>
                  <a:pt x="3500" y="46015"/>
                  <a:pt x="3500" y="46015"/>
                  <a:pt x="3500" y="46015"/>
                </a:cubicBezTo>
                <a:cubicBezTo>
                  <a:pt x="5000" y="40601"/>
                  <a:pt x="5000" y="40601"/>
                  <a:pt x="5000" y="40601"/>
                </a:cubicBezTo>
                <a:cubicBezTo>
                  <a:pt x="7000" y="36090"/>
                  <a:pt x="7000" y="36090"/>
                  <a:pt x="7000" y="36090"/>
                </a:cubicBezTo>
                <a:cubicBezTo>
                  <a:pt x="7000" y="36090"/>
                  <a:pt x="7000" y="36090"/>
                  <a:pt x="8500" y="36090"/>
                </a:cubicBezTo>
                <a:cubicBezTo>
                  <a:pt x="9500" y="36090"/>
                  <a:pt x="11000" y="34285"/>
                  <a:pt x="11500" y="34285"/>
                </a:cubicBezTo>
                <a:cubicBezTo>
                  <a:pt x="12500" y="34285"/>
                  <a:pt x="14000" y="35187"/>
                  <a:pt x="14500" y="35187"/>
                </a:cubicBezTo>
                <a:cubicBezTo>
                  <a:pt x="15500" y="34285"/>
                  <a:pt x="16000" y="34285"/>
                  <a:pt x="16000" y="32481"/>
                </a:cubicBezTo>
                <a:cubicBezTo>
                  <a:pt x="16500" y="31578"/>
                  <a:pt x="15500" y="29774"/>
                  <a:pt x="17500" y="28872"/>
                </a:cubicBezTo>
                <a:cubicBezTo>
                  <a:pt x="19000" y="27067"/>
                  <a:pt x="19500" y="27067"/>
                  <a:pt x="19500" y="27067"/>
                </a:cubicBezTo>
                <a:lnTo>
                  <a:pt x="21500" y="24360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3032;p256">
            <a:extLst>
              <a:ext uri="{FF2B5EF4-FFF2-40B4-BE49-F238E27FC236}">
                <a16:creationId xmlns:a16="http://schemas.microsoft.com/office/drawing/2014/main" id="{B87FDD91-69D0-DCBE-B17C-DED5EAAF5964}"/>
              </a:ext>
            </a:extLst>
          </p:cNvPr>
          <p:cNvSpPr/>
          <p:nvPr/>
        </p:nvSpPr>
        <p:spPr>
          <a:xfrm>
            <a:off x="12913203" y="4211657"/>
            <a:ext cx="1065043" cy="37975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5257" y="77383"/>
                </a:moveTo>
                <a:cubicBezTo>
                  <a:pt x="95670" y="77383"/>
                  <a:pt x="95670" y="77383"/>
                  <a:pt x="95670" y="77383"/>
                </a:cubicBezTo>
                <a:cubicBezTo>
                  <a:pt x="95257" y="76261"/>
                  <a:pt x="95257" y="76261"/>
                  <a:pt x="95257" y="76261"/>
                </a:cubicBezTo>
                <a:cubicBezTo>
                  <a:pt x="95257" y="76261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494" y="75140"/>
                  <a:pt x="96494" y="75140"/>
                  <a:pt x="96494" y="75140"/>
                </a:cubicBezTo>
                <a:cubicBezTo>
                  <a:pt x="96494" y="75140"/>
                  <a:pt x="96494" y="75140"/>
                  <a:pt x="96494" y="75140"/>
                </a:cubicBezTo>
                <a:cubicBezTo>
                  <a:pt x="96907" y="75140"/>
                  <a:pt x="97731" y="75140"/>
                  <a:pt x="98144" y="75140"/>
                </a:cubicBezTo>
                <a:cubicBezTo>
                  <a:pt x="98144" y="75140"/>
                  <a:pt x="98144" y="75140"/>
                  <a:pt x="98144" y="75140"/>
                </a:cubicBezTo>
                <a:cubicBezTo>
                  <a:pt x="98144" y="75140"/>
                  <a:pt x="98144" y="75140"/>
                  <a:pt x="98144" y="75140"/>
                </a:cubicBezTo>
                <a:cubicBezTo>
                  <a:pt x="98144" y="75140"/>
                  <a:pt x="98144" y="75140"/>
                  <a:pt x="98144" y="75140"/>
                </a:cubicBezTo>
                <a:cubicBezTo>
                  <a:pt x="98144" y="75140"/>
                  <a:pt x="98144" y="75140"/>
                  <a:pt x="98144" y="75140"/>
                </a:cubicBezTo>
                <a:cubicBezTo>
                  <a:pt x="98144" y="75140"/>
                  <a:pt x="98144" y="75140"/>
                  <a:pt x="98144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556" y="75140"/>
                  <a:pt x="98556" y="75140"/>
                  <a:pt x="98556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5140"/>
                  <a:pt x="98969" y="75140"/>
                  <a:pt x="98969" y="75140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8969" y="76261"/>
                  <a:pt x="98969" y="76261"/>
                  <a:pt x="98969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381" y="76261"/>
                  <a:pt x="99381" y="76261"/>
                  <a:pt x="99381" y="76261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99793" y="75140"/>
                  <a:pt x="99793" y="75140"/>
                  <a:pt x="99793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206" y="75140"/>
                  <a:pt x="100206" y="75140"/>
                  <a:pt x="100206" y="75140"/>
                </a:cubicBezTo>
                <a:cubicBezTo>
                  <a:pt x="100618" y="75140"/>
                  <a:pt x="100618" y="75140"/>
                  <a:pt x="100618" y="75140"/>
                </a:cubicBezTo>
                <a:cubicBezTo>
                  <a:pt x="100618" y="75140"/>
                  <a:pt x="100618" y="75140"/>
                  <a:pt x="100618" y="75140"/>
                </a:cubicBezTo>
                <a:cubicBezTo>
                  <a:pt x="100618" y="75140"/>
                  <a:pt x="100618" y="75140"/>
                  <a:pt x="100618" y="75140"/>
                </a:cubicBezTo>
                <a:cubicBezTo>
                  <a:pt x="100618" y="75140"/>
                  <a:pt x="100618" y="75140"/>
                  <a:pt x="100618" y="75140"/>
                </a:cubicBezTo>
                <a:cubicBezTo>
                  <a:pt x="100618" y="75140"/>
                  <a:pt x="100618" y="75140"/>
                  <a:pt x="100618" y="75140"/>
                </a:cubicBezTo>
                <a:cubicBezTo>
                  <a:pt x="101030" y="75140"/>
                  <a:pt x="101030" y="75140"/>
                  <a:pt x="101030" y="75140"/>
                </a:cubicBezTo>
                <a:cubicBezTo>
                  <a:pt x="101030" y="75140"/>
                  <a:pt x="101030" y="75140"/>
                  <a:pt x="101030" y="75140"/>
                </a:cubicBezTo>
                <a:cubicBezTo>
                  <a:pt x="101030" y="75140"/>
                  <a:pt x="101030" y="75140"/>
                  <a:pt x="101030" y="75140"/>
                </a:cubicBezTo>
                <a:cubicBezTo>
                  <a:pt x="101030" y="75140"/>
                  <a:pt x="101030" y="75140"/>
                  <a:pt x="101030" y="75140"/>
                </a:cubicBezTo>
                <a:cubicBezTo>
                  <a:pt x="101030" y="75140"/>
                  <a:pt x="101030" y="75140"/>
                  <a:pt x="101030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443" y="75140"/>
                  <a:pt x="101443" y="75140"/>
                  <a:pt x="101443" y="75140"/>
                </a:cubicBezTo>
                <a:cubicBezTo>
                  <a:pt x="101855" y="75140"/>
                  <a:pt x="101855" y="75140"/>
                  <a:pt x="101855" y="75140"/>
                </a:cubicBezTo>
                <a:cubicBezTo>
                  <a:pt x="101855" y="75140"/>
                  <a:pt x="101855" y="75140"/>
                  <a:pt x="101855" y="75140"/>
                </a:cubicBezTo>
                <a:cubicBezTo>
                  <a:pt x="101855" y="75140"/>
                  <a:pt x="101855" y="75140"/>
                  <a:pt x="101855" y="75140"/>
                </a:cubicBezTo>
                <a:cubicBezTo>
                  <a:pt x="101855" y="75140"/>
                  <a:pt x="101855" y="75140"/>
                  <a:pt x="101855" y="75140"/>
                </a:cubicBezTo>
                <a:cubicBezTo>
                  <a:pt x="101855" y="75140"/>
                  <a:pt x="101855" y="75140"/>
                  <a:pt x="101855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268" y="75140"/>
                  <a:pt x="102268" y="75140"/>
                  <a:pt x="102268" y="75140"/>
                </a:cubicBezTo>
                <a:cubicBezTo>
                  <a:pt x="102680" y="75140"/>
                  <a:pt x="102680" y="75140"/>
                  <a:pt x="102680" y="75140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2680" y="74018"/>
                  <a:pt x="102680" y="74018"/>
                  <a:pt x="102680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092" y="74018"/>
                  <a:pt x="103092" y="74018"/>
                  <a:pt x="103092" y="74018"/>
                </a:cubicBezTo>
                <a:cubicBezTo>
                  <a:pt x="103917" y="78504"/>
                  <a:pt x="103917" y="78504"/>
                  <a:pt x="103917" y="78504"/>
                </a:cubicBezTo>
                <a:cubicBezTo>
                  <a:pt x="103917" y="78504"/>
                  <a:pt x="108453" y="80747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103" y="79626"/>
                  <a:pt x="110103" y="79626"/>
                  <a:pt x="110103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110515" y="79626"/>
                  <a:pt x="110515" y="79626"/>
                  <a:pt x="110515" y="79626"/>
                </a:cubicBezTo>
                <a:cubicBezTo>
                  <a:pt x="95257" y="77383"/>
                  <a:pt x="95257" y="77383"/>
                  <a:pt x="95257" y="77383"/>
                </a:cubicBezTo>
                <a:close/>
                <a:moveTo>
                  <a:pt x="96082" y="75140"/>
                </a:move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ubicBezTo>
                  <a:pt x="96082" y="75140"/>
                  <a:pt x="96082" y="75140"/>
                  <a:pt x="96082" y="75140"/>
                </a:cubicBezTo>
                <a:close/>
                <a:moveTo>
                  <a:pt x="110927" y="79626"/>
                </a:move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ubicBezTo>
                  <a:pt x="111340" y="79626"/>
                  <a:pt x="111340" y="79626"/>
                  <a:pt x="111340" y="79626"/>
                </a:cubicBezTo>
                <a:cubicBezTo>
                  <a:pt x="111340" y="79626"/>
                  <a:pt x="111340" y="79626"/>
                  <a:pt x="111340" y="79626"/>
                </a:cubicBezTo>
                <a:cubicBezTo>
                  <a:pt x="111340" y="79626"/>
                  <a:pt x="111340" y="79626"/>
                  <a:pt x="111340" y="79626"/>
                </a:cubicBezTo>
                <a:cubicBezTo>
                  <a:pt x="111340" y="79626"/>
                  <a:pt x="111340" y="79626"/>
                  <a:pt x="111340" y="79626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340" y="78504"/>
                  <a:pt x="111340" y="78504"/>
                  <a:pt x="111340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1752" y="78504"/>
                  <a:pt x="111752" y="78504"/>
                  <a:pt x="111752" y="78504"/>
                </a:cubicBezTo>
                <a:cubicBezTo>
                  <a:pt x="112164" y="78504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164" y="77383"/>
                  <a:pt x="112164" y="77383"/>
                  <a:pt x="112164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577" y="77383"/>
                  <a:pt x="112577" y="77383"/>
                  <a:pt x="112577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2989" y="77383"/>
                  <a:pt x="112989" y="77383"/>
                  <a:pt x="112989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402" y="77383"/>
                  <a:pt x="113402" y="77383"/>
                  <a:pt x="113402" y="77383"/>
                </a:cubicBezTo>
                <a:cubicBezTo>
                  <a:pt x="113814" y="77383"/>
                  <a:pt x="113814" y="77383"/>
                  <a:pt x="114639" y="78504"/>
                </a:cubicBezTo>
                <a:cubicBezTo>
                  <a:pt x="115463" y="79626"/>
                  <a:pt x="116701" y="80747"/>
                  <a:pt x="117525" y="80747"/>
                </a:cubicBezTo>
                <a:cubicBezTo>
                  <a:pt x="119175" y="80747"/>
                  <a:pt x="119175" y="80747"/>
                  <a:pt x="119175" y="80747"/>
                </a:cubicBezTo>
                <a:cubicBezTo>
                  <a:pt x="119587" y="77383"/>
                  <a:pt x="119587" y="77383"/>
                  <a:pt x="119587" y="77383"/>
                </a:cubicBezTo>
                <a:cubicBezTo>
                  <a:pt x="120000" y="79626"/>
                  <a:pt x="119175" y="68411"/>
                  <a:pt x="119587" y="65046"/>
                </a:cubicBezTo>
                <a:cubicBezTo>
                  <a:pt x="119175" y="63925"/>
                  <a:pt x="118762" y="62803"/>
                  <a:pt x="118762" y="61682"/>
                </a:cubicBezTo>
                <a:cubicBezTo>
                  <a:pt x="118350" y="60560"/>
                  <a:pt x="116288" y="60560"/>
                  <a:pt x="116288" y="60560"/>
                </a:cubicBezTo>
                <a:cubicBezTo>
                  <a:pt x="114639" y="59439"/>
                  <a:pt x="114639" y="59439"/>
                  <a:pt x="114639" y="59439"/>
                </a:cubicBezTo>
                <a:cubicBezTo>
                  <a:pt x="113402" y="58317"/>
                  <a:pt x="113402" y="58317"/>
                  <a:pt x="113402" y="58317"/>
                </a:cubicBezTo>
                <a:cubicBezTo>
                  <a:pt x="112164" y="52710"/>
                  <a:pt x="112164" y="52710"/>
                  <a:pt x="112164" y="52710"/>
                </a:cubicBezTo>
                <a:cubicBezTo>
                  <a:pt x="110927" y="50467"/>
                  <a:pt x="110927" y="50467"/>
                  <a:pt x="110927" y="50467"/>
                </a:cubicBezTo>
                <a:cubicBezTo>
                  <a:pt x="109690" y="45981"/>
                  <a:pt x="109690" y="45981"/>
                  <a:pt x="109690" y="45981"/>
                </a:cubicBezTo>
                <a:cubicBezTo>
                  <a:pt x="110103" y="43738"/>
                  <a:pt x="110103" y="43738"/>
                  <a:pt x="110103" y="43738"/>
                </a:cubicBezTo>
                <a:cubicBezTo>
                  <a:pt x="111340" y="39252"/>
                  <a:pt x="111340" y="39252"/>
                  <a:pt x="111340" y="39252"/>
                </a:cubicBezTo>
                <a:cubicBezTo>
                  <a:pt x="111340" y="39252"/>
                  <a:pt x="111752" y="39252"/>
                  <a:pt x="112164" y="37009"/>
                </a:cubicBezTo>
                <a:cubicBezTo>
                  <a:pt x="112989" y="33644"/>
                  <a:pt x="112164" y="33644"/>
                  <a:pt x="112164" y="33644"/>
                </a:cubicBezTo>
                <a:cubicBezTo>
                  <a:pt x="112164" y="33644"/>
                  <a:pt x="110515" y="31401"/>
                  <a:pt x="109690" y="30280"/>
                </a:cubicBezTo>
                <a:cubicBezTo>
                  <a:pt x="108865" y="29158"/>
                  <a:pt x="107628" y="32523"/>
                  <a:pt x="107628" y="32523"/>
                </a:cubicBezTo>
                <a:cubicBezTo>
                  <a:pt x="105154" y="31401"/>
                  <a:pt x="105154" y="31401"/>
                  <a:pt x="105154" y="31401"/>
                </a:cubicBezTo>
                <a:cubicBezTo>
                  <a:pt x="103092" y="31401"/>
                  <a:pt x="103092" y="31401"/>
                  <a:pt x="103092" y="31401"/>
                </a:cubicBezTo>
                <a:cubicBezTo>
                  <a:pt x="101443" y="26915"/>
                  <a:pt x="101443" y="26915"/>
                  <a:pt x="101443" y="26915"/>
                </a:cubicBezTo>
                <a:cubicBezTo>
                  <a:pt x="98556" y="24672"/>
                  <a:pt x="98556" y="24672"/>
                  <a:pt x="98556" y="24672"/>
                </a:cubicBezTo>
                <a:cubicBezTo>
                  <a:pt x="96907" y="22429"/>
                  <a:pt x="96907" y="22429"/>
                  <a:pt x="96907" y="22429"/>
                </a:cubicBezTo>
                <a:cubicBezTo>
                  <a:pt x="96907" y="22429"/>
                  <a:pt x="96907" y="13457"/>
                  <a:pt x="96907" y="12336"/>
                </a:cubicBezTo>
                <a:cubicBezTo>
                  <a:pt x="96907" y="10093"/>
                  <a:pt x="96907" y="6728"/>
                  <a:pt x="96907" y="6728"/>
                </a:cubicBezTo>
                <a:cubicBezTo>
                  <a:pt x="96907" y="6728"/>
                  <a:pt x="94432" y="5607"/>
                  <a:pt x="93195" y="6728"/>
                </a:cubicBezTo>
                <a:cubicBezTo>
                  <a:pt x="92371" y="7850"/>
                  <a:pt x="91134" y="6728"/>
                  <a:pt x="91134" y="6728"/>
                </a:cubicBezTo>
                <a:cubicBezTo>
                  <a:pt x="91134" y="6728"/>
                  <a:pt x="87835" y="5607"/>
                  <a:pt x="87422" y="3364"/>
                </a:cubicBezTo>
                <a:cubicBezTo>
                  <a:pt x="87422" y="1121"/>
                  <a:pt x="87422" y="2242"/>
                  <a:pt x="87010" y="2242"/>
                </a:cubicBezTo>
                <a:cubicBezTo>
                  <a:pt x="86185" y="2242"/>
                  <a:pt x="83711" y="2242"/>
                  <a:pt x="83711" y="2242"/>
                </a:cubicBezTo>
                <a:cubicBezTo>
                  <a:pt x="81237" y="0"/>
                  <a:pt x="81237" y="0"/>
                  <a:pt x="81237" y="0"/>
                </a:cubicBezTo>
                <a:cubicBezTo>
                  <a:pt x="81237" y="10093"/>
                  <a:pt x="81237" y="10093"/>
                  <a:pt x="81237" y="10093"/>
                </a:cubicBezTo>
                <a:cubicBezTo>
                  <a:pt x="80824" y="7850"/>
                  <a:pt x="80824" y="7850"/>
                  <a:pt x="80824" y="7850"/>
                </a:cubicBezTo>
                <a:cubicBezTo>
                  <a:pt x="76701" y="6728"/>
                  <a:pt x="76701" y="6728"/>
                  <a:pt x="76701" y="6728"/>
                </a:cubicBezTo>
                <a:cubicBezTo>
                  <a:pt x="74226" y="10093"/>
                  <a:pt x="74226" y="10093"/>
                  <a:pt x="74226" y="10093"/>
                </a:cubicBezTo>
                <a:cubicBezTo>
                  <a:pt x="72164" y="12336"/>
                  <a:pt x="72164" y="12336"/>
                  <a:pt x="72164" y="12336"/>
                </a:cubicBezTo>
                <a:cubicBezTo>
                  <a:pt x="72164" y="15700"/>
                  <a:pt x="72164" y="15700"/>
                  <a:pt x="72164" y="15700"/>
                </a:cubicBezTo>
                <a:cubicBezTo>
                  <a:pt x="71340" y="19065"/>
                  <a:pt x="71340" y="19065"/>
                  <a:pt x="71340" y="19065"/>
                </a:cubicBezTo>
                <a:cubicBezTo>
                  <a:pt x="71340" y="19065"/>
                  <a:pt x="70103" y="20186"/>
                  <a:pt x="69278" y="20186"/>
                </a:cubicBezTo>
                <a:cubicBezTo>
                  <a:pt x="69278" y="21308"/>
                  <a:pt x="68865" y="23551"/>
                  <a:pt x="68865" y="24672"/>
                </a:cubicBezTo>
                <a:cubicBezTo>
                  <a:pt x="68453" y="25794"/>
                  <a:pt x="67628" y="25794"/>
                  <a:pt x="67628" y="25794"/>
                </a:cubicBezTo>
                <a:cubicBezTo>
                  <a:pt x="65979" y="24672"/>
                  <a:pt x="65979" y="24672"/>
                  <a:pt x="65979" y="24672"/>
                </a:cubicBezTo>
                <a:cubicBezTo>
                  <a:pt x="64742" y="24672"/>
                  <a:pt x="64742" y="24672"/>
                  <a:pt x="64742" y="24672"/>
                </a:cubicBezTo>
                <a:cubicBezTo>
                  <a:pt x="63917" y="22429"/>
                  <a:pt x="63917" y="22429"/>
                  <a:pt x="63917" y="22429"/>
                </a:cubicBezTo>
                <a:cubicBezTo>
                  <a:pt x="64742" y="17943"/>
                  <a:pt x="64742" y="17943"/>
                  <a:pt x="64742" y="17943"/>
                </a:cubicBezTo>
                <a:cubicBezTo>
                  <a:pt x="64742" y="15700"/>
                  <a:pt x="64742" y="15700"/>
                  <a:pt x="64742" y="15700"/>
                </a:cubicBezTo>
                <a:cubicBezTo>
                  <a:pt x="62268" y="15700"/>
                  <a:pt x="62268" y="15700"/>
                  <a:pt x="62268" y="15700"/>
                </a:cubicBezTo>
                <a:cubicBezTo>
                  <a:pt x="59793" y="13457"/>
                  <a:pt x="59793" y="13457"/>
                  <a:pt x="59793" y="13457"/>
                </a:cubicBezTo>
                <a:cubicBezTo>
                  <a:pt x="54432" y="12336"/>
                  <a:pt x="54432" y="12336"/>
                  <a:pt x="54432" y="12336"/>
                </a:cubicBezTo>
                <a:cubicBezTo>
                  <a:pt x="51134" y="10093"/>
                  <a:pt x="51134" y="10093"/>
                  <a:pt x="51134" y="10093"/>
                </a:cubicBezTo>
                <a:cubicBezTo>
                  <a:pt x="49072" y="4485"/>
                  <a:pt x="49072" y="4485"/>
                  <a:pt x="49072" y="4485"/>
                </a:cubicBezTo>
                <a:cubicBezTo>
                  <a:pt x="45773" y="2242"/>
                  <a:pt x="45773" y="2242"/>
                  <a:pt x="45773" y="2242"/>
                </a:cubicBezTo>
                <a:cubicBezTo>
                  <a:pt x="42886" y="7850"/>
                  <a:pt x="42886" y="7850"/>
                  <a:pt x="42886" y="7850"/>
                </a:cubicBezTo>
                <a:cubicBezTo>
                  <a:pt x="42886" y="7850"/>
                  <a:pt x="40000" y="4485"/>
                  <a:pt x="38762" y="4485"/>
                </a:cubicBezTo>
                <a:cubicBezTo>
                  <a:pt x="37938" y="5607"/>
                  <a:pt x="36288" y="6728"/>
                  <a:pt x="35876" y="7850"/>
                </a:cubicBezTo>
                <a:cubicBezTo>
                  <a:pt x="35463" y="7850"/>
                  <a:pt x="34639" y="11214"/>
                  <a:pt x="34226" y="11214"/>
                </a:cubicBezTo>
                <a:cubicBezTo>
                  <a:pt x="33402" y="12336"/>
                  <a:pt x="32577" y="11214"/>
                  <a:pt x="31752" y="11214"/>
                </a:cubicBezTo>
                <a:cubicBezTo>
                  <a:pt x="31340" y="12336"/>
                  <a:pt x="30927" y="13457"/>
                  <a:pt x="30103" y="13457"/>
                </a:cubicBezTo>
                <a:cubicBezTo>
                  <a:pt x="29278" y="13457"/>
                  <a:pt x="28865" y="12336"/>
                  <a:pt x="28041" y="12336"/>
                </a:cubicBezTo>
                <a:cubicBezTo>
                  <a:pt x="27628" y="13457"/>
                  <a:pt x="27216" y="14579"/>
                  <a:pt x="26391" y="14579"/>
                </a:cubicBezTo>
                <a:cubicBezTo>
                  <a:pt x="25567" y="14579"/>
                  <a:pt x="25154" y="12336"/>
                  <a:pt x="25154" y="12336"/>
                </a:cubicBezTo>
                <a:cubicBezTo>
                  <a:pt x="23917" y="12336"/>
                  <a:pt x="23917" y="12336"/>
                  <a:pt x="23917" y="12336"/>
                </a:cubicBezTo>
                <a:cubicBezTo>
                  <a:pt x="22680" y="8971"/>
                  <a:pt x="22680" y="8971"/>
                  <a:pt x="22680" y="8971"/>
                </a:cubicBezTo>
                <a:cubicBezTo>
                  <a:pt x="22680" y="8971"/>
                  <a:pt x="22268" y="11214"/>
                  <a:pt x="21030" y="11214"/>
                </a:cubicBezTo>
                <a:cubicBezTo>
                  <a:pt x="20206" y="10093"/>
                  <a:pt x="19381" y="8971"/>
                  <a:pt x="18556" y="10093"/>
                </a:cubicBezTo>
                <a:cubicBezTo>
                  <a:pt x="17731" y="10093"/>
                  <a:pt x="16494" y="11214"/>
                  <a:pt x="16494" y="11214"/>
                </a:cubicBezTo>
                <a:cubicBezTo>
                  <a:pt x="13195" y="7850"/>
                  <a:pt x="13195" y="7850"/>
                  <a:pt x="13195" y="7850"/>
                </a:cubicBezTo>
                <a:cubicBezTo>
                  <a:pt x="11134" y="6728"/>
                  <a:pt x="11134" y="6728"/>
                  <a:pt x="11134" y="6728"/>
                </a:cubicBezTo>
                <a:cubicBezTo>
                  <a:pt x="9484" y="5607"/>
                  <a:pt x="9484" y="5607"/>
                  <a:pt x="9484" y="5607"/>
                </a:cubicBezTo>
                <a:cubicBezTo>
                  <a:pt x="8659" y="8971"/>
                  <a:pt x="8659" y="8971"/>
                  <a:pt x="8659" y="8971"/>
                </a:cubicBezTo>
                <a:cubicBezTo>
                  <a:pt x="6597" y="8971"/>
                  <a:pt x="6597" y="8971"/>
                  <a:pt x="6597" y="8971"/>
                </a:cubicBezTo>
                <a:cubicBezTo>
                  <a:pt x="6597" y="8971"/>
                  <a:pt x="4123" y="6728"/>
                  <a:pt x="2474" y="7850"/>
                </a:cubicBezTo>
                <a:cubicBezTo>
                  <a:pt x="2061" y="7850"/>
                  <a:pt x="824" y="11214"/>
                  <a:pt x="412" y="11214"/>
                </a:cubicBezTo>
                <a:cubicBezTo>
                  <a:pt x="0" y="12336"/>
                  <a:pt x="412" y="12336"/>
                  <a:pt x="824" y="15700"/>
                </a:cubicBezTo>
                <a:cubicBezTo>
                  <a:pt x="824" y="17943"/>
                  <a:pt x="412" y="22429"/>
                  <a:pt x="412" y="22429"/>
                </a:cubicBezTo>
                <a:cubicBezTo>
                  <a:pt x="2886" y="23551"/>
                  <a:pt x="2886" y="23551"/>
                  <a:pt x="2886" y="23551"/>
                </a:cubicBezTo>
                <a:cubicBezTo>
                  <a:pt x="4948" y="25794"/>
                  <a:pt x="4948" y="25794"/>
                  <a:pt x="4948" y="25794"/>
                </a:cubicBezTo>
                <a:cubicBezTo>
                  <a:pt x="5360" y="30280"/>
                  <a:pt x="5360" y="30280"/>
                  <a:pt x="5360" y="30280"/>
                </a:cubicBezTo>
                <a:cubicBezTo>
                  <a:pt x="5360" y="30280"/>
                  <a:pt x="6597" y="33644"/>
                  <a:pt x="7010" y="32523"/>
                </a:cubicBezTo>
                <a:cubicBezTo>
                  <a:pt x="7422" y="32523"/>
                  <a:pt x="7010" y="31401"/>
                  <a:pt x="7422" y="30280"/>
                </a:cubicBezTo>
                <a:cubicBezTo>
                  <a:pt x="7422" y="30280"/>
                  <a:pt x="7835" y="32523"/>
                  <a:pt x="8659" y="32523"/>
                </a:cubicBezTo>
                <a:cubicBezTo>
                  <a:pt x="8659" y="32523"/>
                  <a:pt x="9484" y="31401"/>
                  <a:pt x="9896" y="31401"/>
                </a:cubicBezTo>
                <a:cubicBezTo>
                  <a:pt x="10721" y="32523"/>
                  <a:pt x="11134" y="33644"/>
                  <a:pt x="11546" y="33644"/>
                </a:cubicBezTo>
                <a:cubicBezTo>
                  <a:pt x="11958" y="33644"/>
                  <a:pt x="12783" y="32523"/>
                  <a:pt x="12783" y="32523"/>
                </a:cubicBezTo>
                <a:cubicBezTo>
                  <a:pt x="13608" y="31401"/>
                  <a:pt x="14845" y="30280"/>
                  <a:pt x="16082" y="33644"/>
                </a:cubicBezTo>
                <a:cubicBezTo>
                  <a:pt x="16907" y="35887"/>
                  <a:pt x="16494" y="37009"/>
                  <a:pt x="17319" y="37009"/>
                </a:cubicBezTo>
                <a:cubicBezTo>
                  <a:pt x="17731" y="37009"/>
                  <a:pt x="17731" y="34766"/>
                  <a:pt x="18144" y="34766"/>
                </a:cubicBezTo>
                <a:cubicBezTo>
                  <a:pt x="18969" y="34766"/>
                  <a:pt x="18969" y="35887"/>
                  <a:pt x="19381" y="37009"/>
                </a:cubicBezTo>
                <a:cubicBezTo>
                  <a:pt x="20206" y="39252"/>
                  <a:pt x="20206" y="41495"/>
                  <a:pt x="21030" y="42616"/>
                </a:cubicBezTo>
                <a:cubicBezTo>
                  <a:pt x="21030" y="43738"/>
                  <a:pt x="21443" y="44859"/>
                  <a:pt x="22268" y="44859"/>
                </a:cubicBezTo>
                <a:cubicBezTo>
                  <a:pt x="22268" y="44859"/>
                  <a:pt x="22680" y="43738"/>
                  <a:pt x="22680" y="43738"/>
                </a:cubicBezTo>
                <a:cubicBezTo>
                  <a:pt x="23505" y="43738"/>
                  <a:pt x="24329" y="43738"/>
                  <a:pt x="24742" y="44859"/>
                </a:cubicBezTo>
                <a:cubicBezTo>
                  <a:pt x="26391" y="44859"/>
                  <a:pt x="26804" y="44859"/>
                  <a:pt x="27216" y="45981"/>
                </a:cubicBezTo>
                <a:cubicBezTo>
                  <a:pt x="27628" y="48224"/>
                  <a:pt x="28453" y="51588"/>
                  <a:pt x="28865" y="53831"/>
                </a:cubicBezTo>
                <a:cubicBezTo>
                  <a:pt x="29278" y="56074"/>
                  <a:pt x="29690" y="60560"/>
                  <a:pt x="30103" y="61682"/>
                </a:cubicBezTo>
                <a:cubicBezTo>
                  <a:pt x="30515" y="63925"/>
                  <a:pt x="31752" y="65046"/>
                  <a:pt x="32164" y="67289"/>
                </a:cubicBezTo>
                <a:cubicBezTo>
                  <a:pt x="32577" y="68411"/>
                  <a:pt x="33402" y="75140"/>
                  <a:pt x="33814" y="77383"/>
                </a:cubicBezTo>
                <a:cubicBezTo>
                  <a:pt x="33814" y="79626"/>
                  <a:pt x="35051" y="82990"/>
                  <a:pt x="35463" y="87476"/>
                </a:cubicBezTo>
                <a:cubicBezTo>
                  <a:pt x="36288" y="91962"/>
                  <a:pt x="36288" y="95327"/>
                  <a:pt x="36288" y="95327"/>
                </a:cubicBezTo>
                <a:cubicBezTo>
                  <a:pt x="36288" y="99813"/>
                  <a:pt x="36288" y="99813"/>
                  <a:pt x="36288" y="99813"/>
                </a:cubicBezTo>
                <a:cubicBezTo>
                  <a:pt x="36288" y="99813"/>
                  <a:pt x="35051" y="109906"/>
                  <a:pt x="34226" y="112149"/>
                </a:cubicBezTo>
                <a:cubicBezTo>
                  <a:pt x="33402" y="114392"/>
                  <a:pt x="34639" y="117757"/>
                  <a:pt x="35876" y="118878"/>
                </a:cubicBezTo>
                <a:cubicBezTo>
                  <a:pt x="37113" y="120000"/>
                  <a:pt x="40412" y="115514"/>
                  <a:pt x="40412" y="115514"/>
                </a:cubicBezTo>
                <a:cubicBezTo>
                  <a:pt x="42474" y="113271"/>
                  <a:pt x="42474" y="113271"/>
                  <a:pt x="42474" y="113271"/>
                </a:cubicBezTo>
                <a:cubicBezTo>
                  <a:pt x="44536" y="112149"/>
                  <a:pt x="44536" y="112149"/>
                  <a:pt x="44536" y="112149"/>
                </a:cubicBezTo>
                <a:cubicBezTo>
                  <a:pt x="44536" y="112149"/>
                  <a:pt x="49484" y="111028"/>
                  <a:pt x="50309" y="109906"/>
                </a:cubicBezTo>
                <a:cubicBezTo>
                  <a:pt x="51546" y="107663"/>
                  <a:pt x="51546" y="105420"/>
                  <a:pt x="51546" y="105420"/>
                </a:cubicBezTo>
                <a:cubicBezTo>
                  <a:pt x="51134" y="102056"/>
                  <a:pt x="51134" y="102056"/>
                  <a:pt x="51134" y="102056"/>
                </a:cubicBezTo>
                <a:cubicBezTo>
                  <a:pt x="51134" y="102056"/>
                  <a:pt x="53608" y="98691"/>
                  <a:pt x="54845" y="97570"/>
                </a:cubicBezTo>
                <a:cubicBezTo>
                  <a:pt x="55670" y="96448"/>
                  <a:pt x="56494" y="98691"/>
                  <a:pt x="56494" y="98691"/>
                </a:cubicBezTo>
                <a:cubicBezTo>
                  <a:pt x="57731" y="102056"/>
                  <a:pt x="57731" y="102056"/>
                  <a:pt x="57731" y="102056"/>
                </a:cubicBezTo>
                <a:cubicBezTo>
                  <a:pt x="59381" y="106542"/>
                  <a:pt x="59381" y="106542"/>
                  <a:pt x="59381" y="106542"/>
                </a:cubicBezTo>
                <a:cubicBezTo>
                  <a:pt x="61443" y="107663"/>
                  <a:pt x="61443" y="107663"/>
                  <a:pt x="61443" y="107663"/>
                </a:cubicBezTo>
                <a:cubicBezTo>
                  <a:pt x="61443" y="107663"/>
                  <a:pt x="62680" y="111028"/>
                  <a:pt x="63092" y="112149"/>
                </a:cubicBezTo>
                <a:cubicBezTo>
                  <a:pt x="63092" y="114392"/>
                  <a:pt x="63092" y="114392"/>
                  <a:pt x="63092" y="114392"/>
                </a:cubicBezTo>
                <a:cubicBezTo>
                  <a:pt x="65567" y="114392"/>
                  <a:pt x="65567" y="114392"/>
                  <a:pt x="65567" y="114392"/>
                </a:cubicBezTo>
                <a:cubicBezTo>
                  <a:pt x="67628" y="112149"/>
                  <a:pt x="67628" y="112149"/>
                  <a:pt x="67628" y="112149"/>
                </a:cubicBezTo>
                <a:cubicBezTo>
                  <a:pt x="69690" y="115514"/>
                  <a:pt x="69690" y="115514"/>
                  <a:pt x="69690" y="115514"/>
                </a:cubicBezTo>
                <a:cubicBezTo>
                  <a:pt x="71752" y="113271"/>
                  <a:pt x="71752" y="113271"/>
                  <a:pt x="71752" y="113271"/>
                </a:cubicBezTo>
                <a:cubicBezTo>
                  <a:pt x="71340" y="112149"/>
                  <a:pt x="69690" y="111028"/>
                  <a:pt x="69690" y="111028"/>
                </a:cubicBezTo>
                <a:cubicBezTo>
                  <a:pt x="67628" y="111028"/>
                  <a:pt x="67628" y="111028"/>
                  <a:pt x="67628" y="111028"/>
                </a:cubicBezTo>
                <a:cubicBezTo>
                  <a:pt x="67216" y="109906"/>
                  <a:pt x="67216" y="109906"/>
                  <a:pt x="67216" y="109906"/>
                </a:cubicBezTo>
                <a:cubicBezTo>
                  <a:pt x="66391" y="107663"/>
                  <a:pt x="66391" y="107663"/>
                  <a:pt x="66391" y="107663"/>
                </a:cubicBezTo>
                <a:cubicBezTo>
                  <a:pt x="68041" y="104299"/>
                  <a:pt x="68041" y="104299"/>
                  <a:pt x="68041" y="104299"/>
                </a:cubicBezTo>
                <a:cubicBezTo>
                  <a:pt x="68041" y="104299"/>
                  <a:pt x="68865" y="104299"/>
                  <a:pt x="69278" y="103177"/>
                </a:cubicBezTo>
                <a:cubicBezTo>
                  <a:pt x="70103" y="103177"/>
                  <a:pt x="72577" y="100934"/>
                  <a:pt x="72577" y="100934"/>
                </a:cubicBezTo>
                <a:cubicBezTo>
                  <a:pt x="73402" y="98691"/>
                  <a:pt x="73402" y="98691"/>
                  <a:pt x="73402" y="98691"/>
                </a:cubicBezTo>
                <a:cubicBezTo>
                  <a:pt x="73402" y="98691"/>
                  <a:pt x="74226" y="96448"/>
                  <a:pt x="74226" y="96448"/>
                </a:cubicBezTo>
                <a:cubicBezTo>
                  <a:pt x="74639" y="96448"/>
                  <a:pt x="75463" y="96448"/>
                  <a:pt x="75876" y="95327"/>
                </a:cubicBezTo>
                <a:cubicBezTo>
                  <a:pt x="75876" y="95327"/>
                  <a:pt x="76288" y="94205"/>
                  <a:pt x="76288" y="94205"/>
                </a:cubicBezTo>
                <a:cubicBezTo>
                  <a:pt x="76288" y="94205"/>
                  <a:pt x="76288" y="93084"/>
                  <a:pt x="76701" y="93084"/>
                </a:cubicBezTo>
                <a:cubicBezTo>
                  <a:pt x="76701" y="93084"/>
                  <a:pt x="77113" y="93084"/>
                  <a:pt x="77525" y="91962"/>
                </a:cubicBezTo>
                <a:cubicBezTo>
                  <a:pt x="77938" y="91962"/>
                  <a:pt x="77938" y="91962"/>
                  <a:pt x="78350" y="90841"/>
                </a:cubicBezTo>
                <a:cubicBezTo>
                  <a:pt x="78350" y="90841"/>
                  <a:pt x="78762" y="87476"/>
                  <a:pt x="78762" y="87476"/>
                </a:cubicBezTo>
                <a:cubicBezTo>
                  <a:pt x="78762" y="87476"/>
                  <a:pt x="78762" y="87476"/>
                  <a:pt x="78762" y="87476"/>
                </a:cubicBezTo>
                <a:cubicBezTo>
                  <a:pt x="79175" y="87476"/>
                  <a:pt x="79587" y="88598"/>
                  <a:pt x="79587" y="88598"/>
                </a:cubicBezTo>
                <a:cubicBezTo>
                  <a:pt x="79587" y="88598"/>
                  <a:pt x="80412" y="88598"/>
                  <a:pt x="80824" y="88598"/>
                </a:cubicBezTo>
                <a:cubicBezTo>
                  <a:pt x="80824" y="88598"/>
                  <a:pt x="81649" y="87476"/>
                  <a:pt x="81649" y="87476"/>
                </a:cubicBezTo>
                <a:cubicBezTo>
                  <a:pt x="81649" y="87476"/>
                  <a:pt x="81649" y="86355"/>
                  <a:pt x="82061" y="86355"/>
                </a:cubicBezTo>
                <a:cubicBezTo>
                  <a:pt x="82474" y="86355"/>
                  <a:pt x="82886" y="86355"/>
                  <a:pt x="83298" y="86355"/>
                </a:cubicBezTo>
                <a:cubicBezTo>
                  <a:pt x="83298" y="86355"/>
                  <a:pt x="84123" y="86355"/>
                  <a:pt x="84123" y="86355"/>
                </a:cubicBezTo>
                <a:cubicBezTo>
                  <a:pt x="84536" y="85233"/>
                  <a:pt x="84536" y="85233"/>
                  <a:pt x="84536" y="85233"/>
                </a:cubicBezTo>
                <a:cubicBezTo>
                  <a:pt x="84948" y="85233"/>
                  <a:pt x="84536" y="84112"/>
                  <a:pt x="84948" y="85233"/>
                </a:cubicBezTo>
                <a:cubicBezTo>
                  <a:pt x="85360" y="85233"/>
                  <a:pt x="84948" y="86355"/>
                  <a:pt x="85360" y="85233"/>
                </a:cubicBezTo>
                <a:cubicBezTo>
                  <a:pt x="85773" y="84112"/>
                  <a:pt x="86185" y="81869"/>
                  <a:pt x="86185" y="81869"/>
                </a:cubicBezTo>
                <a:cubicBezTo>
                  <a:pt x="86185" y="81869"/>
                  <a:pt x="85773" y="81869"/>
                  <a:pt x="86597" y="81869"/>
                </a:cubicBezTo>
                <a:cubicBezTo>
                  <a:pt x="87422" y="81869"/>
                  <a:pt x="87422" y="81869"/>
                  <a:pt x="88247" y="81869"/>
                </a:cubicBezTo>
                <a:cubicBezTo>
                  <a:pt x="88659" y="81869"/>
                  <a:pt x="89484" y="80747"/>
                  <a:pt x="89484" y="80747"/>
                </a:cubicBezTo>
                <a:cubicBezTo>
                  <a:pt x="89896" y="80747"/>
                  <a:pt x="90309" y="79626"/>
                  <a:pt x="90309" y="79626"/>
                </a:cubicBezTo>
                <a:cubicBezTo>
                  <a:pt x="90309" y="78504"/>
                  <a:pt x="88659" y="76261"/>
                  <a:pt x="88659" y="76261"/>
                </a:cubicBezTo>
                <a:cubicBezTo>
                  <a:pt x="88659" y="76261"/>
                  <a:pt x="87835" y="75140"/>
                  <a:pt x="89072" y="75140"/>
                </a:cubicBezTo>
                <a:cubicBezTo>
                  <a:pt x="90309" y="76261"/>
                  <a:pt x="90721" y="76261"/>
                  <a:pt x="90721" y="76261"/>
                </a:cubicBezTo>
                <a:cubicBezTo>
                  <a:pt x="91134" y="76261"/>
                  <a:pt x="91134" y="75140"/>
                  <a:pt x="91546" y="75140"/>
                </a:cubicBezTo>
                <a:cubicBezTo>
                  <a:pt x="91958" y="74018"/>
                  <a:pt x="92371" y="72897"/>
                  <a:pt x="92371" y="72897"/>
                </a:cubicBezTo>
                <a:cubicBezTo>
                  <a:pt x="92783" y="72897"/>
                  <a:pt x="93608" y="75140"/>
                  <a:pt x="93608" y="75140"/>
                </a:cubicBezTo>
                <a:cubicBezTo>
                  <a:pt x="93608" y="77383"/>
                  <a:pt x="93608" y="77383"/>
                  <a:pt x="93608" y="77383"/>
                </a:cubicBezTo>
                <a:cubicBezTo>
                  <a:pt x="94845" y="77383"/>
                  <a:pt x="94845" y="77383"/>
                  <a:pt x="94845" y="77383"/>
                </a:cubicBezTo>
                <a:cubicBezTo>
                  <a:pt x="94845" y="77383"/>
                  <a:pt x="95257" y="77383"/>
                  <a:pt x="95257" y="77383"/>
                </a:cubicBezTo>
                <a:cubicBezTo>
                  <a:pt x="110927" y="79626"/>
                  <a:pt x="110927" y="79626"/>
                  <a:pt x="110927" y="79626"/>
                </a:cubicBezTo>
                <a:close/>
                <a:moveTo>
                  <a:pt x="110927" y="79626"/>
                </a:moveTo>
                <a:cubicBezTo>
                  <a:pt x="110927" y="79626"/>
                  <a:pt x="110927" y="79626"/>
                  <a:pt x="110927" y="79626"/>
                </a:cubicBezTo>
                <a:cubicBezTo>
                  <a:pt x="110927" y="79626"/>
                  <a:pt x="110927" y="79626"/>
                  <a:pt x="110927" y="79626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" name="Google Shape;3033;p256">
            <a:extLst>
              <a:ext uri="{FF2B5EF4-FFF2-40B4-BE49-F238E27FC236}">
                <a16:creationId xmlns:a16="http://schemas.microsoft.com/office/drawing/2014/main" id="{F2A2D806-75A4-5D56-CB5C-5A5E754EE528}"/>
              </a:ext>
            </a:extLst>
          </p:cNvPr>
          <p:cNvSpPr/>
          <p:nvPr/>
        </p:nvSpPr>
        <p:spPr>
          <a:xfrm>
            <a:off x="9831316" y="2394058"/>
            <a:ext cx="664086" cy="49637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933" y="22285"/>
                </a:moveTo>
                <a:cubicBezTo>
                  <a:pt x="15911" y="18857"/>
                  <a:pt x="15911" y="18857"/>
                  <a:pt x="15911" y="18857"/>
                </a:cubicBezTo>
                <a:cubicBezTo>
                  <a:pt x="17900" y="16285"/>
                  <a:pt x="17900" y="16285"/>
                  <a:pt x="17900" y="16285"/>
                </a:cubicBezTo>
                <a:cubicBezTo>
                  <a:pt x="22541" y="17142"/>
                  <a:pt x="22541" y="17142"/>
                  <a:pt x="22541" y="17142"/>
                </a:cubicBezTo>
                <a:cubicBezTo>
                  <a:pt x="22541" y="17142"/>
                  <a:pt x="25856" y="15428"/>
                  <a:pt x="26519" y="15428"/>
                </a:cubicBezTo>
                <a:cubicBezTo>
                  <a:pt x="27182" y="15428"/>
                  <a:pt x="31823" y="14571"/>
                  <a:pt x="31823" y="14571"/>
                </a:cubicBezTo>
                <a:cubicBezTo>
                  <a:pt x="34475" y="12000"/>
                  <a:pt x="34475" y="12000"/>
                  <a:pt x="34475" y="12000"/>
                </a:cubicBezTo>
                <a:cubicBezTo>
                  <a:pt x="34475" y="12000"/>
                  <a:pt x="36464" y="12857"/>
                  <a:pt x="36464" y="13714"/>
                </a:cubicBezTo>
                <a:cubicBezTo>
                  <a:pt x="37127" y="14571"/>
                  <a:pt x="39116" y="17142"/>
                  <a:pt x="39779" y="17142"/>
                </a:cubicBezTo>
                <a:cubicBezTo>
                  <a:pt x="40441" y="16285"/>
                  <a:pt x="41104" y="12857"/>
                  <a:pt x="41104" y="12857"/>
                </a:cubicBezTo>
                <a:cubicBezTo>
                  <a:pt x="45082" y="12000"/>
                  <a:pt x="45082" y="12000"/>
                  <a:pt x="45082" y="12000"/>
                </a:cubicBezTo>
                <a:cubicBezTo>
                  <a:pt x="48397" y="11142"/>
                  <a:pt x="48397" y="11142"/>
                  <a:pt x="48397" y="11142"/>
                </a:cubicBezTo>
                <a:cubicBezTo>
                  <a:pt x="48397" y="11142"/>
                  <a:pt x="48397" y="10285"/>
                  <a:pt x="49060" y="10285"/>
                </a:cubicBezTo>
                <a:cubicBezTo>
                  <a:pt x="49723" y="11142"/>
                  <a:pt x="53701" y="11142"/>
                  <a:pt x="53701" y="11142"/>
                </a:cubicBezTo>
                <a:cubicBezTo>
                  <a:pt x="57679" y="11142"/>
                  <a:pt x="57679" y="11142"/>
                  <a:pt x="57679" y="11142"/>
                </a:cubicBezTo>
                <a:cubicBezTo>
                  <a:pt x="57679" y="11142"/>
                  <a:pt x="60331" y="12857"/>
                  <a:pt x="60994" y="12857"/>
                </a:cubicBezTo>
                <a:cubicBezTo>
                  <a:pt x="60994" y="12000"/>
                  <a:pt x="62983" y="8571"/>
                  <a:pt x="62983" y="8571"/>
                </a:cubicBezTo>
                <a:cubicBezTo>
                  <a:pt x="66961" y="10285"/>
                  <a:pt x="66961" y="10285"/>
                  <a:pt x="66961" y="10285"/>
                </a:cubicBezTo>
                <a:cubicBezTo>
                  <a:pt x="67624" y="6857"/>
                  <a:pt x="67624" y="6857"/>
                  <a:pt x="67624" y="6857"/>
                </a:cubicBezTo>
                <a:cubicBezTo>
                  <a:pt x="67624" y="6857"/>
                  <a:pt x="69613" y="2571"/>
                  <a:pt x="69613" y="2571"/>
                </a:cubicBezTo>
                <a:cubicBezTo>
                  <a:pt x="70276" y="2571"/>
                  <a:pt x="72928" y="0"/>
                  <a:pt x="72928" y="0"/>
                </a:cubicBezTo>
                <a:cubicBezTo>
                  <a:pt x="74254" y="5142"/>
                  <a:pt x="74254" y="5142"/>
                  <a:pt x="74254" y="5142"/>
                </a:cubicBezTo>
                <a:cubicBezTo>
                  <a:pt x="76906" y="7714"/>
                  <a:pt x="76906" y="7714"/>
                  <a:pt x="76906" y="7714"/>
                </a:cubicBezTo>
                <a:cubicBezTo>
                  <a:pt x="77569" y="8571"/>
                  <a:pt x="77569" y="8571"/>
                  <a:pt x="77569" y="8571"/>
                </a:cubicBezTo>
                <a:cubicBezTo>
                  <a:pt x="80220" y="11142"/>
                  <a:pt x="80220" y="11142"/>
                  <a:pt x="80220" y="11142"/>
                </a:cubicBezTo>
                <a:cubicBezTo>
                  <a:pt x="84861" y="9428"/>
                  <a:pt x="84861" y="9428"/>
                  <a:pt x="84861" y="9428"/>
                </a:cubicBezTo>
                <a:cubicBezTo>
                  <a:pt x="87513" y="8571"/>
                  <a:pt x="87513" y="8571"/>
                  <a:pt x="87513" y="8571"/>
                </a:cubicBezTo>
                <a:cubicBezTo>
                  <a:pt x="89502" y="8571"/>
                  <a:pt x="89502" y="8571"/>
                  <a:pt x="89502" y="8571"/>
                </a:cubicBezTo>
                <a:cubicBezTo>
                  <a:pt x="90165" y="10285"/>
                  <a:pt x="90165" y="10285"/>
                  <a:pt x="90165" y="10285"/>
                </a:cubicBezTo>
                <a:cubicBezTo>
                  <a:pt x="92154" y="12000"/>
                  <a:pt x="92154" y="12000"/>
                  <a:pt x="92154" y="12000"/>
                </a:cubicBezTo>
                <a:cubicBezTo>
                  <a:pt x="95469" y="12000"/>
                  <a:pt x="95469" y="12000"/>
                  <a:pt x="95469" y="12000"/>
                </a:cubicBezTo>
                <a:cubicBezTo>
                  <a:pt x="96795" y="14571"/>
                  <a:pt x="96795" y="14571"/>
                  <a:pt x="96795" y="14571"/>
                </a:cubicBezTo>
                <a:cubicBezTo>
                  <a:pt x="99447" y="15428"/>
                  <a:pt x="99447" y="15428"/>
                  <a:pt x="99447" y="15428"/>
                </a:cubicBezTo>
                <a:cubicBezTo>
                  <a:pt x="101436" y="18857"/>
                  <a:pt x="101436" y="18857"/>
                  <a:pt x="101436" y="18857"/>
                </a:cubicBezTo>
                <a:cubicBezTo>
                  <a:pt x="103425" y="19714"/>
                  <a:pt x="103425" y="19714"/>
                  <a:pt x="103425" y="19714"/>
                </a:cubicBezTo>
                <a:cubicBezTo>
                  <a:pt x="104751" y="23142"/>
                  <a:pt x="104751" y="23142"/>
                  <a:pt x="104751" y="23142"/>
                </a:cubicBezTo>
                <a:cubicBezTo>
                  <a:pt x="107403" y="23142"/>
                  <a:pt x="107403" y="23142"/>
                  <a:pt x="107403" y="23142"/>
                </a:cubicBezTo>
                <a:cubicBezTo>
                  <a:pt x="110718" y="24000"/>
                  <a:pt x="110718" y="24000"/>
                  <a:pt x="110718" y="24000"/>
                </a:cubicBezTo>
                <a:cubicBezTo>
                  <a:pt x="112707" y="24000"/>
                  <a:pt x="112707" y="24000"/>
                  <a:pt x="112707" y="24000"/>
                </a:cubicBezTo>
                <a:cubicBezTo>
                  <a:pt x="112707" y="24000"/>
                  <a:pt x="112707" y="24000"/>
                  <a:pt x="112707" y="24000"/>
                </a:cubicBezTo>
                <a:cubicBezTo>
                  <a:pt x="113370" y="24000"/>
                  <a:pt x="113370" y="24000"/>
                  <a:pt x="113370" y="24000"/>
                </a:cubicBezTo>
                <a:cubicBezTo>
                  <a:pt x="114033" y="31714"/>
                  <a:pt x="114033" y="31714"/>
                  <a:pt x="114033" y="31714"/>
                </a:cubicBezTo>
                <a:cubicBezTo>
                  <a:pt x="112707" y="36000"/>
                  <a:pt x="112707" y="36000"/>
                  <a:pt x="112707" y="36000"/>
                </a:cubicBezTo>
                <a:cubicBezTo>
                  <a:pt x="112707" y="40285"/>
                  <a:pt x="112707" y="40285"/>
                  <a:pt x="112707" y="40285"/>
                </a:cubicBezTo>
                <a:cubicBezTo>
                  <a:pt x="114696" y="41142"/>
                  <a:pt x="114696" y="41142"/>
                  <a:pt x="114696" y="41142"/>
                </a:cubicBezTo>
                <a:cubicBezTo>
                  <a:pt x="119337" y="40285"/>
                  <a:pt x="119337" y="40285"/>
                  <a:pt x="119337" y="40285"/>
                </a:cubicBezTo>
                <a:cubicBezTo>
                  <a:pt x="120000" y="43714"/>
                  <a:pt x="120000" y="43714"/>
                  <a:pt x="120000" y="43714"/>
                </a:cubicBezTo>
                <a:cubicBezTo>
                  <a:pt x="117348" y="45428"/>
                  <a:pt x="117348" y="45428"/>
                  <a:pt x="117348" y="45428"/>
                </a:cubicBezTo>
                <a:cubicBezTo>
                  <a:pt x="118011" y="49714"/>
                  <a:pt x="118011" y="49714"/>
                  <a:pt x="118011" y="49714"/>
                </a:cubicBezTo>
                <a:cubicBezTo>
                  <a:pt x="112707" y="48857"/>
                  <a:pt x="112707" y="48857"/>
                  <a:pt x="112707" y="48857"/>
                </a:cubicBezTo>
                <a:cubicBezTo>
                  <a:pt x="110718" y="51428"/>
                  <a:pt x="110718" y="51428"/>
                  <a:pt x="110718" y="51428"/>
                </a:cubicBezTo>
                <a:cubicBezTo>
                  <a:pt x="110718" y="57428"/>
                  <a:pt x="110718" y="57428"/>
                  <a:pt x="110718" y="57428"/>
                </a:cubicBezTo>
                <a:cubicBezTo>
                  <a:pt x="105414" y="60000"/>
                  <a:pt x="105414" y="60000"/>
                  <a:pt x="105414" y="60000"/>
                </a:cubicBezTo>
                <a:cubicBezTo>
                  <a:pt x="104088" y="63428"/>
                  <a:pt x="104088" y="63428"/>
                  <a:pt x="104088" y="63428"/>
                </a:cubicBezTo>
                <a:cubicBezTo>
                  <a:pt x="104088" y="66857"/>
                  <a:pt x="104088" y="66857"/>
                  <a:pt x="104088" y="66857"/>
                </a:cubicBezTo>
                <a:cubicBezTo>
                  <a:pt x="103425" y="70285"/>
                  <a:pt x="103425" y="70285"/>
                  <a:pt x="103425" y="70285"/>
                </a:cubicBezTo>
                <a:cubicBezTo>
                  <a:pt x="104088" y="76285"/>
                  <a:pt x="104088" y="76285"/>
                  <a:pt x="104088" y="76285"/>
                </a:cubicBezTo>
                <a:cubicBezTo>
                  <a:pt x="104751" y="81428"/>
                  <a:pt x="104751" y="81428"/>
                  <a:pt x="104751" y="81428"/>
                </a:cubicBezTo>
                <a:cubicBezTo>
                  <a:pt x="104751" y="81428"/>
                  <a:pt x="103425" y="85714"/>
                  <a:pt x="102762" y="88285"/>
                </a:cubicBezTo>
                <a:cubicBezTo>
                  <a:pt x="102762" y="90000"/>
                  <a:pt x="104088" y="89142"/>
                  <a:pt x="104088" y="89142"/>
                </a:cubicBezTo>
                <a:cubicBezTo>
                  <a:pt x="107403" y="90857"/>
                  <a:pt x="107403" y="90857"/>
                  <a:pt x="107403" y="90857"/>
                </a:cubicBezTo>
                <a:cubicBezTo>
                  <a:pt x="108729" y="91714"/>
                  <a:pt x="108729" y="91714"/>
                  <a:pt x="108729" y="91714"/>
                </a:cubicBezTo>
                <a:cubicBezTo>
                  <a:pt x="107403" y="96857"/>
                  <a:pt x="107403" y="96857"/>
                  <a:pt x="107403" y="96857"/>
                </a:cubicBezTo>
                <a:cubicBezTo>
                  <a:pt x="104088" y="97714"/>
                  <a:pt x="104088" y="97714"/>
                  <a:pt x="104088" y="97714"/>
                </a:cubicBezTo>
                <a:cubicBezTo>
                  <a:pt x="104751" y="94285"/>
                  <a:pt x="104751" y="94285"/>
                  <a:pt x="104751" y="94285"/>
                </a:cubicBezTo>
                <a:cubicBezTo>
                  <a:pt x="103425" y="92571"/>
                  <a:pt x="103425" y="92571"/>
                  <a:pt x="103425" y="92571"/>
                </a:cubicBezTo>
                <a:cubicBezTo>
                  <a:pt x="101436" y="95142"/>
                  <a:pt x="101436" y="95142"/>
                  <a:pt x="101436" y="95142"/>
                </a:cubicBezTo>
                <a:cubicBezTo>
                  <a:pt x="96795" y="96857"/>
                  <a:pt x="96795" y="96857"/>
                  <a:pt x="96795" y="96857"/>
                </a:cubicBezTo>
                <a:cubicBezTo>
                  <a:pt x="96795" y="98571"/>
                  <a:pt x="96795" y="98571"/>
                  <a:pt x="96795" y="98571"/>
                </a:cubicBezTo>
                <a:cubicBezTo>
                  <a:pt x="95469" y="102000"/>
                  <a:pt x="95469" y="102000"/>
                  <a:pt x="95469" y="102000"/>
                </a:cubicBezTo>
                <a:cubicBezTo>
                  <a:pt x="95469" y="102000"/>
                  <a:pt x="92817" y="102000"/>
                  <a:pt x="91491" y="102000"/>
                </a:cubicBezTo>
                <a:cubicBezTo>
                  <a:pt x="90828" y="101142"/>
                  <a:pt x="90165" y="103714"/>
                  <a:pt x="90165" y="103714"/>
                </a:cubicBezTo>
                <a:cubicBezTo>
                  <a:pt x="91491" y="109714"/>
                  <a:pt x="91491" y="109714"/>
                  <a:pt x="91491" y="109714"/>
                </a:cubicBezTo>
                <a:cubicBezTo>
                  <a:pt x="88176" y="109714"/>
                  <a:pt x="88176" y="109714"/>
                  <a:pt x="88176" y="109714"/>
                </a:cubicBezTo>
                <a:cubicBezTo>
                  <a:pt x="85524" y="114000"/>
                  <a:pt x="85524" y="114000"/>
                  <a:pt x="85524" y="114000"/>
                </a:cubicBezTo>
                <a:cubicBezTo>
                  <a:pt x="80883" y="114857"/>
                  <a:pt x="80883" y="114857"/>
                  <a:pt x="80883" y="114857"/>
                </a:cubicBezTo>
                <a:cubicBezTo>
                  <a:pt x="76906" y="114000"/>
                  <a:pt x="76906" y="114000"/>
                  <a:pt x="76906" y="114000"/>
                </a:cubicBezTo>
                <a:cubicBezTo>
                  <a:pt x="70276" y="117428"/>
                  <a:pt x="70276" y="117428"/>
                  <a:pt x="70276" y="117428"/>
                </a:cubicBezTo>
                <a:cubicBezTo>
                  <a:pt x="64309" y="119142"/>
                  <a:pt x="64309" y="119142"/>
                  <a:pt x="64309" y="119142"/>
                </a:cubicBezTo>
                <a:cubicBezTo>
                  <a:pt x="64309" y="120000"/>
                  <a:pt x="64309" y="120000"/>
                  <a:pt x="64309" y="120000"/>
                </a:cubicBezTo>
                <a:cubicBezTo>
                  <a:pt x="63646" y="114857"/>
                  <a:pt x="63646" y="114857"/>
                  <a:pt x="63646" y="114857"/>
                </a:cubicBezTo>
                <a:cubicBezTo>
                  <a:pt x="61657" y="112285"/>
                  <a:pt x="61657" y="112285"/>
                  <a:pt x="61657" y="112285"/>
                </a:cubicBezTo>
                <a:cubicBezTo>
                  <a:pt x="61657" y="112285"/>
                  <a:pt x="59668" y="107142"/>
                  <a:pt x="59668" y="106285"/>
                </a:cubicBezTo>
                <a:cubicBezTo>
                  <a:pt x="59668" y="106285"/>
                  <a:pt x="52375" y="106285"/>
                  <a:pt x="52375" y="106285"/>
                </a:cubicBezTo>
                <a:cubicBezTo>
                  <a:pt x="52375" y="106285"/>
                  <a:pt x="51049" y="103714"/>
                  <a:pt x="50386" y="102000"/>
                </a:cubicBezTo>
                <a:cubicBezTo>
                  <a:pt x="50386" y="101142"/>
                  <a:pt x="48397" y="103714"/>
                  <a:pt x="48397" y="103714"/>
                </a:cubicBezTo>
                <a:cubicBezTo>
                  <a:pt x="45745" y="104571"/>
                  <a:pt x="45745" y="104571"/>
                  <a:pt x="45745" y="104571"/>
                </a:cubicBezTo>
                <a:cubicBezTo>
                  <a:pt x="45745" y="103714"/>
                  <a:pt x="45745" y="103714"/>
                  <a:pt x="45745" y="103714"/>
                </a:cubicBezTo>
                <a:cubicBezTo>
                  <a:pt x="43756" y="100285"/>
                  <a:pt x="43756" y="100285"/>
                  <a:pt x="43756" y="100285"/>
                </a:cubicBezTo>
                <a:cubicBezTo>
                  <a:pt x="43756" y="91714"/>
                  <a:pt x="43756" y="91714"/>
                  <a:pt x="43756" y="91714"/>
                </a:cubicBezTo>
                <a:cubicBezTo>
                  <a:pt x="43756" y="89142"/>
                  <a:pt x="43756" y="89142"/>
                  <a:pt x="43756" y="89142"/>
                </a:cubicBezTo>
                <a:cubicBezTo>
                  <a:pt x="45082" y="83142"/>
                  <a:pt x="45082" y="83142"/>
                  <a:pt x="45082" y="83142"/>
                </a:cubicBezTo>
                <a:cubicBezTo>
                  <a:pt x="45082" y="83142"/>
                  <a:pt x="43756" y="82285"/>
                  <a:pt x="43093" y="80571"/>
                </a:cubicBezTo>
                <a:cubicBezTo>
                  <a:pt x="41767" y="78857"/>
                  <a:pt x="40441" y="77142"/>
                  <a:pt x="40441" y="77142"/>
                </a:cubicBezTo>
                <a:cubicBezTo>
                  <a:pt x="39116" y="77142"/>
                  <a:pt x="39116" y="77142"/>
                  <a:pt x="39116" y="77142"/>
                </a:cubicBezTo>
                <a:cubicBezTo>
                  <a:pt x="37127" y="73714"/>
                  <a:pt x="37127" y="73714"/>
                  <a:pt x="37127" y="73714"/>
                </a:cubicBezTo>
                <a:cubicBezTo>
                  <a:pt x="32486" y="75428"/>
                  <a:pt x="32486" y="75428"/>
                  <a:pt x="32486" y="75428"/>
                </a:cubicBezTo>
                <a:cubicBezTo>
                  <a:pt x="29834" y="76285"/>
                  <a:pt x="29834" y="76285"/>
                  <a:pt x="29834" y="76285"/>
                </a:cubicBezTo>
                <a:cubicBezTo>
                  <a:pt x="28508" y="78000"/>
                  <a:pt x="28508" y="78000"/>
                  <a:pt x="28508" y="78000"/>
                </a:cubicBezTo>
                <a:cubicBezTo>
                  <a:pt x="20552" y="77142"/>
                  <a:pt x="20552" y="77142"/>
                  <a:pt x="20552" y="77142"/>
                </a:cubicBezTo>
                <a:cubicBezTo>
                  <a:pt x="16574" y="74571"/>
                  <a:pt x="16574" y="74571"/>
                  <a:pt x="16574" y="74571"/>
                </a:cubicBezTo>
                <a:cubicBezTo>
                  <a:pt x="14585" y="73714"/>
                  <a:pt x="14585" y="73714"/>
                  <a:pt x="14585" y="73714"/>
                </a:cubicBezTo>
                <a:cubicBezTo>
                  <a:pt x="11933" y="71142"/>
                  <a:pt x="11933" y="71142"/>
                  <a:pt x="11933" y="71142"/>
                </a:cubicBezTo>
                <a:cubicBezTo>
                  <a:pt x="8618" y="67714"/>
                  <a:pt x="8618" y="67714"/>
                  <a:pt x="8618" y="67714"/>
                </a:cubicBezTo>
                <a:cubicBezTo>
                  <a:pt x="7955" y="62571"/>
                  <a:pt x="7955" y="62571"/>
                  <a:pt x="7955" y="62571"/>
                </a:cubicBezTo>
                <a:cubicBezTo>
                  <a:pt x="7292" y="59142"/>
                  <a:pt x="7292" y="59142"/>
                  <a:pt x="7292" y="59142"/>
                </a:cubicBezTo>
                <a:cubicBezTo>
                  <a:pt x="3977" y="54857"/>
                  <a:pt x="3977" y="54857"/>
                  <a:pt x="3977" y="54857"/>
                </a:cubicBezTo>
                <a:cubicBezTo>
                  <a:pt x="2651" y="51428"/>
                  <a:pt x="2651" y="51428"/>
                  <a:pt x="2651" y="51428"/>
                </a:cubicBezTo>
                <a:cubicBezTo>
                  <a:pt x="2651" y="46285"/>
                  <a:pt x="2651" y="46285"/>
                  <a:pt x="2651" y="46285"/>
                </a:cubicBezTo>
                <a:cubicBezTo>
                  <a:pt x="662" y="42000"/>
                  <a:pt x="662" y="42000"/>
                  <a:pt x="662" y="42000"/>
                </a:cubicBezTo>
                <a:cubicBezTo>
                  <a:pt x="1325" y="37714"/>
                  <a:pt x="1325" y="37714"/>
                  <a:pt x="1325" y="37714"/>
                </a:cubicBezTo>
                <a:cubicBezTo>
                  <a:pt x="1325" y="37714"/>
                  <a:pt x="0" y="36857"/>
                  <a:pt x="662" y="36000"/>
                </a:cubicBezTo>
                <a:cubicBezTo>
                  <a:pt x="1988" y="36000"/>
                  <a:pt x="3977" y="35142"/>
                  <a:pt x="3977" y="35142"/>
                </a:cubicBezTo>
                <a:cubicBezTo>
                  <a:pt x="4640" y="30000"/>
                  <a:pt x="4640" y="30000"/>
                  <a:pt x="4640" y="30000"/>
                </a:cubicBezTo>
                <a:cubicBezTo>
                  <a:pt x="5303" y="28285"/>
                  <a:pt x="5303" y="28285"/>
                  <a:pt x="5303" y="28285"/>
                </a:cubicBezTo>
                <a:cubicBezTo>
                  <a:pt x="7955" y="26571"/>
                  <a:pt x="7955" y="26571"/>
                  <a:pt x="7955" y="26571"/>
                </a:cubicBezTo>
                <a:cubicBezTo>
                  <a:pt x="9281" y="22285"/>
                  <a:pt x="9281" y="22285"/>
                  <a:pt x="9281" y="22285"/>
                </a:cubicBezTo>
                <a:lnTo>
                  <a:pt x="11933" y="22285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" name="Google Shape;3034;p256">
            <a:extLst>
              <a:ext uri="{FF2B5EF4-FFF2-40B4-BE49-F238E27FC236}">
                <a16:creationId xmlns:a16="http://schemas.microsoft.com/office/drawing/2014/main" id="{6FA87037-97F8-0FFC-0137-55C718F45CF0}"/>
              </a:ext>
            </a:extLst>
          </p:cNvPr>
          <p:cNvSpPr/>
          <p:nvPr/>
        </p:nvSpPr>
        <p:spPr>
          <a:xfrm>
            <a:off x="9827786" y="1757384"/>
            <a:ext cx="644809" cy="42601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6590" y="52000"/>
                </a:moveTo>
                <a:cubicBezTo>
                  <a:pt x="27272" y="50000"/>
                  <a:pt x="27272" y="50000"/>
                  <a:pt x="27272" y="50000"/>
                </a:cubicBezTo>
                <a:cubicBezTo>
                  <a:pt x="27954" y="48000"/>
                  <a:pt x="27954" y="48000"/>
                  <a:pt x="27954" y="48000"/>
                </a:cubicBezTo>
                <a:cubicBezTo>
                  <a:pt x="27954" y="45000"/>
                  <a:pt x="27954" y="45000"/>
                  <a:pt x="27954" y="45000"/>
                </a:cubicBezTo>
                <a:cubicBezTo>
                  <a:pt x="26590" y="45000"/>
                  <a:pt x="26590" y="45000"/>
                  <a:pt x="26590" y="45000"/>
                </a:cubicBezTo>
                <a:cubicBezTo>
                  <a:pt x="25909" y="42000"/>
                  <a:pt x="25909" y="42000"/>
                  <a:pt x="25909" y="42000"/>
                </a:cubicBezTo>
                <a:cubicBezTo>
                  <a:pt x="25909" y="42000"/>
                  <a:pt x="26590" y="41000"/>
                  <a:pt x="27272" y="41000"/>
                </a:cubicBezTo>
                <a:cubicBezTo>
                  <a:pt x="27272" y="40000"/>
                  <a:pt x="29318" y="40000"/>
                  <a:pt x="29318" y="40000"/>
                </a:cubicBezTo>
                <a:cubicBezTo>
                  <a:pt x="30681" y="38000"/>
                  <a:pt x="30681" y="38000"/>
                  <a:pt x="30681" y="38000"/>
                </a:cubicBezTo>
                <a:cubicBezTo>
                  <a:pt x="30681" y="38000"/>
                  <a:pt x="30000" y="36000"/>
                  <a:pt x="31363" y="36000"/>
                </a:cubicBezTo>
                <a:cubicBezTo>
                  <a:pt x="32045" y="36000"/>
                  <a:pt x="33409" y="36000"/>
                  <a:pt x="34090" y="36000"/>
                </a:cubicBezTo>
                <a:cubicBezTo>
                  <a:pt x="34772" y="36000"/>
                  <a:pt x="35454" y="35000"/>
                  <a:pt x="35454" y="35000"/>
                </a:cubicBezTo>
                <a:cubicBezTo>
                  <a:pt x="36818" y="35000"/>
                  <a:pt x="37500" y="36000"/>
                  <a:pt x="36818" y="35000"/>
                </a:cubicBezTo>
                <a:cubicBezTo>
                  <a:pt x="36818" y="35000"/>
                  <a:pt x="36818" y="34000"/>
                  <a:pt x="36136" y="33000"/>
                </a:cubicBezTo>
                <a:cubicBezTo>
                  <a:pt x="35454" y="32000"/>
                  <a:pt x="33409" y="30000"/>
                  <a:pt x="34772" y="29000"/>
                </a:cubicBezTo>
                <a:cubicBezTo>
                  <a:pt x="35454" y="28000"/>
                  <a:pt x="36136" y="28000"/>
                  <a:pt x="36818" y="29000"/>
                </a:cubicBezTo>
                <a:cubicBezTo>
                  <a:pt x="37500" y="29000"/>
                  <a:pt x="38181" y="31000"/>
                  <a:pt x="38181" y="31000"/>
                </a:cubicBezTo>
                <a:cubicBezTo>
                  <a:pt x="38181" y="27000"/>
                  <a:pt x="38181" y="27000"/>
                  <a:pt x="38181" y="27000"/>
                </a:cubicBezTo>
                <a:cubicBezTo>
                  <a:pt x="38181" y="27000"/>
                  <a:pt x="40227" y="27000"/>
                  <a:pt x="40909" y="26000"/>
                </a:cubicBezTo>
                <a:cubicBezTo>
                  <a:pt x="40909" y="25000"/>
                  <a:pt x="40227" y="23000"/>
                  <a:pt x="40227" y="23000"/>
                </a:cubicBezTo>
                <a:cubicBezTo>
                  <a:pt x="40227" y="23000"/>
                  <a:pt x="40227" y="23000"/>
                  <a:pt x="42272" y="23000"/>
                </a:cubicBezTo>
                <a:cubicBezTo>
                  <a:pt x="44318" y="22000"/>
                  <a:pt x="43636" y="22000"/>
                  <a:pt x="45000" y="22000"/>
                </a:cubicBezTo>
                <a:cubicBezTo>
                  <a:pt x="45681" y="22000"/>
                  <a:pt x="47727" y="22000"/>
                  <a:pt x="47727" y="22000"/>
                </a:cubicBezTo>
                <a:cubicBezTo>
                  <a:pt x="47727" y="22000"/>
                  <a:pt x="49090" y="21000"/>
                  <a:pt x="48409" y="20000"/>
                </a:cubicBezTo>
                <a:cubicBezTo>
                  <a:pt x="48409" y="19000"/>
                  <a:pt x="47045" y="17000"/>
                  <a:pt x="47045" y="17000"/>
                </a:cubicBezTo>
                <a:cubicBezTo>
                  <a:pt x="47045" y="17000"/>
                  <a:pt x="47727" y="14000"/>
                  <a:pt x="47727" y="15000"/>
                </a:cubicBezTo>
                <a:cubicBezTo>
                  <a:pt x="47727" y="17000"/>
                  <a:pt x="49772" y="19000"/>
                  <a:pt x="49772" y="19000"/>
                </a:cubicBezTo>
                <a:cubicBezTo>
                  <a:pt x="51136" y="17000"/>
                  <a:pt x="51136" y="17000"/>
                  <a:pt x="51136" y="17000"/>
                </a:cubicBezTo>
                <a:cubicBezTo>
                  <a:pt x="53181" y="16000"/>
                  <a:pt x="53181" y="16000"/>
                  <a:pt x="53181" y="16000"/>
                </a:cubicBezTo>
                <a:cubicBezTo>
                  <a:pt x="55227" y="15000"/>
                  <a:pt x="55227" y="15000"/>
                  <a:pt x="55227" y="15000"/>
                </a:cubicBezTo>
                <a:cubicBezTo>
                  <a:pt x="55227" y="15000"/>
                  <a:pt x="57272" y="15000"/>
                  <a:pt x="58636" y="15000"/>
                </a:cubicBezTo>
                <a:cubicBezTo>
                  <a:pt x="59318" y="15000"/>
                  <a:pt x="61363" y="14000"/>
                  <a:pt x="61363" y="14000"/>
                </a:cubicBezTo>
                <a:cubicBezTo>
                  <a:pt x="62045" y="12000"/>
                  <a:pt x="62045" y="12000"/>
                  <a:pt x="62045" y="12000"/>
                </a:cubicBezTo>
                <a:cubicBezTo>
                  <a:pt x="59318" y="8000"/>
                  <a:pt x="59318" y="8000"/>
                  <a:pt x="59318" y="8000"/>
                </a:cubicBezTo>
                <a:cubicBezTo>
                  <a:pt x="59318" y="8000"/>
                  <a:pt x="60681" y="5000"/>
                  <a:pt x="60681" y="6000"/>
                </a:cubicBezTo>
                <a:cubicBezTo>
                  <a:pt x="61363" y="7000"/>
                  <a:pt x="61363" y="9000"/>
                  <a:pt x="62045" y="9000"/>
                </a:cubicBezTo>
                <a:cubicBezTo>
                  <a:pt x="62727" y="9000"/>
                  <a:pt x="63409" y="10000"/>
                  <a:pt x="64090" y="9000"/>
                </a:cubicBezTo>
                <a:cubicBezTo>
                  <a:pt x="64090" y="8000"/>
                  <a:pt x="64090" y="5000"/>
                  <a:pt x="64090" y="5000"/>
                </a:cubicBezTo>
                <a:cubicBezTo>
                  <a:pt x="64090" y="5000"/>
                  <a:pt x="63409" y="4000"/>
                  <a:pt x="64090" y="4000"/>
                </a:cubicBezTo>
                <a:cubicBezTo>
                  <a:pt x="64772" y="5000"/>
                  <a:pt x="66136" y="7000"/>
                  <a:pt x="66136" y="7000"/>
                </a:cubicBezTo>
                <a:cubicBezTo>
                  <a:pt x="68181" y="7000"/>
                  <a:pt x="68181" y="7000"/>
                  <a:pt x="68181" y="7000"/>
                </a:cubicBezTo>
                <a:cubicBezTo>
                  <a:pt x="70227" y="4000"/>
                  <a:pt x="70227" y="4000"/>
                  <a:pt x="70227" y="4000"/>
                </a:cubicBezTo>
                <a:cubicBezTo>
                  <a:pt x="70909" y="6000"/>
                  <a:pt x="70909" y="6000"/>
                  <a:pt x="70909" y="6000"/>
                </a:cubicBezTo>
                <a:cubicBezTo>
                  <a:pt x="70909" y="6000"/>
                  <a:pt x="72272" y="5000"/>
                  <a:pt x="72954" y="5000"/>
                </a:cubicBezTo>
                <a:cubicBezTo>
                  <a:pt x="73636" y="5000"/>
                  <a:pt x="73636" y="4000"/>
                  <a:pt x="74318" y="4000"/>
                </a:cubicBezTo>
                <a:cubicBezTo>
                  <a:pt x="75000" y="4000"/>
                  <a:pt x="76363" y="5000"/>
                  <a:pt x="76363" y="5000"/>
                </a:cubicBezTo>
                <a:cubicBezTo>
                  <a:pt x="79772" y="6000"/>
                  <a:pt x="79772" y="6000"/>
                  <a:pt x="79772" y="6000"/>
                </a:cubicBezTo>
                <a:cubicBezTo>
                  <a:pt x="81136" y="3000"/>
                  <a:pt x="81136" y="3000"/>
                  <a:pt x="81136" y="3000"/>
                </a:cubicBezTo>
                <a:cubicBezTo>
                  <a:pt x="84545" y="5000"/>
                  <a:pt x="84545" y="5000"/>
                  <a:pt x="84545" y="5000"/>
                </a:cubicBezTo>
                <a:cubicBezTo>
                  <a:pt x="87272" y="7000"/>
                  <a:pt x="87272" y="7000"/>
                  <a:pt x="87272" y="7000"/>
                </a:cubicBezTo>
                <a:cubicBezTo>
                  <a:pt x="90681" y="7000"/>
                  <a:pt x="90681" y="7000"/>
                  <a:pt x="90681" y="7000"/>
                </a:cubicBezTo>
                <a:cubicBezTo>
                  <a:pt x="90681" y="7000"/>
                  <a:pt x="93409" y="5000"/>
                  <a:pt x="94090" y="5000"/>
                </a:cubicBezTo>
                <a:cubicBezTo>
                  <a:pt x="95454" y="4000"/>
                  <a:pt x="98181" y="4000"/>
                  <a:pt x="98181" y="4000"/>
                </a:cubicBezTo>
                <a:cubicBezTo>
                  <a:pt x="98181" y="4000"/>
                  <a:pt x="98863" y="4000"/>
                  <a:pt x="100227" y="4000"/>
                </a:cubicBezTo>
                <a:cubicBezTo>
                  <a:pt x="101590" y="3000"/>
                  <a:pt x="105000" y="3000"/>
                  <a:pt x="105000" y="3000"/>
                </a:cubicBezTo>
                <a:cubicBezTo>
                  <a:pt x="107045" y="0"/>
                  <a:pt x="107045" y="0"/>
                  <a:pt x="107045" y="0"/>
                </a:cubicBezTo>
                <a:cubicBezTo>
                  <a:pt x="110454" y="2000"/>
                  <a:pt x="110454" y="2000"/>
                  <a:pt x="110454" y="2000"/>
                </a:cubicBezTo>
                <a:cubicBezTo>
                  <a:pt x="110454" y="4000"/>
                  <a:pt x="110454" y="4000"/>
                  <a:pt x="110454" y="4000"/>
                </a:cubicBezTo>
                <a:cubicBezTo>
                  <a:pt x="107045" y="8000"/>
                  <a:pt x="107045" y="8000"/>
                  <a:pt x="107045" y="8000"/>
                </a:cubicBezTo>
                <a:cubicBezTo>
                  <a:pt x="107045" y="15000"/>
                  <a:pt x="107045" y="15000"/>
                  <a:pt x="107045" y="15000"/>
                </a:cubicBezTo>
                <a:cubicBezTo>
                  <a:pt x="106363" y="25000"/>
                  <a:pt x="104318" y="30000"/>
                  <a:pt x="103636" y="36000"/>
                </a:cubicBezTo>
                <a:cubicBezTo>
                  <a:pt x="102954" y="39000"/>
                  <a:pt x="101590" y="40000"/>
                  <a:pt x="103636" y="45000"/>
                </a:cubicBezTo>
                <a:cubicBezTo>
                  <a:pt x="105000" y="47000"/>
                  <a:pt x="105000" y="54000"/>
                  <a:pt x="107727" y="58000"/>
                </a:cubicBezTo>
                <a:cubicBezTo>
                  <a:pt x="109090" y="60000"/>
                  <a:pt x="107727" y="65000"/>
                  <a:pt x="109772" y="67000"/>
                </a:cubicBezTo>
                <a:cubicBezTo>
                  <a:pt x="109772" y="67000"/>
                  <a:pt x="109772" y="68000"/>
                  <a:pt x="110454" y="70000"/>
                </a:cubicBezTo>
                <a:cubicBezTo>
                  <a:pt x="111818" y="72000"/>
                  <a:pt x="111818" y="71000"/>
                  <a:pt x="112500" y="72000"/>
                </a:cubicBezTo>
                <a:cubicBezTo>
                  <a:pt x="112500" y="72000"/>
                  <a:pt x="113863" y="73000"/>
                  <a:pt x="114545" y="74000"/>
                </a:cubicBezTo>
                <a:cubicBezTo>
                  <a:pt x="115227" y="75000"/>
                  <a:pt x="115227" y="77000"/>
                  <a:pt x="115227" y="78000"/>
                </a:cubicBezTo>
                <a:cubicBezTo>
                  <a:pt x="115227" y="79000"/>
                  <a:pt x="115909" y="80000"/>
                  <a:pt x="115909" y="80000"/>
                </a:cubicBezTo>
                <a:cubicBezTo>
                  <a:pt x="115909" y="80000"/>
                  <a:pt x="116590" y="79000"/>
                  <a:pt x="116590" y="80000"/>
                </a:cubicBezTo>
                <a:cubicBezTo>
                  <a:pt x="116590" y="81000"/>
                  <a:pt x="115909" y="79000"/>
                  <a:pt x="116590" y="81000"/>
                </a:cubicBezTo>
                <a:cubicBezTo>
                  <a:pt x="117954" y="83000"/>
                  <a:pt x="120000" y="83000"/>
                  <a:pt x="120000" y="83000"/>
                </a:cubicBezTo>
                <a:cubicBezTo>
                  <a:pt x="119318" y="87000"/>
                  <a:pt x="119318" y="87000"/>
                  <a:pt x="119318" y="87000"/>
                </a:cubicBezTo>
                <a:cubicBezTo>
                  <a:pt x="117954" y="88000"/>
                  <a:pt x="117954" y="88000"/>
                  <a:pt x="117954" y="88000"/>
                </a:cubicBezTo>
                <a:cubicBezTo>
                  <a:pt x="117954" y="88000"/>
                  <a:pt x="114545" y="88000"/>
                  <a:pt x="114545" y="90000"/>
                </a:cubicBezTo>
                <a:cubicBezTo>
                  <a:pt x="114545" y="91000"/>
                  <a:pt x="114545" y="95000"/>
                  <a:pt x="114545" y="95000"/>
                </a:cubicBezTo>
                <a:cubicBezTo>
                  <a:pt x="112500" y="98000"/>
                  <a:pt x="112500" y="98000"/>
                  <a:pt x="112500" y="98000"/>
                </a:cubicBezTo>
                <a:cubicBezTo>
                  <a:pt x="112500" y="98000"/>
                  <a:pt x="113863" y="102000"/>
                  <a:pt x="113863" y="103000"/>
                </a:cubicBezTo>
                <a:cubicBezTo>
                  <a:pt x="113863" y="104000"/>
                  <a:pt x="114545" y="104000"/>
                  <a:pt x="114545" y="104000"/>
                </a:cubicBezTo>
                <a:cubicBezTo>
                  <a:pt x="112500" y="105000"/>
                  <a:pt x="112500" y="105000"/>
                  <a:pt x="112500" y="105000"/>
                </a:cubicBezTo>
                <a:cubicBezTo>
                  <a:pt x="109772" y="105000"/>
                  <a:pt x="109772" y="105000"/>
                  <a:pt x="109772" y="105000"/>
                </a:cubicBezTo>
                <a:cubicBezTo>
                  <a:pt x="104318" y="103000"/>
                  <a:pt x="104318" y="103000"/>
                  <a:pt x="104318" y="103000"/>
                </a:cubicBezTo>
                <a:cubicBezTo>
                  <a:pt x="102954" y="106000"/>
                  <a:pt x="102954" y="106000"/>
                  <a:pt x="102954" y="106000"/>
                </a:cubicBezTo>
                <a:cubicBezTo>
                  <a:pt x="101590" y="106000"/>
                  <a:pt x="101590" y="106000"/>
                  <a:pt x="101590" y="106000"/>
                </a:cubicBezTo>
                <a:cubicBezTo>
                  <a:pt x="101590" y="106000"/>
                  <a:pt x="100909" y="108000"/>
                  <a:pt x="99545" y="109000"/>
                </a:cubicBezTo>
                <a:cubicBezTo>
                  <a:pt x="98863" y="110000"/>
                  <a:pt x="98181" y="111000"/>
                  <a:pt x="97500" y="111000"/>
                </a:cubicBezTo>
                <a:cubicBezTo>
                  <a:pt x="96136" y="112000"/>
                  <a:pt x="94772" y="110000"/>
                  <a:pt x="94772" y="110000"/>
                </a:cubicBezTo>
                <a:cubicBezTo>
                  <a:pt x="92727" y="109000"/>
                  <a:pt x="92727" y="109000"/>
                  <a:pt x="92727" y="109000"/>
                </a:cubicBezTo>
                <a:cubicBezTo>
                  <a:pt x="90681" y="105000"/>
                  <a:pt x="90681" y="105000"/>
                  <a:pt x="90681" y="105000"/>
                </a:cubicBezTo>
                <a:cubicBezTo>
                  <a:pt x="84545" y="99000"/>
                  <a:pt x="84545" y="99000"/>
                  <a:pt x="84545" y="99000"/>
                </a:cubicBezTo>
                <a:cubicBezTo>
                  <a:pt x="81136" y="97000"/>
                  <a:pt x="81136" y="97000"/>
                  <a:pt x="81136" y="97000"/>
                </a:cubicBezTo>
                <a:cubicBezTo>
                  <a:pt x="78409" y="96000"/>
                  <a:pt x="78409" y="96000"/>
                  <a:pt x="78409" y="96000"/>
                </a:cubicBezTo>
                <a:cubicBezTo>
                  <a:pt x="75000" y="96000"/>
                  <a:pt x="75000" y="96000"/>
                  <a:pt x="75000" y="96000"/>
                </a:cubicBezTo>
                <a:cubicBezTo>
                  <a:pt x="72272" y="94000"/>
                  <a:pt x="72272" y="94000"/>
                  <a:pt x="72272" y="94000"/>
                </a:cubicBezTo>
                <a:cubicBezTo>
                  <a:pt x="69545" y="94000"/>
                  <a:pt x="69545" y="94000"/>
                  <a:pt x="69545" y="94000"/>
                </a:cubicBezTo>
                <a:cubicBezTo>
                  <a:pt x="66136" y="92000"/>
                  <a:pt x="66136" y="92000"/>
                  <a:pt x="66136" y="92000"/>
                </a:cubicBezTo>
                <a:cubicBezTo>
                  <a:pt x="63409" y="95000"/>
                  <a:pt x="63409" y="95000"/>
                  <a:pt x="63409" y="95000"/>
                </a:cubicBezTo>
                <a:cubicBezTo>
                  <a:pt x="60000" y="98000"/>
                  <a:pt x="60000" y="98000"/>
                  <a:pt x="60000" y="98000"/>
                </a:cubicBezTo>
                <a:cubicBezTo>
                  <a:pt x="56590" y="103000"/>
                  <a:pt x="56590" y="103000"/>
                  <a:pt x="56590" y="103000"/>
                </a:cubicBezTo>
                <a:cubicBezTo>
                  <a:pt x="56590" y="103000"/>
                  <a:pt x="54545" y="106000"/>
                  <a:pt x="53181" y="107000"/>
                </a:cubicBezTo>
                <a:cubicBezTo>
                  <a:pt x="52500" y="106000"/>
                  <a:pt x="52500" y="106000"/>
                  <a:pt x="52500" y="106000"/>
                </a:cubicBezTo>
                <a:cubicBezTo>
                  <a:pt x="52500" y="106000"/>
                  <a:pt x="52500" y="103000"/>
                  <a:pt x="53181" y="101000"/>
                </a:cubicBezTo>
                <a:cubicBezTo>
                  <a:pt x="53863" y="100000"/>
                  <a:pt x="53863" y="98000"/>
                  <a:pt x="53863" y="97000"/>
                </a:cubicBezTo>
                <a:cubicBezTo>
                  <a:pt x="53863" y="96000"/>
                  <a:pt x="53863" y="94000"/>
                  <a:pt x="53181" y="92000"/>
                </a:cubicBezTo>
                <a:cubicBezTo>
                  <a:pt x="53181" y="90000"/>
                  <a:pt x="52500" y="87000"/>
                  <a:pt x="52500" y="87000"/>
                </a:cubicBezTo>
                <a:cubicBezTo>
                  <a:pt x="54545" y="85000"/>
                  <a:pt x="54545" y="85000"/>
                  <a:pt x="54545" y="85000"/>
                </a:cubicBezTo>
                <a:cubicBezTo>
                  <a:pt x="53181" y="80000"/>
                  <a:pt x="53181" y="80000"/>
                  <a:pt x="53181" y="80000"/>
                </a:cubicBezTo>
                <a:cubicBezTo>
                  <a:pt x="51818" y="80000"/>
                  <a:pt x="51818" y="80000"/>
                  <a:pt x="51818" y="80000"/>
                </a:cubicBezTo>
                <a:cubicBezTo>
                  <a:pt x="49772" y="80000"/>
                  <a:pt x="49772" y="80000"/>
                  <a:pt x="49772" y="80000"/>
                </a:cubicBezTo>
                <a:cubicBezTo>
                  <a:pt x="48409" y="83000"/>
                  <a:pt x="48409" y="83000"/>
                  <a:pt x="48409" y="83000"/>
                </a:cubicBezTo>
                <a:cubicBezTo>
                  <a:pt x="48409" y="83000"/>
                  <a:pt x="49090" y="85000"/>
                  <a:pt x="49090" y="86000"/>
                </a:cubicBezTo>
                <a:cubicBezTo>
                  <a:pt x="48409" y="87000"/>
                  <a:pt x="47045" y="87000"/>
                  <a:pt x="47045" y="87000"/>
                </a:cubicBezTo>
                <a:cubicBezTo>
                  <a:pt x="46363" y="88000"/>
                  <a:pt x="46363" y="91000"/>
                  <a:pt x="46363" y="91000"/>
                </a:cubicBezTo>
                <a:cubicBezTo>
                  <a:pt x="43636" y="87000"/>
                  <a:pt x="43636" y="87000"/>
                  <a:pt x="43636" y="87000"/>
                </a:cubicBezTo>
                <a:cubicBezTo>
                  <a:pt x="43636" y="87000"/>
                  <a:pt x="42272" y="87000"/>
                  <a:pt x="41590" y="86000"/>
                </a:cubicBezTo>
                <a:cubicBezTo>
                  <a:pt x="40909" y="86000"/>
                  <a:pt x="39545" y="86000"/>
                  <a:pt x="39545" y="86000"/>
                </a:cubicBezTo>
                <a:cubicBezTo>
                  <a:pt x="39545" y="86000"/>
                  <a:pt x="39545" y="86000"/>
                  <a:pt x="38863" y="86000"/>
                </a:cubicBezTo>
                <a:cubicBezTo>
                  <a:pt x="37500" y="86000"/>
                  <a:pt x="37500" y="86000"/>
                  <a:pt x="36818" y="84000"/>
                </a:cubicBezTo>
                <a:cubicBezTo>
                  <a:pt x="36136" y="82000"/>
                  <a:pt x="34090" y="77000"/>
                  <a:pt x="34090" y="77000"/>
                </a:cubicBezTo>
                <a:cubicBezTo>
                  <a:pt x="34090" y="77000"/>
                  <a:pt x="33409" y="75000"/>
                  <a:pt x="32727" y="75000"/>
                </a:cubicBezTo>
                <a:cubicBezTo>
                  <a:pt x="32727" y="75000"/>
                  <a:pt x="32045" y="77000"/>
                  <a:pt x="32045" y="77000"/>
                </a:cubicBezTo>
                <a:cubicBezTo>
                  <a:pt x="31363" y="77000"/>
                  <a:pt x="31363" y="75000"/>
                  <a:pt x="31363" y="74000"/>
                </a:cubicBezTo>
                <a:cubicBezTo>
                  <a:pt x="31363" y="73000"/>
                  <a:pt x="31363" y="72000"/>
                  <a:pt x="31363" y="70000"/>
                </a:cubicBezTo>
                <a:cubicBezTo>
                  <a:pt x="31363" y="68000"/>
                  <a:pt x="30681" y="66000"/>
                  <a:pt x="31363" y="66000"/>
                </a:cubicBezTo>
                <a:cubicBezTo>
                  <a:pt x="31363" y="66000"/>
                  <a:pt x="32045" y="67000"/>
                  <a:pt x="32727" y="67000"/>
                </a:cubicBezTo>
                <a:cubicBezTo>
                  <a:pt x="33409" y="67000"/>
                  <a:pt x="33409" y="65000"/>
                  <a:pt x="33409" y="65000"/>
                </a:cubicBezTo>
                <a:cubicBezTo>
                  <a:pt x="34090" y="65000"/>
                  <a:pt x="34772" y="66000"/>
                  <a:pt x="34772" y="66000"/>
                </a:cubicBezTo>
                <a:cubicBezTo>
                  <a:pt x="35454" y="66000"/>
                  <a:pt x="36136" y="66000"/>
                  <a:pt x="36136" y="66000"/>
                </a:cubicBezTo>
                <a:cubicBezTo>
                  <a:pt x="36818" y="65000"/>
                  <a:pt x="36818" y="65000"/>
                  <a:pt x="36818" y="64000"/>
                </a:cubicBezTo>
                <a:cubicBezTo>
                  <a:pt x="36818" y="63000"/>
                  <a:pt x="36136" y="62000"/>
                  <a:pt x="36136" y="62000"/>
                </a:cubicBezTo>
                <a:cubicBezTo>
                  <a:pt x="35454" y="62000"/>
                  <a:pt x="31363" y="65000"/>
                  <a:pt x="31363" y="65000"/>
                </a:cubicBezTo>
                <a:cubicBezTo>
                  <a:pt x="28636" y="65000"/>
                  <a:pt x="28636" y="65000"/>
                  <a:pt x="28636" y="65000"/>
                </a:cubicBezTo>
                <a:cubicBezTo>
                  <a:pt x="30000" y="63000"/>
                  <a:pt x="30000" y="63000"/>
                  <a:pt x="30000" y="63000"/>
                </a:cubicBezTo>
                <a:cubicBezTo>
                  <a:pt x="28636" y="61000"/>
                  <a:pt x="28636" y="61000"/>
                  <a:pt x="28636" y="61000"/>
                </a:cubicBezTo>
                <a:cubicBezTo>
                  <a:pt x="28636" y="59000"/>
                  <a:pt x="28636" y="59000"/>
                  <a:pt x="28636" y="59000"/>
                </a:cubicBezTo>
                <a:cubicBezTo>
                  <a:pt x="27272" y="58000"/>
                  <a:pt x="27272" y="58000"/>
                  <a:pt x="27272" y="58000"/>
                </a:cubicBezTo>
                <a:cubicBezTo>
                  <a:pt x="27954" y="56000"/>
                  <a:pt x="27954" y="56000"/>
                  <a:pt x="27954" y="56000"/>
                </a:cubicBezTo>
                <a:cubicBezTo>
                  <a:pt x="29318" y="56000"/>
                  <a:pt x="29318" y="56000"/>
                  <a:pt x="29318" y="56000"/>
                </a:cubicBezTo>
                <a:cubicBezTo>
                  <a:pt x="30681" y="55000"/>
                  <a:pt x="30681" y="55000"/>
                  <a:pt x="30681" y="55000"/>
                </a:cubicBezTo>
                <a:cubicBezTo>
                  <a:pt x="30681" y="51000"/>
                  <a:pt x="30681" y="51000"/>
                  <a:pt x="30681" y="51000"/>
                </a:cubicBezTo>
                <a:cubicBezTo>
                  <a:pt x="29318" y="52000"/>
                  <a:pt x="29318" y="52000"/>
                  <a:pt x="29318" y="52000"/>
                </a:cubicBezTo>
                <a:cubicBezTo>
                  <a:pt x="30000" y="54000"/>
                  <a:pt x="30000" y="54000"/>
                  <a:pt x="30000" y="54000"/>
                </a:cubicBezTo>
                <a:cubicBezTo>
                  <a:pt x="27272" y="54000"/>
                  <a:pt x="27272" y="54000"/>
                  <a:pt x="27272" y="54000"/>
                </a:cubicBezTo>
                <a:cubicBezTo>
                  <a:pt x="26590" y="52000"/>
                  <a:pt x="26590" y="52000"/>
                  <a:pt x="26590" y="52000"/>
                </a:cubicBezTo>
                <a:close/>
                <a:moveTo>
                  <a:pt x="15681" y="103000"/>
                </a:moveTo>
                <a:cubicBezTo>
                  <a:pt x="15681" y="103000"/>
                  <a:pt x="15681" y="103000"/>
                  <a:pt x="15681" y="103000"/>
                </a:cubicBezTo>
                <a:cubicBezTo>
                  <a:pt x="15681" y="103000"/>
                  <a:pt x="17045" y="103000"/>
                  <a:pt x="17045" y="103000"/>
                </a:cubicBezTo>
                <a:cubicBezTo>
                  <a:pt x="17045" y="103000"/>
                  <a:pt x="17727" y="104000"/>
                  <a:pt x="17045" y="104000"/>
                </a:cubicBezTo>
                <a:cubicBezTo>
                  <a:pt x="17045" y="105000"/>
                  <a:pt x="17727" y="105000"/>
                  <a:pt x="17045" y="105000"/>
                </a:cubicBezTo>
                <a:cubicBezTo>
                  <a:pt x="16363" y="105000"/>
                  <a:pt x="15000" y="106000"/>
                  <a:pt x="15000" y="105000"/>
                </a:cubicBezTo>
                <a:cubicBezTo>
                  <a:pt x="15000" y="105000"/>
                  <a:pt x="15681" y="104000"/>
                  <a:pt x="15681" y="104000"/>
                </a:cubicBezTo>
                <a:cubicBezTo>
                  <a:pt x="15681" y="103000"/>
                  <a:pt x="15681" y="103000"/>
                  <a:pt x="15681" y="103000"/>
                </a:cubicBezTo>
                <a:close/>
                <a:moveTo>
                  <a:pt x="43636" y="95000"/>
                </a:moveTo>
                <a:cubicBezTo>
                  <a:pt x="43636" y="95000"/>
                  <a:pt x="43636" y="95000"/>
                  <a:pt x="43636" y="95000"/>
                </a:cubicBezTo>
                <a:cubicBezTo>
                  <a:pt x="43636" y="95000"/>
                  <a:pt x="42954" y="98000"/>
                  <a:pt x="43636" y="98000"/>
                </a:cubicBezTo>
                <a:cubicBezTo>
                  <a:pt x="43636" y="98000"/>
                  <a:pt x="44318" y="98000"/>
                  <a:pt x="45000" y="98000"/>
                </a:cubicBezTo>
                <a:cubicBezTo>
                  <a:pt x="45681" y="97000"/>
                  <a:pt x="45681" y="97000"/>
                  <a:pt x="45681" y="97000"/>
                </a:cubicBezTo>
                <a:cubicBezTo>
                  <a:pt x="45681" y="96000"/>
                  <a:pt x="45681" y="95000"/>
                  <a:pt x="45681" y="95000"/>
                </a:cubicBezTo>
                <a:cubicBezTo>
                  <a:pt x="43636" y="95000"/>
                  <a:pt x="43636" y="95000"/>
                  <a:pt x="43636" y="95000"/>
                </a:cubicBezTo>
                <a:close/>
                <a:moveTo>
                  <a:pt x="6136" y="91000"/>
                </a:moveTo>
                <a:cubicBezTo>
                  <a:pt x="6136" y="91000"/>
                  <a:pt x="6136" y="91000"/>
                  <a:pt x="6136" y="91000"/>
                </a:cubicBezTo>
                <a:cubicBezTo>
                  <a:pt x="5454" y="92000"/>
                  <a:pt x="5454" y="92000"/>
                  <a:pt x="5454" y="92000"/>
                </a:cubicBezTo>
                <a:cubicBezTo>
                  <a:pt x="5454" y="92000"/>
                  <a:pt x="4772" y="89000"/>
                  <a:pt x="4772" y="88000"/>
                </a:cubicBezTo>
                <a:cubicBezTo>
                  <a:pt x="4772" y="88000"/>
                  <a:pt x="3409" y="87000"/>
                  <a:pt x="3409" y="87000"/>
                </a:cubicBezTo>
                <a:cubicBezTo>
                  <a:pt x="3409" y="87000"/>
                  <a:pt x="2727" y="87000"/>
                  <a:pt x="2727" y="87000"/>
                </a:cubicBezTo>
                <a:cubicBezTo>
                  <a:pt x="2045" y="87000"/>
                  <a:pt x="2045" y="88000"/>
                  <a:pt x="2045" y="88000"/>
                </a:cubicBezTo>
                <a:cubicBezTo>
                  <a:pt x="1363" y="88000"/>
                  <a:pt x="1363" y="88000"/>
                  <a:pt x="1363" y="88000"/>
                </a:cubicBezTo>
                <a:cubicBezTo>
                  <a:pt x="1363" y="88000"/>
                  <a:pt x="681" y="88000"/>
                  <a:pt x="681" y="88000"/>
                </a:cubicBezTo>
                <a:cubicBezTo>
                  <a:pt x="0" y="89000"/>
                  <a:pt x="681" y="90000"/>
                  <a:pt x="681" y="90000"/>
                </a:cubicBezTo>
                <a:cubicBezTo>
                  <a:pt x="681" y="90000"/>
                  <a:pt x="1363" y="90000"/>
                  <a:pt x="2045" y="91000"/>
                </a:cubicBezTo>
                <a:cubicBezTo>
                  <a:pt x="2727" y="91000"/>
                  <a:pt x="2727" y="91000"/>
                  <a:pt x="2727" y="91000"/>
                </a:cubicBezTo>
                <a:cubicBezTo>
                  <a:pt x="2727" y="91000"/>
                  <a:pt x="4090" y="93000"/>
                  <a:pt x="4772" y="94000"/>
                </a:cubicBezTo>
                <a:cubicBezTo>
                  <a:pt x="4772" y="94000"/>
                  <a:pt x="4772" y="95000"/>
                  <a:pt x="4772" y="95000"/>
                </a:cubicBezTo>
                <a:cubicBezTo>
                  <a:pt x="2727" y="97000"/>
                  <a:pt x="2727" y="97000"/>
                  <a:pt x="2727" y="97000"/>
                </a:cubicBezTo>
                <a:cubicBezTo>
                  <a:pt x="2727" y="97000"/>
                  <a:pt x="3409" y="98000"/>
                  <a:pt x="3409" y="98000"/>
                </a:cubicBezTo>
                <a:cubicBezTo>
                  <a:pt x="4090" y="98000"/>
                  <a:pt x="2727" y="99000"/>
                  <a:pt x="2727" y="99000"/>
                </a:cubicBezTo>
                <a:cubicBezTo>
                  <a:pt x="2727" y="99000"/>
                  <a:pt x="2727" y="101000"/>
                  <a:pt x="2727" y="101000"/>
                </a:cubicBezTo>
                <a:cubicBezTo>
                  <a:pt x="2727" y="101000"/>
                  <a:pt x="3409" y="102000"/>
                  <a:pt x="4772" y="102000"/>
                </a:cubicBezTo>
                <a:cubicBezTo>
                  <a:pt x="6136" y="103000"/>
                  <a:pt x="6136" y="102000"/>
                  <a:pt x="6136" y="102000"/>
                </a:cubicBezTo>
                <a:cubicBezTo>
                  <a:pt x="6818" y="103000"/>
                  <a:pt x="6818" y="103000"/>
                  <a:pt x="6818" y="103000"/>
                </a:cubicBezTo>
                <a:cubicBezTo>
                  <a:pt x="6818" y="104000"/>
                  <a:pt x="6818" y="104000"/>
                  <a:pt x="6818" y="104000"/>
                </a:cubicBezTo>
                <a:cubicBezTo>
                  <a:pt x="7500" y="105000"/>
                  <a:pt x="7500" y="105000"/>
                  <a:pt x="7500" y="105000"/>
                </a:cubicBezTo>
                <a:cubicBezTo>
                  <a:pt x="9545" y="106000"/>
                  <a:pt x="9545" y="106000"/>
                  <a:pt x="9545" y="106000"/>
                </a:cubicBezTo>
                <a:cubicBezTo>
                  <a:pt x="9545" y="107000"/>
                  <a:pt x="9545" y="107000"/>
                  <a:pt x="9545" y="107000"/>
                </a:cubicBezTo>
                <a:cubicBezTo>
                  <a:pt x="9545" y="110000"/>
                  <a:pt x="9545" y="110000"/>
                  <a:pt x="9545" y="110000"/>
                </a:cubicBezTo>
                <a:cubicBezTo>
                  <a:pt x="9545" y="110000"/>
                  <a:pt x="8863" y="110000"/>
                  <a:pt x="8181" y="110000"/>
                </a:cubicBezTo>
                <a:cubicBezTo>
                  <a:pt x="8181" y="111000"/>
                  <a:pt x="8181" y="112000"/>
                  <a:pt x="7500" y="112000"/>
                </a:cubicBezTo>
                <a:cubicBezTo>
                  <a:pt x="7500" y="112000"/>
                  <a:pt x="7500" y="114000"/>
                  <a:pt x="6818" y="115000"/>
                </a:cubicBezTo>
                <a:cubicBezTo>
                  <a:pt x="6818" y="116000"/>
                  <a:pt x="7500" y="117000"/>
                  <a:pt x="7500" y="118000"/>
                </a:cubicBezTo>
                <a:cubicBezTo>
                  <a:pt x="7500" y="120000"/>
                  <a:pt x="8181" y="119000"/>
                  <a:pt x="8863" y="119000"/>
                </a:cubicBezTo>
                <a:cubicBezTo>
                  <a:pt x="8863" y="119000"/>
                  <a:pt x="9545" y="118000"/>
                  <a:pt x="9545" y="118000"/>
                </a:cubicBezTo>
                <a:cubicBezTo>
                  <a:pt x="10227" y="118000"/>
                  <a:pt x="10909" y="116000"/>
                  <a:pt x="11590" y="115000"/>
                </a:cubicBezTo>
                <a:cubicBezTo>
                  <a:pt x="11590" y="114000"/>
                  <a:pt x="11590" y="113000"/>
                  <a:pt x="11590" y="113000"/>
                </a:cubicBezTo>
                <a:cubicBezTo>
                  <a:pt x="10909" y="112000"/>
                  <a:pt x="11590" y="110000"/>
                  <a:pt x="11590" y="110000"/>
                </a:cubicBezTo>
                <a:cubicBezTo>
                  <a:pt x="11590" y="109000"/>
                  <a:pt x="11590" y="109000"/>
                  <a:pt x="11590" y="109000"/>
                </a:cubicBezTo>
                <a:cubicBezTo>
                  <a:pt x="10909" y="105000"/>
                  <a:pt x="10909" y="105000"/>
                  <a:pt x="10909" y="105000"/>
                </a:cubicBezTo>
                <a:cubicBezTo>
                  <a:pt x="12272" y="101000"/>
                  <a:pt x="12272" y="101000"/>
                  <a:pt x="12272" y="101000"/>
                </a:cubicBezTo>
                <a:cubicBezTo>
                  <a:pt x="13636" y="101000"/>
                  <a:pt x="13636" y="101000"/>
                  <a:pt x="13636" y="101000"/>
                </a:cubicBezTo>
                <a:cubicBezTo>
                  <a:pt x="15681" y="99000"/>
                  <a:pt x="15681" y="99000"/>
                  <a:pt x="15681" y="99000"/>
                </a:cubicBezTo>
                <a:cubicBezTo>
                  <a:pt x="15681" y="99000"/>
                  <a:pt x="15681" y="99000"/>
                  <a:pt x="15681" y="99000"/>
                </a:cubicBezTo>
                <a:cubicBezTo>
                  <a:pt x="15681" y="99000"/>
                  <a:pt x="16363" y="99000"/>
                  <a:pt x="17045" y="98000"/>
                </a:cubicBezTo>
                <a:cubicBezTo>
                  <a:pt x="18409" y="98000"/>
                  <a:pt x="17727" y="99000"/>
                  <a:pt x="18409" y="99000"/>
                </a:cubicBezTo>
                <a:cubicBezTo>
                  <a:pt x="18409" y="100000"/>
                  <a:pt x="19090" y="100000"/>
                  <a:pt x="19772" y="100000"/>
                </a:cubicBezTo>
                <a:cubicBezTo>
                  <a:pt x="19772" y="100000"/>
                  <a:pt x="20454" y="98000"/>
                  <a:pt x="20454" y="98000"/>
                </a:cubicBezTo>
                <a:cubicBezTo>
                  <a:pt x="20454" y="97000"/>
                  <a:pt x="19772" y="97000"/>
                  <a:pt x="19772" y="97000"/>
                </a:cubicBezTo>
                <a:cubicBezTo>
                  <a:pt x="19090" y="95000"/>
                  <a:pt x="19090" y="95000"/>
                  <a:pt x="19090" y="95000"/>
                </a:cubicBezTo>
                <a:cubicBezTo>
                  <a:pt x="21136" y="94000"/>
                  <a:pt x="21136" y="94000"/>
                  <a:pt x="21136" y="94000"/>
                </a:cubicBezTo>
                <a:cubicBezTo>
                  <a:pt x="21818" y="93000"/>
                  <a:pt x="21818" y="93000"/>
                  <a:pt x="21818" y="93000"/>
                </a:cubicBezTo>
                <a:cubicBezTo>
                  <a:pt x="23181" y="91000"/>
                  <a:pt x="23181" y="91000"/>
                  <a:pt x="23181" y="91000"/>
                </a:cubicBezTo>
                <a:cubicBezTo>
                  <a:pt x="22500" y="89000"/>
                  <a:pt x="22500" y="89000"/>
                  <a:pt x="22500" y="89000"/>
                </a:cubicBezTo>
                <a:cubicBezTo>
                  <a:pt x="22500" y="89000"/>
                  <a:pt x="23863" y="89000"/>
                  <a:pt x="24545" y="89000"/>
                </a:cubicBezTo>
                <a:cubicBezTo>
                  <a:pt x="24545" y="89000"/>
                  <a:pt x="24545" y="88000"/>
                  <a:pt x="24545" y="88000"/>
                </a:cubicBezTo>
                <a:cubicBezTo>
                  <a:pt x="23863" y="86000"/>
                  <a:pt x="23863" y="86000"/>
                  <a:pt x="23863" y="86000"/>
                </a:cubicBezTo>
                <a:cubicBezTo>
                  <a:pt x="23863" y="86000"/>
                  <a:pt x="25227" y="86000"/>
                  <a:pt x="25909" y="85000"/>
                </a:cubicBezTo>
                <a:cubicBezTo>
                  <a:pt x="25909" y="85000"/>
                  <a:pt x="25227" y="84000"/>
                  <a:pt x="25227" y="84000"/>
                </a:cubicBezTo>
                <a:cubicBezTo>
                  <a:pt x="25227" y="83000"/>
                  <a:pt x="25909" y="82000"/>
                  <a:pt x="25909" y="82000"/>
                </a:cubicBezTo>
                <a:cubicBezTo>
                  <a:pt x="25909" y="82000"/>
                  <a:pt x="27272" y="84000"/>
                  <a:pt x="27954" y="84000"/>
                </a:cubicBezTo>
                <a:cubicBezTo>
                  <a:pt x="28636" y="85000"/>
                  <a:pt x="28636" y="84000"/>
                  <a:pt x="29318" y="84000"/>
                </a:cubicBezTo>
                <a:cubicBezTo>
                  <a:pt x="29318" y="83000"/>
                  <a:pt x="28636" y="82000"/>
                  <a:pt x="28636" y="82000"/>
                </a:cubicBezTo>
                <a:cubicBezTo>
                  <a:pt x="27954" y="81000"/>
                  <a:pt x="27954" y="81000"/>
                  <a:pt x="27954" y="81000"/>
                </a:cubicBezTo>
                <a:cubicBezTo>
                  <a:pt x="25909" y="80000"/>
                  <a:pt x="25909" y="80000"/>
                  <a:pt x="25909" y="80000"/>
                </a:cubicBezTo>
                <a:cubicBezTo>
                  <a:pt x="23181" y="78000"/>
                  <a:pt x="23181" y="78000"/>
                  <a:pt x="23181" y="78000"/>
                </a:cubicBezTo>
                <a:cubicBezTo>
                  <a:pt x="23181" y="78000"/>
                  <a:pt x="21136" y="78000"/>
                  <a:pt x="21136" y="77000"/>
                </a:cubicBezTo>
                <a:cubicBezTo>
                  <a:pt x="20454" y="77000"/>
                  <a:pt x="20454" y="77000"/>
                  <a:pt x="20454" y="77000"/>
                </a:cubicBezTo>
                <a:cubicBezTo>
                  <a:pt x="20454" y="77000"/>
                  <a:pt x="19090" y="77000"/>
                  <a:pt x="19090" y="77000"/>
                </a:cubicBezTo>
                <a:cubicBezTo>
                  <a:pt x="18409" y="77000"/>
                  <a:pt x="17727" y="78000"/>
                  <a:pt x="17045" y="79000"/>
                </a:cubicBezTo>
                <a:cubicBezTo>
                  <a:pt x="17045" y="79000"/>
                  <a:pt x="16363" y="80000"/>
                  <a:pt x="15681" y="80000"/>
                </a:cubicBezTo>
                <a:cubicBezTo>
                  <a:pt x="15681" y="80000"/>
                  <a:pt x="15000" y="78000"/>
                  <a:pt x="15000" y="78000"/>
                </a:cubicBezTo>
                <a:cubicBezTo>
                  <a:pt x="13636" y="78000"/>
                  <a:pt x="13636" y="78000"/>
                  <a:pt x="13636" y="78000"/>
                </a:cubicBezTo>
                <a:cubicBezTo>
                  <a:pt x="13636" y="78000"/>
                  <a:pt x="12954" y="80000"/>
                  <a:pt x="12954" y="81000"/>
                </a:cubicBezTo>
                <a:cubicBezTo>
                  <a:pt x="12954" y="81000"/>
                  <a:pt x="11590" y="81000"/>
                  <a:pt x="10909" y="81000"/>
                </a:cubicBezTo>
                <a:cubicBezTo>
                  <a:pt x="10227" y="82000"/>
                  <a:pt x="9545" y="82000"/>
                  <a:pt x="8863" y="83000"/>
                </a:cubicBezTo>
                <a:cubicBezTo>
                  <a:pt x="8181" y="83000"/>
                  <a:pt x="9545" y="84000"/>
                  <a:pt x="9545" y="84000"/>
                </a:cubicBezTo>
                <a:cubicBezTo>
                  <a:pt x="9545" y="86000"/>
                  <a:pt x="9545" y="86000"/>
                  <a:pt x="9545" y="86000"/>
                </a:cubicBezTo>
                <a:cubicBezTo>
                  <a:pt x="8181" y="86000"/>
                  <a:pt x="8181" y="86000"/>
                  <a:pt x="8181" y="86000"/>
                </a:cubicBezTo>
                <a:cubicBezTo>
                  <a:pt x="7500" y="85000"/>
                  <a:pt x="7500" y="85000"/>
                  <a:pt x="7500" y="85000"/>
                </a:cubicBezTo>
                <a:cubicBezTo>
                  <a:pt x="6136" y="87000"/>
                  <a:pt x="6136" y="87000"/>
                  <a:pt x="6136" y="87000"/>
                </a:cubicBezTo>
                <a:cubicBezTo>
                  <a:pt x="5454" y="89000"/>
                  <a:pt x="5454" y="89000"/>
                  <a:pt x="5454" y="89000"/>
                </a:cubicBezTo>
                <a:cubicBezTo>
                  <a:pt x="5454" y="89000"/>
                  <a:pt x="6136" y="91000"/>
                  <a:pt x="6136" y="91000"/>
                </a:cubicBezTo>
                <a:close/>
                <a:moveTo>
                  <a:pt x="23863" y="76000"/>
                </a:moveTo>
                <a:cubicBezTo>
                  <a:pt x="23863" y="76000"/>
                  <a:pt x="23863" y="76000"/>
                  <a:pt x="23863" y="76000"/>
                </a:cubicBezTo>
                <a:cubicBezTo>
                  <a:pt x="24545" y="77000"/>
                  <a:pt x="24545" y="77000"/>
                  <a:pt x="24545" y="77000"/>
                </a:cubicBezTo>
                <a:cubicBezTo>
                  <a:pt x="24545" y="77000"/>
                  <a:pt x="25227" y="78000"/>
                  <a:pt x="26590" y="78000"/>
                </a:cubicBezTo>
                <a:cubicBezTo>
                  <a:pt x="28636" y="78000"/>
                  <a:pt x="28636" y="80000"/>
                  <a:pt x="30000" y="78000"/>
                </a:cubicBezTo>
                <a:cubicBezTo>
                  <a:pt x="30000" y="77000"/>
                  <a:pt x="30000" y="77000"/>
                  <a:pt x="29318" y="76000"/>
                </a:cubicBezTo>
                <a:cubicBezTo>
                  <a:pt x="29318" y="75000"/>
                  <a:pt x="28636" y="75000"/>
                  <a:pt x="28636" y="74000"/>
                </a:cubicBezTo>
                <a:cubicBezTo>
                  <a:pt x="28636" y="74000"/>
                  <a:pt x="28636" y="74000"/>
                  <a:pt x="27272" y="72000"/>
                </a:cubicBezTo>
                <a:cubicBezTo>
                  <a:pt x="26590" y="71000"/>
                  <a:pt x="26590" y="72000"/>
                  <a:pt x="25909" y="72000"/>
                </a:cubicBezTo>
                <a:cubicBezTo>
                  <a:pt x="25227" y="72000"/>
                  <a:pt x="24545" y="72000"/>
                  <a:pt x="23863" y="72000"/>
                </a:cubicBezTo>
                <a:cubicBezTo>
                  <a:pt x="23181" y="73000"/>
                  <a:pt x="24545" y="74000"/>
                  <a:pt x="24545" y="75000"/>
                </a:cubicBezTo>
                <a:cubicBezTo>
                  <a:pt x="24545" y="75000"/>
                  <a:pt x="23863" y="76000"/>
                  <a:pt x="23863" y="76000"/>
                </a:cubicBezTo>
                <a:close/>
                <a:moveTo>
                  <a:pt x="15000" y="57000"/>
                </a:moveTo>
                <a:cubicBezTo>
                  <a:pt x="15000" y="57000"/>
                  <a:pt x="15000" y="57000"/>
                  <a:pt x="15000" y="57000"/>
                </a:cubicBezTo>
                <a:cubicBezTo>
                  <a:pt x="15000" y="56000"/>
                  <a:pt x="16363" y="56000"/>
                  <a:pt x="17045" y="57000"/>
                </a:cubicBezTo>
                <a:cubicBezTo>
                  <a:pt x="17045" y="57000"/>
                  <a:pt x="18409" y="58000"/>
                  <a:pt x="18409" y="59000"/>
                </a:cubicBezTo>
                <a:cubicBezTo>
                  <a:pt x="18409" y="59000"/>
                  <a:pt x="19090" y="59000"/>
                  <a:pt x="19090" y="60000"/>
                </a:cubicBezTo>
                <a:cubicBezTo>
                  <a:pt x="19090" y="60000"/>
                  <a:pt x="19772" y="61000"/>
                  <a:pt x="19772" y="62000"/>
                </a:cubicBezTo>
                <a:cubicBezTo>
                  <a:pt x="20454" y="63000"/>
                  <a:pt x="21136" y="64000"/>
                  <a:pt x="21136" y="64000"/>
                </a:cubicBezTo>
                <a:cubicBezTo>
                  <a:pt x="21136" y="64000"/>
                  <a:pt x="21818" y="65000"/>
                  <a:pt x="21136" y="65000"/>
                </a:cubicBezTo>
                <a:cubicBezTo>
                  <a:pt x="20454" y="65000"/>
                  <a:pt x="18409" y="65000"/>
                  <a:pt x="18409" y="65000"/>
                </a:cubicBezTo>
                <a:cubicBezTo>
                  <a:pt x="18409" y="65000"/>
                  <a:pt x="17727" y="66000"/>
                  <a:pt x="17727" y="66000"/>
                </a:cubicBezTo>
                <a:cubicBezTo>
                  <a:pt x="17727" y="67000"/>
                  <a:pt x="19090" y="68000"/>
                  <a:pt x="18409" y="68000"/>
                </a:cubicBezTo>
                <a:cubicBezTo>
                  <a:pt x="17727" y="69000"/>
                  <a:pt x="17727" y="69000"/>
                  <a:pt x="17045" y="69000"/>
                </a:cubicBezTo>
                <a:cubicBezTo>
                  <a:pt x="16363" y="68000"/>
                  <a:pt x="15681" y="66000"/>
                  <a:pt x="15681" y="66000"/>
                </a:cubicBezTo>
                <a:cubicBezTo>
                  <a:pt x="15000" y="67000"/>
                  <a:pt x="15000" y="70000"/>
                  <a:pt x="15000" y="70000"/>
                </a:cubicBezTo>
                <a:cubicBezTo>
                  <a:pt x="15000" y="71000"/>
                  <a:pt x="15681" y="72000"/>
                  <a:pt x="15000" y="73000"/>
                </a:cubicBezTo>
                <a:cubicBezTo>
                  <a:pt x="15000" y="73000"/>
                  <a:pt x="12954" y="74000"/>
                  <a:pt x="12954" y="74000"/>
                </a:cubicBezTo>
                <a:cubicBezTo>
                  <a:pt x="12954" y="74000"/>
                  <a:pt x="12272" y="74000"/>
                  <a:pt x="12272" y="74000"/>
                </a:cubicBezTo>
                <a:cubicBezTo>
                  <a:pt x="11590" y="74000"/>
                  <a:pt x="10227" y="72000"/>
                  <a:pt x="9545" y="71000"/>
                </a:cubicBezTo>
                <a:cubicBezTo>
                  <a:pt x="9545" y="70000"/>
                  <a:pt x="9545" y="68000"/>
                  <a:pt x="9545" y="68000"/>
                </a:cubicBezTo>
                <a:cubicBezTo>
                  <a:pt x="8863" y="67000"/>
                  <a:pt x="8181" y="66000"/>
                  <a:pt x="8181" y="66000"/>
                </a:cubicBezTo>
                <a:cubicBezTo>
                  <a:pt x="8181" y="66000"/>
                  <a:pt x="8863" y="65000"/>
                  <a:pt x="7500" y="66000"/>
                </a:cubicBezTo>
                <a:cubicBezTo>
                  <a:pt x="5454" y="66000"/>
                  <a:pt x="6136" y="67000"/>
                  <a:pt x="5454" y="67000"/>
                </a:cubicBezTo>
                <a:cubicBezTo>
                  <a:pt x="4772" y="66000"/>
                  <a:pt x="4772" y="65000"/>
                  <a:pt x="3409" y="65000"/>
                </a:cubicBezTo>
                <a:cubicBezTo>
                  <a:pt x="2727" y="65000"/>
                  <a:pt x="2045" y="64000"/>
                  <a:pt x="2045" y="64000"/>
                </a:cubicBezTo>
                <a:cubicBezTo>
                  <a:pt x="2045" y="64000"/>
                  <a:pt x="4090" y="62000"/>
                  <a:pt x="4772" y="62000"/>
                </a:cubicBezTo>
                <a:cubicBezTo>
                  <a:pt x="5454" y="62000"/>
                  <a:pt x="4772" y="62000"/>
                  <a:pt x="6136" y="62000"/>
                </a:cubicBezTo>
                <a:cubicBezTo>
                  <a:pt x="8181" y="61000"/>
                  <a:pt x="8863" y="63000"/>
                  <a:pt x="8863" y="61000"/>
                </a:cubicBezTo>
                <a:cubicBezTo>
                  <a:pt x="9545" y="59000"/>
                  <a:pt x="9545" y="58000"/>
                  <a:pt x="10227" y="57000"/>
                </a:cubicBezTo>
                <a:cubicBezTo>
                  <a:pt x="10227" y="56000"/>
                  <a:pt x="10909" y="54000"/>
                  <a:pt x="10909" y="54000"/>
                </a:cubicBezTo>
                <a:cubicBezTo>
                  <a:pt x="10909" y="53000"/>
                  <a:pt x="12954" y="53000"/>
                  <a:pt x="12954" y="53000"/>
                </a:cubicBezTo>
                <a:cubicBezTo>
                  <a:pt x="13636" y="56000"/>
                  <a:pt x="13636" y="56000"/>
                  <a:pt x="13636" y="56000"/>
                </a:cubicBezTo>
                <a:cubicBezTo>
                  <a:pt x="13636" y="56000"/>
                  <a:pt x="13636" y="57000"/>
                  <a:pt x="14318" y="57000"/>
                </a:cubicBezTo>
                <a:cubicBezTo>
                  <a:pt x="15000" y="57000"/>
                  <a:pt x="15000" y="57000"/>
                  <a:pt x="15000" y="57000"/>
                </a:cubicBezTo>
                <a:close/>
                <a:moveTo>
                  <a:pt x="24545" y="52000"/>
                </a:moveTo>
                <a:cubicBezTo>
                  <a:pt x="24545" y="52000"/>
                  <a:pt x="24545" y="52000"/>
                  <a:pt x="24545" y="52000"/>
                </a:cubicBezTo>
                <a:cubicBezTo>
                  <a:pt x="23863" y="53000"/>
                  <a:pt x="23863" y="53000"/>
                  <a:pt x="23863" y="53000"/>
                </a:cubicBezTo>
                <a:cubicBezTo>
                  <a:pt x="21136" y="53000"/>
                  <a:pt x="21136" y="53000"/>
                  <a:pt x="21136" y="53000"/>
                </a:cubicBezTo>
                <a:cubicBezTo>
                  <a:pt x="21136" y="55000"/>
                  <a:pt x="21136" y="55000"/>
                  <a:pt x="21136" y="55000"/>
                </a:cubicBezTo>
                <a:cubicBezTo>
                  <a:pt x="22500" y="57000"/>
                  <a:pt x="22500" y="57000"/>
                  <a:pt x="22500" y="57000"/>
                </a:cubicBezTo>
                <a:cubicBezTo>
                  <a:pt x="22500" y="57000"/>
                  <a:pt x="23181" y="56000"/>
                  <a:pt x="23863" y="56000"/>
                </a:cubicBezTo>
                <a:cubicBezTo>
                  <a:pt x="24545" y="56000"/>
                  <a:pt x="25909" y="56000"/>
                  <a:pt x="25909" y="56000"/>
                </a:cubicBezTo>
                <a:cubicBezTo>
                  <a:pt x="26590" y="55000"/>
                  <a:pt x="26590" y="55000"/>
                  <a:pt x="26590" y="55000"/>
                </a:cubicBezTo>
                <a:cubicBezTo>
                  <a:pt x="25909" y="52000"/>
                  <a:pt x="25909" y="52000"/>
                  <a:pt x="25909" y="52000"/>
                </a:cubicBezTo>
                <a:lnTo>
                  <a:pt x="24545" y="52000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3035;p256">
            <a:extLst>
              <a:ext uri="{FF2B5EF4-FFF2-40B4-BE49-F238E27FC236}">
                <a16:creationId xmlns:a16="http://schemas.microsoft.com/office/drawing/2014/main" id="{AA7C8EEE-0B63-A209-A5CD-F834644E510C}"/>
              </a:ext>
            </a:extLst>
          </p:cNvPr>
          <p:cNvSpPr/>
          <p:nvPr/>
        </p:nvSpPr>
        <p:spPr>
          <a:xfrm>
            <a:off x="10433564" y="4620703"/>
            <a:ext cx="893480" cy="6520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442" y="24782"/>
                </a:moveTo>
                <a:cubicBezTo>
                  <a:pt x="3442" y="23478"/>
                  <a:pt x="3442" y="23478"/>
                  <a:pt x="3442" y="23478"/>
                </a:cubicBezTo>
                <a:cubicBezTo>
                  <a:pt x="3442" y="23478"/>
                  <a:pt x="3442" y="23478"/>
                  <a:pt x="3442" y="23478"/>
                </a:cubicBezTo>
                <a:cubicBezTo>
                  <a:pt x="6885" y="22173"/>
                  <a:pt x="9836" y="24782"/>
                  <a:pt x="11311" y="24782"/>
                </a:cubicBezTo>
                <a:cubicBezTo>
                  <a:pt x="14262" y="25434"/>
                  <a:pt x="7868" y="30000"/>
                  <a:pt x="8852" y="30000"/>
                </a:cubicBezTo>
                <a:cubicBezTo>
                  <a:pt x="9836" y="29347"/>
                  <a:pt x="8852" y="33260"/>
                  <a:pt x="10327" y="33913"/>
                </a:cubicBezTo>
                <a:cubicBezTo>
                  <a:pt x="12786" y="34565"/>
                  <a:pt x="14754" y="31956"/>
                  <a:pt x="17704" y="31956"/>
                </a:cubicBezTo>
                <a:cubicBezTo>
                  <a:pt x="20163" y="31304"/>
                  <a:pt x="23114" y="33260"/>
                  <a:pt x="24098" y="31956"/>
                </a:cubicBezTo>
                <a:cubicBezTo>
                  <a:pt x="26065" y="28695"/>
                  <a:pt x="33934" y="35217"/>
                  <a:pt x="37868" y="31956"/>
                </a:cubicBezTo>
                <a:cubicBezTo>
                  <a:pt x="40327" y="29347"/>
                  <a:pt x="50163" y="28043"/>
                  <a:pt x="53606" y="28043"/>
                </a:cubicBezTo>
                <a:cubicBezTo>
                  <a:pt x="62459" y="27391"/>
                  <a:pt x="62950" y="27391"/>
                  <a:pt x="66885" y="24130"/>
                </a:cubicBezTo>
                <a:cubicBezTo>
                  <a:pt x="66885" y="24130"/>
                  <a:pt x="69344" y="16956"/>
                  <a:pt x="70819" y="13695"/>
                </a:cubicBezTo>
                <a:cubicBezTo>
                  <a:pt x="71803" y="11086"/>
                  <a:pt x="74754" y="9782"/>
                  <a:pt x="77704" y="7173"/>
                </a:cubicBezTo>
                <a:cubicBezTo>
                  <a:pt x="80163" y="4565"/>
                  <a:pt x="86557" y="1956"/>
                  <a:pt x="88032" y="1304"/>
                </a:cubicBezTo>
                <a:cubicBezTo>
                  <a:pt x="89508" y="1304"/>
                  <a:pt x="99836" y="1956"/>
                  <a:pt x="99836" y="1956"/>
                </a:cubicBezTo>
                <a:cubicBezTo>
                  <a:pt x="105245" y="0"/>
                  <a:pt x="105245" y="0"/>
                  <a:pt x="105245" y="0"/>
                </a:cubicBezTo>
                <a:cubicBezTo>
                  <a:pt x="105245" y="0"/>
                  <a:pt x="106229" y="5217"/>
                  <a:pt x="107704" y="5869"/>
                </a:cubicBezTo>
                <a:cubicBezTo>
                  <a:pt x="112131" y="6521"/>
                  <a:pt x="115573" y="6521"/>
                  <a:pt x="117049" y="5217"/>
                </a:cubicBezTo>
                <a:cubicBezTo>
                  <a:pt x="117540" y="5217"/>
                  <a:pt x="117540" y="6521"/>
                  <a:pt x="118032" y="7173"/>
                </a:cubicBezTo>
                <a:cubicBezTo>
                  <a:pt x="118524" y="8478"/>
                  <a:pt x="119016" y="11086"/>
                  <a:pt x="119016" y="11086"/>
                </a:cubicBezTo>
                <a:cubicBezTo>
                  <a:pt x="118524" y="14347"/>
                  <a:pt x="118524" y="14347"/>
                  <a:pt x="118524" y="14347"/>
                </a:cubicBezTo>
                <a:cubicBezTo>
                  <a:pt x="118032" y="15000"/>
                  <a:pt x="118032" y="15000"/>
                  <a:pt x="118032" y="15000"/>
                </a:cubicBezTo>
                <a:cubicBezTo>
                  <a:pt x="115573" y="16956"/>
                  <a:pt x="115573" y="16956"/>
                  <a:pt x="115573" y="16956"/>
                </a:cubicBezTo>
                <a:cubicBezTo>
                  <a:pt x="115573" y="16956"/>
                  <a:pt x="114590" y="16956"/>
                  <a:pt x="114098" y="17608"/>
                </a:cubicBezTo>
                <a:cubicBezTo>
                  <a:pt x="113606" y="17608"/>
                  <a:pt x="112622" y="18260"/>
                  <a:pt x="112622" y="18260"/>
                </a:cubicBezTo>
                <a:cubicBezTo>
                  <a:pt x="112622" y="18260"/>
                  <a:pt x="111639" y="19565"/>
                  <a:pt x="111639" y="20217"/>
                </a:cubicBezTo>
                <a:cubicBezTo>
                  <a:pt x="111147" y="21521"/>
                  <a:pt x="110655" y="23478"/>
                  <a:pt x="110655" y="23478"/>
                </a:cubicBezTo>
                <a:cubicBezTo>
                  <a:pt x="109672" y="26739"/>
                  <a:pt x="109672" y="26739"/>
                  <a:pt x="109672" y="26739"/>
                </a:cubicBezTo>
                <a:cubicBezTo>
                  <a:pt x="109672" y="31304"/>
                  <a:pt x="109672" y="31304"/>
                  <a:pt x="109672" y="31304"/>
                </a:cubicBezTo>
                <a:cubicBezTo>
                  <a:pt x="110655" y="36521"/>
                  <a:pt x="110655" y="36521"/>
                  <a:pt x="110655" y="36521"/>
                </a:cubicBezTo>
                <a:cubicBezTo>
                  <a:pt x="111639" y="42391"/>
                  <a:pt x="111639" y="42391"/>
                  <a:pt x="111639" y="42391"/>
                </a:cubicBezTo>
                <a:cubicBezTo>
                  <a:pt x="111639" y="42391"/>
                  <a:pt x="110163" y="44347"/>
                  <a:pt x="109672" y="44347"/>
                </a:cubicBezTo>
                <a:cubicBezTo>
                  <a:pt x="109672" y="44347"/>
                  <a:pt x="109180" y="45000"/>
                  <a:pt x="109180" y="45000"/>
                </a:cubicBezTo>
                <a:cubicBezTo>
                  <a:pt x="109180" y="46304"/>
                  <a:pt x="109180" y="46304"/>
                  <a:pt x="109180" y="46304"/>
                </a:cubicBezTo>
                <a:cubicBezTo>
                  <a:pt x="108688" y="48260"/>
                  <a:pt x="108688" y="48260"/>
                  <a:pt x="108688" y="48260"/>
                </a:cubicBezTo>
                <a:cubicBezTo>
                  <a:pt x="108196" y="49565"/>
                  <a:pt x="108196" y="49565"/>
                  <a:pt x="108196" y="49565"/>
                </a:cubicBezTo>
                <a:cubicBezTo>
                  <a:pt x="108196" y="49565"/>
                  <a:pt x="107704" y="50869"/>
                  <a:pt x="107213" y="50869"/>
                </a:cubicBezTo>
                <a:cubicBezTo>
                  <a:pt x="106721" y="51521"/>
                  <a:pt x="105737" y="52826"/>
                  <a:pt x="105737" y="52826"/>
                </a:cubicBezTo>
                <a:cubicBezTo>
                  <a:pt x="106229" y="54130"/>
                  <a:pt x="106229" y="54130"/>
                  <a:pt x="106229" y="54130"/>
                </a:cubicBezTo>
                <a:cubicBezTo>
                  <a:pt x="111639" y="55434"/>
                  <a:pt x="111639" y="55434"/>
                  <a:pt x="111639" y="55434"/>
                </a:cubicBezTo>
                <a:cubicBezTo>
                  <a:pt x="111639" y="56739"/>
                  <a:pt x="111639" y="56739"/>
                  <a:pt x="111639" y="56739"/>
                </a:cubicBezTo>
                <a:cubicBezTo>
                  <a:pt x="114098" y="60000"/>
                  <a:pt x="114098" y="60000"/>
                  <a:pt x="114098" y="60000"/>
                </a:cubicBezTo>
                <a:cubicBezTo>
                  <a:pt x="115573" y="63260"/>
                  <a:pt x="115573" y="63260"/>
                  <a:pt x="115573" y="63260"/>
                </a:cubicBezTo>
                <a:cubicBezTo>
                  <a:pt x="118032" y="64565"/>
                  <a:pt x="118032" y="64565"/>
                  <a:pt x="118032" y="64565"/>
                </a:cubicBezTo>
                <a:cubicBezTo>
                  <a:pt x="118032" y="64565"/>
                  <a:pt x="120000" y="66521"/>
                  <a:pt x="120000" y="66521"/>
                </a:cubicBezTo>
                <a:cubicBezTo>
                  <a:pt x="119508" y="67173"/>
                  <a:pt x="117049" y="68478"/>
                  <a:pt x="117049" y="68478"/>
                </a:cubicBezTo>
                <a:cubicBezTo>
                  <a:pt x="115573" y="69782"/>
                  <a:pt x="115573" y="69782"/>
                  <a:pt x="115573" y="69782"/>
                </a:cubicBezTo>
                <a:cubicBezTo>
                  <a:pt x="115573" y="69782"/>
                  <a:pt x="114590" y="69782"/>
                  <a:pt x="113606" y="70434"/>
                </a:cubicBezTo>
                <a:cubicBezTo>
                  <a:pt x="113114" y="71086"/>
                  <a:pt x="110163" y="73043"/>
                  <a:pt x="110163" y="73043"/>
                </a:cubicBezTo>
                <a:cubicBezTo>
                  <a:pt x="106229" y="69782"/>
                  <a:pt x="106229" y="69782"/>
                  <a:pt x="106229" y="69782"/>
                </a:cubicBezTo>
                <a:cubicBezTo>
                  <a:pt x="103770" y="69130"/>
                  <a:pt x="103770" y="69130"/>
                  <a:pt x="103770" y="69130"/>
                </a:cubicBezTo>
                <a:cubicBezTo>
                  <a:pt x="102786" y="71086"/>
                  <a:pt x="102786" y="71086"/>
                  <a:pt x="102786" y="71086"/>
                </a:cubicBezTo>
                <a:cubicBezTo>
                  <a:pt x="100327" y="71739"/>
                  <a:pt x="100327" y="71739"/>
                  <a:pt x="100327" y="71739"/>
                </a:cubicBezTo>
                <a:cubicBezTo>
                  <a:pt x="98852" y="75000"/>
                  <a:pt x="98852" y="75000"/>
                  <a:pt x="98852" y="75000"/>
                </a:cubicBezTo>
                <a:cubicBezTo>
                  <a:pt x="98852" y="75000"/>
                  <a:pt x="95409" y="76304"/>
                  <a:pt x="94426" y="76956"/>
                </a:cubicBezTo>
                <a:cubicBezTo>
                  <a:pt x="93934" y="77608"/>
                  <a:pt x="91967" y="79565"/>
                  <a:pt x="91967" y="79565"/>
                </a:cubicBezTo>
                <a:cubicBezTo>
                  <a:pt x="92459" y="82173"/>
                  <a:pt x="92459" y="82173"/>
                  <a:pt x="92459" y="82173"/>
                </a:cubicBezTo>
                <a:cubicBezTo>
                  <a:pt x="90491" y="84130"/>
                  <a:pt x="90491" y="84130"/>
                  <a:pt x="90491" y="84130"/>
                </a:cubicBezTo>
                <a:cubicBezTo>
                  <a:pt x="90491" y="84130"/>
                  <a:pt x="89016" y="84782"/>
                  <a:pt x="88524" y="86086"/>
                </a:cubicBezTo>
                <a:cubicBezTo>
                  <a:pt x="88524" y="87391"/>
                  <a:pt x="89016" y="88043"/>
                  <a:pt x="89016" y="88043"/>
                </a:cubicBezTo>
                <a:cubicBezTo>
                  <a:pt x="88032" y="88043"/>
                  <a:pt x="86557" y="88695"/>
                  <a:pt x="86065" y="89347"/>
                </a:cubicBezTo>
                <a:cubicBezTo>
                  <a:pt x="85573" y="89347"/>
                  <a:pt x="85573" y="90652"/>
                  <a:pt x="86065" y="91956"/>
                </a:cubicBezTo>
                <a:cubicBezTo>
                  <a:pt x="86065" y="92608"/>
                  <a:pt x="87049" y="93913"/>
                  <a:pt x="88032" y="95869"/>
                </a:cubicBezTo>
                <a:cubicBezTo>
                  <a:pt x="88524" y="97826"/>
                  <a:pt x="89016" y="97826"/>
                  <a:pt x="89016" y="98478"/>
                </a:cubicBezTo>
                <a:cubicBezTo>
                  <a:pt x="89016" y="99130"/>
                  <a:pt x="88524" y="101086"/>
                  <a:pt x="88032" y="101739"/>
                </a:cubicBezTo>
                <a:cubicBezTo>
                  <a:pt x="87049" y="103043"/>
                  <a:pt x="86065" y="103043"/>
                  <a:pt x="85573" y="103043"/>
                </a:cubicBezTo>
                <a:cubicBezTo>
                  <a:pt x="85081" y="103695"/>
                  <a:pt x="83606" y="105000"/>
                  <a:pt x="83114" y="105000"/>
                </a:cubicBezTo>
                <a:cubicBezTo>
                  <a:pt x="82622" y="105652"/>
                  <a:pt x="80163" y="106304"/>
                  <a:pt x="79672" y="106304"/>
                </a:cubicBezTo>
                <a:cubicBezTo>
                  <a:pt x="79180" y="106304"/>
                  <a:pt x="76229" y="107608"/>
                  <a:pt x="76229" y="107608"/>
                </a:cubicBezTo>
                <a:cubicBezTo>
                  <a:pt x="73770" y="108913"/>
                  <a:pt x="73770" y="108913"/>
                  <a:pt x="73770" y="108913"/>
                </a:cubicBezTo>
                <a:cubicBezTo>
                  <a:pt x="72295" y="110217"/>
                  <a:pt x="72295" y="110217"/>
                  <a:pt x="72295" y="110217"/>
                </a:cubicBezTo>
                <a:cubicBezTo>
                  <a:pt x="68360" y="108913"/>
                  <a:pt x="68360" y="108913"/>
                  <a:pt x="68360" y="108913"/>
                </a:cubicBezTo>
                <a:cubicBezTo>
                  <a:pt x="63442" y="106956"/>
                  <a:pt x="63442" y="106956"/>
                  <a:pt x="63442" y="106956"/>
                </a:cubicBezTo>
                <a:cubicBezTo>
                  <a:pt x="63442" y="106956"/>
                  <a:pt x="60983" y="109565"/>
                  <a:pt x="60491" y="109565"/>
                </a:cubicBezTo>
                <a:cubicBezTo>
                  <a:pt x="60000" y="109565"/>
                  <a:pt x="57049" y="106956"/>
                  <a:pt x="57049" y="106956"/>
                </a:cubicBezTo>
                <a:cubicBezTo>
                  <a:pt x="55573" y="103695"/>
                  <a:pt x="55573" y="103695"/>
                  <a:pt x="55573" y="103695"/>
                </a:cubicBezTo>
                <a:cubicBezTo>
                  <a:pt x="55573" y="103695"/>
                  <a:pt x="52622" y="104347"/>
                  <a:pt x="52131" y="104347"/>
                </a:cubicBezTo>
                <a:cubicBezTo>
                  <a:pt x="51639" y="104347"/>
                  <a:pt x="51147" y="105652"/>
                  <a:pt x="51147" y="106304"/>
                </a:cubicBezTo>
                <a:cubicBezTo>
                  <a:pt x="50655" y="106304"/>
                  <a:pt x="49672" y="106304"/>
                  <a:pt x="48688" y="106304"/>
                </a:cubicBezTo>
                <a:cubicBezTo>
                  <a:pt x="47213" y="106304"/>
                  <a:pt x="46229" y="107608"/>
                  <a:pt x="46229" y="107608"/>
                </a:cubicBezTo>
                <a:cubicBezTo>
                  <a:pt x="45245" y="110217"/>
                  <a:pt x="45245" y="110217"/>
                  <a:pt x="45245" y="110217"/>
                </a:cubicBezTo>
                <a:cubicBezTo>
                  <a:pt x="45245" y="110217"/>
                  <a:pt x="42786" y="111521"/>
                  <a:pt x="42786" y="111521"/>
                </a:cubicBezTo>
                <a:cubicBezTo>
                  <a:pt x="42295" y="112173"/>
                  <a:pt x="37868" y="114130"/>
                  <a:pt x="37868" y="114130"/>
                </a:cubicBezTo>
                <a:cubicBezTo>
                  <a:pt x="34426" y="115434"/>
                  <a:pt x="34426" y="115434"/>
                  <a:pt x="34426" y="115434"/>
                </a:cubicBezTo>
                <a:cubicBezTo>
                  <a:pt x="34426" y="115434"/>
                  <a:pt x="33442" y="116086"/>
                  <a:pt x="32950" y="115434"/>
                </a:cubicBezTo>
                <a:cubicBezTo>
                  <a:pt x="32459" y="115434"/>
                  <a:pt x="30983" y="117391"/>
                  <a:pt x="30983" y="117391"/>
                </a:cubicBezTo>
                <a:cubicBezTo>
                  <a:pt x="28032" y="120000"/>
                  <a:pt x="28032" y="120000"/>
                  <a:pt x="28032" y="120000"/>
                </a:cubicBezTo>
                <a:cubicBezTo>
                  <a:pt x="25081" y="120000"/>
                  <a:pt x="25081" y="120000"/>
                  <a:pt x="25081" y="120000"/>
                </a:cubicBezTo>
                <a:cubicBezTo>
                  <a:pt x="25081" y="120000"/>
                  <a:pt x="25081" y="119347"/>
                  <a:pt x="25081" y="119347"/>
                </a:cubicBezTo>
                <a:cubicBezTo>
                  <a:pt x="25081" y="119347"/>
                  <a:pt x="25081" y="119347"/>
                  <a:pt x="25081" y="119347"/>
                </a:cubicBezTo>
                <a:cubicBezTo>
                  <a:pt x="25081" y="118695"/>
                  <a:pt x="25081" y="118695"/>
                  <a:pt x="25081" y="118695"/>
                </a:cubicBezTo>
                <a:cubicBezTo>
                  <a:pt x="25081" y="118043"/>
                  <a:pt x="24590" y="117391"/>
                  <a:pt x="24590" y="116086"/>
                </a:cubicBezTo>
                <a:cubicBezTo>
                  <a:pt x="24098" y="114782"/>
                  <a:pt x="23606" y="113478"/>
                  <a:pt x="23606" y="112173"/>
                </a:cubicBezTo>
                <a:cubicBezTo>
                  <a:pt x="23606" y="111521"/>
                  <a:pt x="24098" y="110869"/>
                  <a:pt x="24098" y="110217"/>
                </a:cubicBezTo>
                <a:cubicBezTo>
                  <a:pt x="24098" y="110217"/>
                  <a:pt x="24098" y="110217"/>
                  <a:pt x="24098" y="110217"/>
                </a:cubicBezTo>
                <a:cubicBezTo>
                  <a:pt x="24590" y="109565"/>
                  <a:pt x="24590" y="108913"/>
                  <a:pt x="24590" y="107608"/>
                </a:cubicBezTo>
                <a:cubicBezTo>
                  <a:pt x="24098" y="105000"/>
                  <a:pt x="22131" y="105000"/>
                  <a:pt x="21639" y="102391"/>
                </a:cubicBezTo>
                <a:cubicBezTo>
                  <a:pt x="21147" y="100434"/>
                  <a:pt x="19180" y="98478"/>
                  <a:pt x="19180" y="97826"/>
                </a:cubicBezTo>
                <a:cubicBezTo>
                  <a:pt x="15737" y="95217"/>
                  <a:pt x="13770" y="95869"/>
                  <a:pt x="11803" y="93260"/>
                </a:cubicBezTo>
                <a:cubicBezTo>
                  <a:pt x="11311" y="92608"/>
                  <a:pt x="10819" y="91956"/>
                  <a:pt x="10819" y="91304"/>
                </a:cubicBezTo>
                <a:cubicBezTo>
                  <a:pt x="11311" y="90652"/>
                  <a:pt x="11311" y="90652"/>
                  <a:pt x="11311" y="90652"/>
                </a:cubicBezTo>
                <a:cubicBezTo>
                  <a:pt x="11311" y="90652"/>
                  <a:pt x="10819" y="90652"/>
                  <a:pt x="10327" y="90000"/>
                </a:cubicBezTo>
                <a:cubicBezTo>
                  <a:pt x="9836" y="89347"/>
                  <a:pt x="9344" y="88695"/>
                  <a:pt x="8852" y="88043"/>
                </a:cubicBezTo>
                <a:cubicBezTo>
                  <a:pt x="8852" y="88043"/>
                  <a:pt x="8852" y="88043"/>
                  <a:pt x="8852" y="88043"/>
                </a:cubicBezTo>
                <a:cubicBezTo>
                  <a:pt x="9344" y="88043"/>
                  <a:pt x="9836" y="86739"/>
                  <a:pt x="9836" y="86739"/>
                </a:cubicBezTo>
                <a:cubicBezTo>
                  <a:pt x="10327" y="84782"/>
                  <a:pt x="10327" y="84782"/>
                  <a:pt x="10327" y="84782"/>
                </a:cubicBezTo>
                <a:cubicBezTo>
                  <a:pt x="10819" y="83478"/>
                  <a:pt x="10819" y="83478"/>
                  <a:pt x="10819" y="83478"/>
                </a:cubicBezTo>
                <a:cubicBezTo>
                  <a:pt x="10819" y="83478"/>
                  <a:pt x="10327" y="81521"/>
                  <a:pt x="9836" y="81521"/>
                </a:cubicBezTo>
                <a:cubicBezTo>
                  <a:pt x="9836" y="80869"/>
                  <a:pt x="8360" y="80217"/>
                  <a:pt x="8360" y="80217"/>
                </a:cubicBezTo>
                <a:cubicBezTo>
                  <a:pt x="8360" y="76956"/>
                  <a:pt x="8360" y="76956"/>
                  <a:pt x="8360" y="76956"/>
                </a:cubicBezTo>
                <a:cubicBezTo>
                  <a:pt x="7868" y="73695"/>
                  <a:pt x="7868" y="73695"/>
                  <a:pt x="7868" y="73695"/>
                </a:cubicBezTo>
                <a:cubicBezTo>
                  <a:pt x="6885" y="71739"/>
                  <a:pt x="6885" y="71739"/>
                  <a:pt x="6885" y="71739"/>
                </a:cubicBezTo>
                <a:cubicBezTo>
                  <a:pt x="6885" y="71739"/>
                  <a:pt x="7868" y="70434"/>
                  <a:pt x="8360" y="69782"/>
                </a:cubicBezTo>
                <a:cubicBezTo>
                  <a:pt x="8360" y="69782"/>
                  <a:pt x="8852" y="69130"/>
                  <a:pt x="9344" y="69130"/>
                </a:cubicBezTo>
                <a:cubicBezTo>
                  <a:pt x="9836" y="68478"/>
                  <a:pt x="10819" y="68478"/>
                  <a:pt x="11311" y="68478"/>
                </a:cubicBezTo>
                <a:cubicBezTo>
                  <a:pt x="11803" y="68478"/>
                  <a:pt x="12786" y="67173"/>
                  <a:pt x="12786" y="67173"/>
                </a:cubicBezTo>
                <a:cubicBezTo>
                  <a:pt x="12786" y="67173"/>
                  <a:pt x="12786" y="65217"/>
                  <a:pt x="12295" y="64565"/>
                </a:cubicBezTo>
                <a:cubicBezTo>
                  <a:pt x="12295" y="63260"/>
                  <a:pt x="13278" y="61956"/>
                  <a:pt x="13278" y="61956"/>
                </a:cubicBezTo>
                <a:cubicBezTo>
                  <a:pt x="13278" y="61956"/>
                  <a:pt x="14754" y="59347"/>
                  <a:pt x="15245" y="58695"/>
                </a:cubicBezTo>
                <a:cubicBezTo>
                  <a:pt x="15737" y="58043"/>
                  <a:pt x="16229" y="54782"/>
                  <a:pt x="16229" y="54782"/>
                </a:cubicBezTo>
                <a:cubicBezTo>
                  <a:pt x="14262" y="54782"/>
                  <a:pt x="14262" y="54782"/>
                  <a:pt x="14262" y="54782"/>
                </a:cubicBezTo>
                <a:cubicBezTo>
                  <a:pt x="12295" y="54130"/>
                  <a:pt x="12295" y="54130"/>
                  <a:pt x="12295" y="54130"/>
                </a:cubicBezTo>
                <a:cubicBezTo>
                  <a:pt x="12295" y="54130"/>
                  <a:pt x="10327" y="50217"/>
                  <a:pt x="10327" y="50217"/>
                </a:cubicBezTo>
                <a:cubicBezTo>
                  <a:pt x="10327" y="49565"/>
                  <a:pt x="9344" y="49565"/>
                  <a:pt x="9344" y="49565"/>
                </a:cubicBezTo>
                <a:cubicBezTo>
                  <a:pt x="9344" y="49565"/>
                  <a:pt x="7377" y="48260"/>
                  <a:pt x="7377" y="48260"/>
                </a:cubicBezTo>
                <a:cubicBezTo>
                  <a:pt x="6885" y="48260"/>
                  <a:pt x="5409" y="47608"/>
                  <a:pt x="5409" y="47608"/>
                </a:cubicBezTo>
                <a:cubicBezTo>
                  <a:pt x="5409" y="47608"/>
                  <a:pt x="3442" y="44347"/>
                  <a:pt x="2950" y="43043"/>
                </a:cubicBezTo>
                <a:cubicBezTo>
                  <a:pt x="2459" y="41739"/>
                  <a:pt x="1967" y="41086"/>
                  <a:pt x="1967" y="41086"/>
                </a:cubicBezTo>
                <a:cubicBezTo>
                  <a:pt x="1967" y="41086"/>
                  <a:pt x="1475" y="39782"/>
                  <a:pt x="983" y="39130"/>
                </a:cubicBezTo>
                <a:cubicBezTo>
                  <a:pt x="491" y="38478"/>
                  <a:pt x="491" y="37173"/>
                  <a:pt x="491" y="37173"/>
                </a:cubicBezTo>
                <a:cubicBezTo>
                  <a:pt x="491" y="37173"/>
                  <a:pt x="983" y="35217"/>
                  <a:pt x="491" y="33913"/>
                </a:cubicBezTo>
                <a:cubicBezTo>
                  <a:pt x="491" y="33260"/>
                  <a:pt x="0" y="30652"/>
                  <a:pt x="491" y="30652"/>
                </a:cubicBezTo>
                <a:cubicBezTo>
                  <a:pt x="983" y="29347"/>
                  <a:pt x="1475" y="28043"/>
                  <a:pt x="2459" y="27391"/>
                </a:cubicBezTo>
                <a:cubicBezTo>
                  <a:pt x="2950" y="27391"/>
                  <a:pt x="2950" y="27391"/>
                  <a:pt x="3442" y="27391"/>
                </a:cubicBezTo>
                <a:cubicBezTo>
                  <a:pt x="3934" y="27391"/>
                  <a:pt x="3442" y="25434"/>
                  <a:pt x="3442" y="25434"/>
                </a:cubicBezTo>
                <a:lnTo>
                  <a:pt x="3442" y="24782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3036;p256">
            <a:extLst>
              <a:ext uri="{FF2B5EF4-FFF2-40B4-BE49-F238E27FC236}">
                <a16:creationId xmlns:a16="http://schemas.microsoft.com/office/drawing/2014/main" id="{01B7AC9B-B2D9-A916-ED65-7841751DFC71}"/>
              </a:ext>
            </a:extLst>
          </p:cNvPr>
          <p:cNvSpPr/>
          <p:nvPr/>
        </p:nvSpPr>
        <p:spPr>
          <a:xfrm>
            <a:off x="13755646" y="4208234"/>
            <a:ext cx="999502" cy="792276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40358"/>
                </a:moveTo>
                <a:cubicBezTo>
                  <a:pt x="439" y="40358"/>
                  <a:pt x="1318" y="39820"/>
                  <a:pt x="1758" y="39820"/>
                </a:cubicBezTo>
                <a:cubicBezTo>
                  <a:pt x="1758" y="39282"/>
                  <a:pt x="2197" y="39282"/>
                  <a:pt x="2197" y="38744"/>
                </a:cubicBezTo>
                <a:cubicBezTo>
                  <a:pt x="2197" y="38744"/>
                  <a:pt x="879" y="38206"/>
                  <a:pt x="439" y="37130"/>
                </a:cubicBezTo>
                <a:cubicBezTo>
                  <a:pt x="439" y="37130"/>
                  <a:pt x="1318" y="36591"/>
                  <a:pt x="1318" y="36591"/>
                </a:cubicBezTo>
                <a:cubicBezTo>
                  <a:pt x="1318" y="36591"/>
                  <a:pt x="3956" y="37130"/>
                  <a:pt x="4835" y="37130"/>
                </a:cubicBezTo>
                <a:cubicBezTo>
                  <a:pt x="5714" y="37130"/>
                  <a:pt x="8791" y="36053"/>
                  <a:pt x="8791" y="36053"/>
                </a:cubicBezTo>
                <a:cubicBezTo>
                  <a:pt x="9670" y="38206"/>
                  <a:pt x="9670" y="38206"/>
                  <a:pt x="9670" y="38206"/>
                </a:cubicBezTo>
                <a:cubicBezTo>
                  <a:pt x="9670" y="38206"/>
                  <a:pt x="14505" y="38206"/>
                  <a:pt x="16263" y="38744"/>
                </a:cubicBezTo>
                <a:cubicBezTo>
                  <a:pt x="17142" y="39282"/>
                  <a:pt x="17142" y="38744"/>
                  <a:pt x="18021" y="38206"/>
                </a:cubicBezTo>
                <a:cubicBezTo>
                  <a:pt x="18461" y="37668"/>
                  <a:pt x="19340" y="37130"/>
                  <a:pt x="19780" y="37668"/>
                </a:cubicBezTo>
                <a:cubicBezTo>
                  <a:pt x="20219" y="37668"/>
                  <a:pt x="20219" y="37668"/>
                  <a:pt x="21098" y="38206"/>
                </a:cubicBezTo>
                <a:cubicBezTo>
                  <a:pt x="21978" y="38744"/>
                  <a:pt x="23296" y="39282"/>
                  <a:pt x="24175" y="39282"/>
                </a:cubicBezTo>
                <a:cubicBezTo>
                  <a:pt x="25934" y="39282"/>
                  <a:pt x="25934" y="39282"/>
                  <a:pt x="25934" y="39282"/>
                </a:cubicBezTo>
                <a:cubicBezTo>
                  <a:pt x="26373" y="37668"/>
                  <a:pt x="26373" y="37668"/>
                  <a:pt x="26373" y="37668"/>
                </a:cubicBezTo>
                <a:cubicBezTo>
                  <a:pt x="27252" y="38744"/>
                  <a:pt x="25494" y="31748"/>
                  <a:pt x="26373" y="31748"/>
                </a:cubicBezTo>
                <a:cubicBezTo>
                  <a:pt x="27692" y="31210"/>
                  <a:pt x="28131" y="32825"/>
                  <a:pt x="29890" y="32286"/>
                </a:cubicBezTo>
                <a:cubicBezTo>
                  <a:pt x="31648" y="31210"/>
                  <a:pt x="34285" y="35515"/>
                  <a:pt x="34725" y="33363"/>
                </a:cubicBezTo>
                <a:cubicBezTo>
                  <a:pt x="35164" y="31748"/>
                  <a:pt x="37802" y="33901"/>
                  <a:pt x="35604" y="31748"/>
                </a:cubicBezTo>
                <a:cubicBezTo>
                  <a:pt x="32967" y="29058"/>
                  <a:pt x="33846" y="29596"/>
                  <a:pt x="32087" y="29058"/>
                </a:cubicBezTo>
                <a:cubicBezTo>
                  <a:pt x="30329" y="27982"/>
                  <a:pt x="29010" y="27443"/>
                  <a:pt x="28131" y="26905"/>
                </a:cubicBezTo>
                <a:cubicBezTo>
                  <a:pt x="27252" y="26905"/>
                  <a:pt x="27692" y="26905"/>
                  <a:pt x="26373" y="25829"/>
                </a:cubicBezTo>
                <a:cubicBezTo>
                  <a:pt x="25054" y="24753"/>
                  <a:pt x="23736" y="23677"/>
                  <a:pt x="23736" y="23677"/>
                </a:cubicBezTo>
                <a:cubicBezTo>
                  <a:pt x="23736" y="23677"/>
                  <a:pt x="22417" y="23139"/>
                  <a:pt x="22417" y="22062"/>
                </a:cubicBezTo>
                <a:cubicBezTo>
                  <a:pt x="21978" y="20986"/>
                  <a:pt x="21538" y="19372"/>
                  <a:pt x="21538" y="19372"/>
                </a:cubicBezTo>
                <a:cubicBezTo>
                  <a:pt x="23736" y="17219"/>
                  <a:pt x="23736" y="17219"/>
                  <a:pt x="23736" y="17219"/>
                </a:cubicBezTo>
                <a:cubicBezTo>
                  <a:pt x="25054" y="13452"/>
                  <a:pt x="25054" y="13452"/>
                  <a:pt x="25054" y="13452"/>
                </a:cubicBezTo>
                <a:cubicBezTo>
                  <a:pt x="25054" y="13452"/>
                  <a:pt x="23736" y="12376"/>
                  <a:pt x="25934" y="12376"/>
                </a:cubicBezTo>
                <a:cubicBezTo>
                  <a:pt x="27692" y="12376"/>
                  <a:pt x="27692" y="12376"/>
                  <a:pt x="27692" y="12376"/>
                </a:cubicBezTo>
                <a:cubicBezTo>
                  <a:pt x="27692" y="12376"/>
                  <a:pt x="28131" y="15605"/>
                  <a:pt x="28571" y="15067"/>
                </a:cubicBezTo>
                <a:cubicBezTo>
                  <a:pt x="29450" y="15067"/>
                  <a:pt x="29890" y="13991"/>
                  <a:pt x="30329" y="13452"/>
                </a:cubicBezTo>
                <a:cubicBezTo>
                  <a:pt x="30769" y="12914"/>
                  <a:pt x="32087" y="11300"/>
                  <a:pt x="32527" y="11838"/>
                </a:cubicBezTo>
                <a:cubicBezTo>
                  <a:pt x="32527" y="12914"/>
                  <a:pt x="31208" y="14529"/>
                  <a:pt x="32967" y="14529"/>
                </a:cubicBezTo>
                <a:cubicBezTo>
                  <a:pt x="34725" y="14529"/>
                  <a:pt x="34285" y="15605"/>
                  <a:pt x="35604" y="16143"/>
                </a:cubicBezTo>
                <a:cubicBezTo>
                  <a:pt x="36923" y="16143"/>
                  <a:pt x="38241" y="17219"/>
                  <a:pt x="38241" y="17757"/>
                </a:cubicBezTo>
                <a:cubicBezTo>
                  <a:pt x="38241" y="18295"/>
                  <a:pt x="38241" y="18834"/>
                  <a:pt x="38681" y="19372"/>
                </a:cubicBezTo>
                <a:cubicBezTo>
                  <a:pt x="39560" y="19910"/>
                  <a:pt x="40000" y="19372"/>
                  <a:pt x="40879" y="19372"/>
                </a:cubicBezTo>
                <a:cubicBezTo>
                  <a:pt x="41758" y="19372"/>
                  <a:pt x="41758" y="18295"/>
                  <a:pt x="42197" y="19372"/>
                </a:cubicBezTo>
                <a:cubicBezTo>
                  <a:pt x="42197" y="20448"/>
                  <a:pt x="42637" y="20986"/>
                  <a:pt x="42637" y="20986"/>
                </a:cubicBezTo>
                <a:cubicBezTo>
                  <a:pt x="44395" y="23677"/>
                  <a:pt x="44395" y="23677"/>
                  <a:pt x="44395" y="23677"/>
                </a:cubicBezTo>
                <a:cubicBezTo>
                  <a:pt x="46153" y="25829"/>
                  <a:pt x="46153" y="25829"/>
                  <a:pt x="46153" y="25829"/>
                </a:cubicBezTo>
                <a:cubicBezTo>
                  <a:pt x="46153" y="25829"/>
                  <a:pt x="44835" y="25829"/>
                  <a:pt x="46593" y="26905"/>
                </a:cubicBezTo>
                <a:cubicBezTo>
                  <a:pt x="48351" y="27443"/>
                  <a:pt x="49670" y="27443"/>
                  <a:pt x="49670" y="27443"/>
                </a:cubicBezTo>
                <a:cubicBezTo>
                  <a:pt x="49670" y="27443"/>
                  <a:pt x="49670" y="27443"/>
                  <a:pt x="51428" y="27982"/>
                </a:cubicBezTo>
                <a:cubicBezTo>
                  <a:pt x="53186" y="28520"/>
                  <a:pt x="54505" y="29596"/>
                  <a:pt x="56263" y="29058"/>
                </a:cubicBezTo>
                <a:cubicBezTo>
                  <a:pt x="58461" y="29058"/>
                  <a:pt x="60219" y="26367"/>
                  <a:pt x="60219" y="26367"/>
                </a:cubicBezTo>
                <a:cubicBezTo>
                  <a:pt x="60219" y="26367"/>
                  <a:pt x="61098" y="24753"/>
                  <a:pt x="60659" y="23677"/>
                </a:cubicBezTo>
                <a:cubicBezTo>
                  <a:pt x="60659" y="22600"/>
                  <a:pt x="61538" y="20448"/>
                  <a:pt x="62417" y="19910"/>
                </a:cubicBezTo>
                <a:cubicBezTo>
                  <a:pt x="63296" y="19372"/>
                  <a:pt x="61978" y="18834"/>
                  <a:pt x="62417" y="17757"/>
                </a:cubicBezTo>
                <a:cubicBezTo>
                  <a:pt x="62857" y="17219"/>
                  <a:pt x="63296" y="16681"/>
                  <a:pt x="63736" y="16143"/>
                </a:cubicBezTo>
                <a:cubicBezTo>
                  <a:pt x="64615" y="15605"/>
                  <a:pt x="67252" y="12376"/>
                  <a:pt x="67252" y="12376"/>
                </a:cubicBezTo>
                <a:cubicBezTo>
                  <a:pt x="68131" y="9686"/>
                  <a:pt x="68131" y="9686"/>
                  <a:pt x="68131" y="9686"/>
                </a:cubicBezTo>
                <a:cubicBezTo>
                  <a:pt x="68131" y="9686"/>
                  <a:pt x="68131" y="6457"/>
                  <a:pt x="68571" y="5919"/>
                </a:cubicBezTo>
                <a:cubicBezTo>
                  <a:pt x="69010" y="5381"/>
                  <a:pt x="70329" y="1076"/>
                  <a:pt x="70329" y="1076"/>
                </a:cubicBezTo>
                <a:cubicBezTo>
                  <a:pt x="70769" y="0"/>
                  <a:pt x="70769" y="0"/>
                  <a:pt x="70769" y="0"/>
                </a:cubicBezTo>
                <a:cubicBezTo>
                  <a:pt x="70769" y="0"/>
                  <a:pt x="79560" y="9686"/>
                  <a:pt x="80000" y="9686"/>
                </a:cubicBezTo>
                <a:cubicBezTo>
                  <a:pt x="80439" y="9686"/>
                  <a:pt x="83956" y="12376"/>
                  <a:pt x="84395" y="13452"/>
                </a:cubicBezTo>
                <a:cubicBezTo>
                  <a:pt x="84835" y="13991"/>
                  <a:pt x="87472" y="18295"/>
                  <a:pt x="87472" y="18295"/>
                </a:cubicBezTo>
                <a:cubicBezTo>
                  <a:pt x="87912" y="20448"/>
                  <a:pt x="87912" y="20448"/>
                  <a:pt x="87912" y="20448"/>
                </a:cubicBezTo>
                <a:cubicBezTo>
                  <a:pt x="87912" y="20448"/>
                  <a:pt x="87912" y="22062"/>
                  <a:pt x="88791" y="23139"/>
                </a:cubicBezTo>
                <a:cubicBezTo>
                  <a:pt x="89670" y="23677"/>
                  <a:pt x="91428" y="25829"/>
                  <a:pt x="92307" y="26367"/>
                </a:cubicBezTo>
                <a:cubicBezTo>
                  <a:pt x="93186" y="26367"/>
                  <a:pt x="96703" y="29058"/>
                  <a:pt x="96703" y="29058"/>
                </a:cubicBezTo>
                <a:cubicBezTo>
                  <a:pt x="96703" y="29058"/>
                  <a:pt x="97142" y="27443"/>
                  <a:pt x="97582" y="28520"/>
                </a:cubicBezTo>
                <a:cubicBezTo>
                  <a:pt x="98021" y="29596"/>
                  <a:pt x="98461" y="31210"/>
                  <a:pt x="98461" y="31748"/>
                </a:cubicBezTo>
                <a:cubicBezTo>
                  <a:pt x="98461" y="32286"/>
                  <a:pt x="98901" y="34439"/>
                  <a:pt x="99780" y="33901"/>
                </a:cubicBezTo>
                <a:cubicBezTo>
                  <a:pt x="100659" y="33901"/>
                  <a:pt x="103296" y="33901"/>
                  <a:pt x="103296" y="33901"/>
                </a:cubicBezTo>
                <a:cubicBezTo>
                  <a:pt x="103296" y="33901"/>
                  <a:pt x="103736" y="34977"/>
                  <a:pt x="105054" y="34977"/>
                </a:cubicBezTo>
                <a:cubicBezTo>
                  <a:pt x="106373" y="34977"/>
                  <a:pt x="106813" y="34439"/>
                  <a:pt x="107692" y="33901"/>
                </a:cubicBezTo>
                <a:cubicBezTo>
                  <a:pt x="108131" y="33901"/>
                  <a:pt x="111648" y="33363"/>
                  <a:pt x="111648" y="33363"/>
                </a:cubicBezTo>
                <a:cubicBezTo>
                  <a:pt x="114285" y="34977"/>
                  <a:pt x="114285" y="34977"/>
                  <a:pt x="114285" y="34977"/>
                </a:cubicBezTo>
                <a:cubicBezTo>
                  <a:pt x="116923" y="36053"/>
                  <a:pt x="116923" y="36053"/>
                  <a:pt x="116923" y="36053"/>
                </a:cubicBezTo>
                <a:cubicBezTo>
                  <a:pt x="119120" y="38744"/>
                  <a:pt x="119120" y="38744"/>
                  <a:pt x="119120" y="38744"/>
                </a:cubicBezTo>
                <a:cubicBezTo>
                  <a:pt x="119999" y="40896"/>
                  <a:pt x="119999" y="40896"/>
                  <a:pt x="119999" y="40896"/>
                </a:cubicBezTo>
                <a:cubicBezTo>
                  <a:pt x="119999" y="40896"/>
                  <a:pt x="117362" y="38206"/>
                  <a:pt x="116923" y="38206"/>
                </a:cubicBezTo>
                <a:cubicBezTo>
                  <a:pt x="116483" y="38744"/>
                  <a:pt x="115604" y="38744"/>
                  <a:pt x="115164" y="38744"/>
                </a:cubicBezTo>
                <a:cubicBezTo>
                  <a:pt x="114285" y="39282"/>
                  <a:pt x="112087" y="39820"/>
                  <a:pt x="112087" y="39820"/>
                </a:cubicBezTo>
                <a:cubicBezTo>
                  <a:pt x="110769" y="40896"/>
                  <a:pt x="110769" y="40896"/>
                  <a:pt x="110769" y="40896"/>
                </a:cubicBezTo>
                <a:cubicBezTo>
                  <a:pt x="109010" y="40896"/>
                  <a:pt x="109010" y="40896"/>
                  <a:pt x="109010" y="40896"/>
                </a:cubicBezTo>
                <a:cubicBezTo>
                  <a:pt x="107692" y="43587"/>
                  <a:pt x="107692" y="43587"/>
                  <a:pt x="107692" y="43587"/>
                </a:cubicBezTo>
                <a:cubicBezTo>
                  <a:pt x="105494" y="45739"/>
                  <a:pt x="105494" y="45739"/>
                  <a:pt x="105494" y="45739"/>
                </a:cubicBezTo>
                <a:cubicBezTo>
                  <a:pt x="102857" y="48430"/>
                  <a:pt x="102857" y="48430"/>
                  <a:pt x="102857" y="48430"/>
                </a:cubicBezTo>
                <a:cubicBezTo>
                  <a:pt x="101538" y="52197"/>
                  <a:pt x="101538" y="52197"/>
                  <a:pt x="101538" y="52197"/>
                </a:cubicBezTo>
                <a:cubicBezTo>
                  <a:pt x="101538" y="52197"/>
                  <a:pt x="103296" y="53811"/>
                  <a:pt x="102857" y="53811"/>
                </a:cubicBezTo>
                <a:cubicBezTo>
                  <a:pt x="102417" y="54349"/>
                  <a:pt x="101538" y="55426"/>
                  <a:pt x="101538" y="55426"/>
                </a:cubicBezTo>
                <a:cubicBezTo>
                  <a:pt x="102417" y="57040"/>
                  <a:pt x="102417" y="57040"/>
                  <a:pt x="102417" y="57040"/>
                </a:cubicBezTo>
                <a:cubicBezTo>
                  <a:pt x="101978" y="59192"/>
                  <a:pt x="101978" y="59192"/>
                  <a:pt x="101978" y="59192"/>
                </a:cubicBezTo>
                <a:cubicBezTo>
                  <a:pt x="103736" y="61345"/>
                  <a:pt x="103736" y="61345"/>
                  <a:pt x="103736" y="61345"/>
                </a:cubicBezTo>
                <a:cubicBezTo>
                  <a:pt x="103296" y="62959"/>
                  <a:pt x="103296" y="62959"/>
                  <a:pt x="103296" y="62959"/>
                </a:cubicBezTo>
                <a:cubicBezTo>
                  <a:pt x="103736" y="65112"/>
                  <a:pt x="103736" y="65112"/>
                  <a:pt x="103736" y="65112"/>
                </a:cubicBezTo>
                <a:cubicBezTo>
                  <a:pt x="103736" y="65112"/>
                  <a:pt x="105494" y="65112"/>
                  <a:pt x="103736" y="67264"/>
                </a:cubicBezTo>
                <a:cubicBezTo>
                  <a:pt x="102417" y="68878"/>
                  <a:pt x="101978" y="69417"/>
                  <a:pt x="101978" y="69955"/>
                </a:cubicBezTo>
                <a:cubicBezTo>
                  <a:pt x="102417" y="71031"/>
                  <a:pt x="102857" y="73183"/>
                  <a:pt x="102857" y="73183"/>
                </a:cubicBezTo>
                <a:cubicBezTo>
                  <a:pt x="102857" y="73183"/>
                  <a:pt x="102417" y="74798"/>
                  <a:pt x="103296" y="75874"/>
                </a:cubicBezTo>
                <a:cubicBezTo>
                  <a:pt x="103736" y="76412"/>
                  <a:pt x="105934" y="77488"/>
                  <a:pt x="105934" y="77488"/>
                </a:cubicBezTo>
                <a:cubicBezTo>
                  <a:pt x="105934" y="77488"/>
                  <a:pt x="106813" y="79103"/>
                  <a:pt x="106813" y="79641"/>
                </a:cubicBezTo>
                <a:cubicBezTo>
                  <a:pt x="106373" y="80179"/>
                  <a:pt x="103736" y="80717"/>
                  <a:pt x="103736" y="80717"/>
                </a:cubicBezTo>
                <a:cubicBezTo>
                  <a:pt x="103736" y="80717"/>
                  <a:pt x="103736" y="82331"/>
                  <a:pt x="103736" y="82869"/>
                </a:cubicBezTo>
                <a:cubicBezTo>
                  <a:pt x="103736" y="83408"/>
                  <a:pt x="104175" y="86098"/>
                  <a:pt x="104175" y="86098"/>
                </a:cubicBezTo>
                <a:cubicBezTo>
                  <a:pt x="105054" y="89327"/>
                  <a:pt x="105054" y="89327"/>
                  <a:pt x="105054" y="89327"/>
                </a:cubicBezTo>
                <a:cubicBezTo>
                  <a:pt x="105054" y="89327"/>
                  <a:pt x="105054" y="91479"/>
                  <a:pt x="104175" y="92556"/>
                </a:cubicBezTo>
                <a:cubicBezTo>
                  <a:pt x="102857" y="93632"/>
                  <a:pt x="102417" y="94170"/>
                  <a:pt x="101538" y="93094"/>
                </a:cubicBezTo>
                <a:cubicBezTo>
                  <a:pt x="103296" y="90941"/>
                  <a:pt x="103296" y="90941"/>
                  <a:pt x="103296" y="90941"/>
                </a:cubicBezTo>
                <a:cubicBezTo>
                  <a:pt x="102857" y="88789"/>
                  <a:pt x="102857" y="88789"/>
                  <a:pt x="102857" y="88789"/>
                </a:cubicBezTo>
                <a:cubicBezTo>
                  <a:pt x="101538" y="89327"/>
                  <a:pt x="101538" y="89327"/>
                  <a:pt x="101538" y="89327"/>
                </a:cubicBezTo>
                <a:cubicBezTo>
                  <a:pt x="100659" y="86636"/>
                  <a:pt x="100659" y="86636"/>
                  <a:pt x="100659" y="86636"/>
                </a:cubicBezTo>
                <a:cubicBezTo>
                  <a:pt x="98901" y="87174"/>
                  <a:pt x="98901" y="87174"/>
                  <a:pt x="98901" y="87174"/>
                </a:cubicBezTo>
                <a:cubicBezTo>
                  <a:pt x="98021" y="90403"/>
                  <a:pt x="98021" y="90403"/>
                  <a:pt x="98021" y="90403"/>
                </a:cubicBezTo>
                <a:cubicBezTo>
                  <a:pt x="98901" y="93632"/>
                  <a:pt x="98901" y="93632"/>
                  <a:pt x="98901" y="93632"/>
                </a:cubicBezTo>
                <a:cubicBezTo>
                  <a:pt x="99340" y="95246"/>
                  <a:pt x="99340" y="95246"/>
                  <a:pt x="99340" y="95246"/>
                </a:cubicBezTo>
                <a:cubicBezTo>
                  <a:pt x="99340" y="95246"/>
                  <a:pt x="98461" y="95246"/>
                  <a:pt x="98021" y="95784"/>
                </a:cubicBezTo>
                <a:cubicBezTo>
                  <a:pt x="98021" y="95784"/>
                  <a:pt x="97142" y="96322"/>
                  <a:pt x="97582" y="96860"/>
                </a:cubicBezTo>
                <a:cubicBezTo>
                  <a:pt x="98021" y="97399"/>
                  <a:pt x="98461" y="98475"/>
                  <a:pt x="98461" y="98475"/>
                </a:cubicBezTo>
                <a:cubicBezTo>
                  <a:pt x="98461" y="99013"/>
                  <a:pt x="98901" y="101165"/>
                  <a:pt x="98901" y="101165"/>
                </a:cubicBezTo>
                <a:cubicBezTo>
                  <a:pt x="99780" y="103318"/>
                  <a:pt x="99780" y="103318"/>
                  <a:pt x="99780" y="103318"/>
                </a:cubicBezTo>
                <a:cubicBezTo>
                  <a:pt x="99780" y="103318"/>
                  <a:pt x="101098" y="107623"/>
                  <a:pt x="101098" y="108161"/>
                </a:cubicBezTo>
                <a:cubicBezTo>
                  <a:pt x="101098" y="108161"/>
                  <a:pt x="101978" y="112466"/>
                  <a:pt x="101978" y="112466"/>
                </a:cubicBezTo>
                <a:cubicBezTo>
                  <a:pt x="101978" y="112466"/>
                  <a:pt x="99780" y="115156"/>
                  <a:pt x="99340" y="115695"/>
                </a:cubicBezTo>
                <a:cubicBezTo>
                  <a:pt x="98461" y="116233"/>
                  <a:pt x="98461" y="117309"/>
                  <a:pt x="98021" y="116771"/>
                </a:cubicBezTo>
                <a:cubicBezTo>
                  <a:pt x="97582" y="116233"/>
                  <a:pt x="96703" y="115156"/>
                  <a:pt x="95824" y="114618"/>
                </a:cubicBezTo>
                <a:cubicBezTo>
                  <a:pt x="95384" y="114080"/>
                  <a:pt x="93186" y="111928"/>
                  <a:pt x="92747" y="111390"/>
                </a:cubicBezTo>
                <a:cubicBezTo>
                  <a:pt x="92307" y="110852"/>
                  <a:pt x="91428" y="110313"/>
                  <a:pt x="91428" y="110313"/>
                </a:cubicBezTo>
                <a:cubicBezTo>
                  <a:pt x="91428" y="110313"/>
                  <a:pt x="90989" y="111390"/>
                  <a:pt x="90549" y="111390"/>
                </a:cubicBezTo>
                <a:cubicBezTo>
                  <a:pt x="90109" y="111390"/>
                  <a:pt x="89230" y="110852"/>
                  <a:pt x="89230" y="110852"/>
                </a:cubicBezTo>
                <a:cubicBezTo>
                  <a:pt x="88791" y="110852"/>
                  <a:pt x="87912" y="110313"/>
                  <a:pt x="87472" y="109775"/>
                </a:cubicBezTo>
                <a:cubicBezTo>
                  <a:pt x="86593" y="108699"/>
                  <a:pt x="86153" y="107623"/>
                  <a:pt x="85714" y="107623"/>
                </a:cubicBezTo>
                <a:cubicBezTo>
                  <a:pt x="85714" y="107623"/>
                  <a:pt x="85714" y="107085"/>
                  <a:pt x="83956" y="107085"/>
                </a:cubicBezTo>
                <a:cubicBezTo>
                  <a:pt x="82197" y="107623"/>
                  <a:pt x="78681" y="107623"/>
                  <a:pt x="80879" y="104394"/>
                </a:cubicBezTo>
                <a:cubicBezTo>
                  <a:pt x="81318" y="103318"/>
                  <a:pt x="80439" y="101704"/>
                  <a:pt x="83076" y="100089"/>
                </a:cubicBezTo>
                <a:cubicBezTo>
                  <a:pt x="83076" y="100089"/>
                  <a:pt x="85274" y="99013"/>
                  <a:pt x="85714" y="97937"/>
                </a:cubicBezTo>
                <a:cubicBezTo>
                  <a:pt x="86593" y="96860"/>
                  <a:pt x="84835" y="95246"/>
                  <a:pt x="84835" y="95246"/>
                </a:cubicBezTo>
                <a:cubicBezTo>
                  <a:pt x="84395" y="95246"/>
                  <a:pt x="83956" y="95246"/>
                  <a:pt x="83076" y="94708"/>
                </a:cubicBezTo>
                <a:cubicBezTo>
                  <a:pt x="82637" y="94708"/>
                  <a:pt x="80439" y="93094"/>
                  <a:pt x="80439" y="92556"/>
                </a:cubicBezTo>
                <a:cubicBezTo>
                  <a:pt x="80000" y="91479"/>
                  <a:pt x="80000" y="90941"/>
                  <a:pt x="80439" y="88789"/>
                </a:cubicBezTo>
                <a:cubicBezTo>
                  <a:pt x="80879" y="86636"/>
                  <a:pt x="81318" y="87713"/>
                  <a:pt x="82197" y="86636"/>
                </a:cubicBezTo>
                <a:cubicBezTo>
                  <a:pt x="83516" y="85022"/>
                  <a:pt x="84395" y="83946"/>
                  <a:pt x="83076" y="82869"/>
                </a:cubicBezTo>
                <a:cubicBezTo>
                  <a:pt x="81758" y="82331"/>
                  <a:pt x="81318" y="82869"/>
                  <a:pt x="78681" y="80717"/>
                </a:cubicBezTo>
                <a:cubicBezTo>
                  <a:pt x="76043" y="78565"/>
                  <a:pt x="75164" y="77488"/>
                  <a:pt x="74725" y="77488"/>
                </a:cubicBezTo>
                <a:cubicBezTo>
                  <a:pt x="74285" y="76950"/>
                  <a:pt x="73846" y="76412"/>
                  <a:pt x="72967" y="76950"/>
                </a:cubicBezTo>
                <a:cubicBezTo>
                  <a:pt x="72527" y="77488"/>
                  <a:pt x="70329" y="80179"/>
                  <a:pt x="69890" y="80717"/>
                </a:cubicBezTo>
                <a:cubicBezTo>
                  <a:pt x="69450" y="81255"/>
                  <a:pt x="66813" y="83946"/>
                  <a:pt x="66813" y="83946"/>
                </a:cubicBezTo>
                <a:cubicBezTo>
                  <a:pt x="66373" y="84484"/>
                  <a:pt x="61978" y="88251"/>
                  <a:pt x="61978" y="88251"/>
                </a:cubicBezTo>
                <a:cubicBezTo>
                  <a:pt x="61978" y="88251"/>
                  <a:pt x="60659" y="92556"/>
                  <a:pt x="59780" y="94170"/>
                </a:cubicBezTo>
                <a:cubicBezTo>
                  <a:pt x="59340" y="95784"/>
                  <a:pt x="56703" y="97937"/>
                  <a:pt x="56703" y="99013"/>
                </a:cubicBezTo>
                <a:cubicBezTo>
                  <a:pt x="56703" y="99551"/>
                  <a:pt x="56703" y="101165"/>
                  <a:pt x="56263" y="101704"/>
                </a:cubicBezTo>
                <a:cubicBezTo>
                  <a:pt x="56263" y="101704"/>
                  <a:pt x="54945" y="103856"/>
                  <a:pt x="54065" y="103856"/>
                </a:cubicBezTo>
                <a:cubicBezTo>
                  <a:pt x="53626" y="104394"/>
                  <a:pt x="50989" y="104932"/>
                  <a:pt x="50989" y="106008"/>
                </a:cubicBezTo>
                <a:cubicBezTo>
                  <a:pt x="50989" y="107085"/>
                  <a:pt x="52307" y="107085"/>
                  <a:pt x="50989" y="109237"/>
                </a:cubicBezTo>
                <a:cubicBezTo>
                  <a:pt x="49670" y="110852"/>
                  <a:pt x="48351" y="118385"/>
                  <a:pt x="47032" y="111928"/>
                </a:cubicBezTo>
                <a:cubicBezTo>
                  <a:pt x="46153" y="107623"/>
                  <a:pt x="46153" y="107085"/>
                  <a:pt x="45274" y="106547"/>
                </a:cubicBezTo>
                <a:cubicBezTo>
                  <a:pt x="43956" y="105470"/>
                  <a:pt x="43076" y="104932"/>
                  <a:pt x="43076" y="104932"/>
                </a:cubicBezTo>
                <a:cubicBezTo>
                  <a:pt x="43076" y="104932"/>
                  <a:pt x="42197" y="103318"/>
                  <a:pt x="43956" y="102780"/>
                </a:cubicBezTo>
                <a:cubicBezTo>
                  <a:pt x="45714" y="102780"/>
                  <a:pt x="46153" y="103856"/>
                  <a:pt x="47032" y="102780"/>
                </a:cubicBezTo>
                <a:cubicBezTo>
                  <a:pt x="48351" y="101704"/>
                  <a:pt x="48791" y="101165"/>
                  <a:pt x="47032" y="100627"/>
                </a:cubicBezTo>
                <a:cubicBezTo>
                  <a:pt x="45274" y="100089"/>
                  <a:pt x="46153" y="101165"/>
                  <a:pt x="44395" y="100089"/>
                </a:cubicBezTo>
                <a:cubicBezTo>
                  <a:pt x="43076" y="98475"/>
                  <a:pt x="42637" y="98475"/>
                  <a:pt x="42197" y="97937"/>
                </a:cubicBezTo>
                <a:cubicBezTo>
                  <a:pt x="42197" y="97399"/>
                  <a:pt x="42197" y="97399"/>
                  <a:pt x="42637" y="96860"/>
                </a:cubicBezTo>
                <a:cubicBezTo>
                  <a:pt x="43516" y="95246"/>
                  <a:pt x="43516" y="95246"/>
                  <a:pt x="43516" y="95246"/>
                </a:cubicBezTo>
                <a:cubicBezTo>
                  <a:pt x="43516" y="95246"/>
                  <a:pt x="43516" y="95246"/>
                  <a:pt x="43076" y="95246"/>
                </a:cubicBezTo>
                <a:cubicBezTo>
                  <a:pt x="43076" y="94170"/>
                  <a:pt x="43956" y="93094"/>
                  <a:pt x="43956" y="92017"/>
                </a:cubicBezTo>
                <a:cubicBezTo>
                  <a:pt x="43956" y="91479"/>
                  <a:pt x="43516" y="90941"/>
                  <a:pt x="43076" y="90941"/>
                </a:cubicBezTo>
                <a:cubicBezTo>
                  <a:pt x="42637" y="90941"/>
                  <a:pt x="43076" y="90941"/>
                  <a:pt x="42197" y="90941"/>
                </a:cubicBezTo>
                <a:cubicBezTo>
                  <a:pt x="42197" y="90403"/>
                  <a:pt x="41758" y="90403"/>
                  <a:pt x="41758" y="89865"/>
                </a:cubicBezTo>
                <a:cubicBezTo>
                  <a:pt x="41318" y="89327"/>
                  <a:pt x="41318" y="89327"/>
                  <a:pt x="41318" y="89327"/>
                </a:cubicBezTo>
                <a:cubicBezTo>
                  <a:pt x="39560" y="89327"/>
                  <a:pt x="39560" y="89327"/>
                  <a:pt x="39560" y="89327"/>
                </a:cubicBezTo>
                <a:cubicBezTo>
                  <a:pt x="39120" y="87174"/>
                  <a:pt x="39120" y="87174"/>
                  <a:pt x="39120" y="87174"/>
                </a:cubicBezTo>
                <a:cubicBezTo>
                  <a:pt x="39120" y="87174"/>
                  <a:pt x="40439" y="87713"/>
                  <a:pt x="40879" y="87713"/>
                </a:cubicBezTo>
                <a:cubicBezTo>
                  <a:pt x="41318" y="87713"/>
                  <a:pt x="43076" y="86098"/>
                  <a:pt x="43076" y="86098"/>
                </a:cubicBezTo>
                <a:cubicBezTo>
                  <a:pt x="43076" y="86098"/>
                  <a:pt x="42197" y="85560"/>
                  <a:pt x="41758" y="85560"/>
                </a:cubicBezTo>
                <a:cubicBezTo>
                  <a:pt x="41318" y="85560"/>
                  <a:pt x="41318" y="83946"/>
                  <a:pt x="41318" y="83946"/>
                </a:cubicBezTo>
                <a:cubicBezTo>
                  <a:pt x="40000" y="82869"/>
                  <a:pt x="40000" y="82869"/>
                  <a:pt x="40000" y="82869"/>
                </a:cubicBezTo>
                <a:cubicBezTo>
                  <a:pt x="38241" y="82331"/>
                  <a:pt x="38241" y="82331"/>
                  <a:pt x="38241" y="82331"/>
                </a:cubicBezTo>
                <a:cubicBezTo>
                  <a:pt x="38241" y="82331"/>
                  <a:pt x="37802" y="81793"/>
                  <a:pt x="37362" y="81793"/>
                </a:cubicBezTo>
                <a:cubicBezTo>
                  <a:pt x="37362" y="81255"/>
                  <a:pt x="37362" y="80717"/>
                  <a:pt x="37362" y="80717"/>
                </a:cubicBezTo>
                <a:cubicBezTo>
                  <a:pt x="37802" y="80179"/>
                  <a:pt x="37802" y="80179"/>
                  <a:pt x="37802" y="80179"/>
                </a:cubicBezTo>
                <a:cubicBezTo>
                  <a:pt x="39120" y="79103"/>
                  <a:pt x="39120" y="79103"/>
                  <a:pt x="39120" y="79103"/>
                </a:cubicBezTo>
                <a:cubicBezTo>
                  <a:pt x="39120" y="77488"/>
                  <a:pt x="39120" y="77488"/>
                  <a:pt x="39120" y="77488"/>
                </a:cubicBezTo>
                <a:cubicBezTo>
                  <a:pt x="39120" y="75874"/>
                  <a:pt x="39120" y="75874"/>
                  <a:pt x="39120" y="75874"/>
                </a:cubicBezTo>
                <a:cubicBezTo>
                  <a:pt x="38241" y="75874"/>
                  <a:pt x="38241" y="75874"/>
                  <a:pt x="38241" y="75874"/>
                </a:cubicBezTo>
                <a:cubicBezTo>
                  <a:pt x="38241" y="75874"/>
                  <a:pt x="36483" y="76950"/>
                  <a:pt x="35604" y="75874"/>
                </a:cubicBezTo>
                <a:cubicBezTo>
                  <a:pt x="34725" y="75336"/>
                  <a:pt x="35164" y="75874"/>
                  <a:pt x="34285" y="76412"/>
                </a:cubicBezTo>
                <a:cubicBezTo>
                  <a:pt x="33846" y="76412"/>
                  <a:pt x="32967" y="77488"/>
                  <a:pt x="32967" y="77488"/>
                </a:cubicBezTo>
                <a:cubicBezTo>
                  <a:pt x="32967" y="77488"/>
                  <a:pt x="32527" y="78026"/>
                  <a:pt x="31648" y="78026"/>
                </a:cubicBezTo>
                <a:cubicBezTo>
                  <a:pt x="31208" y="78026"/>
                  <a:pt x="31208" y="76412"/>
                  <a:pt x="31208" y="76412"/>
                </a:cubicBezTo>
                <a:cubicBezTo>
                  <a:pt x="29010" y="75874"/>
                  <a:pt x="29010" y="75874"/>
                  <a:pt x="29010" y="75874"/>
                </a:cubicBezTo>
                <a:cubicBezTo>
                  <a:pt x="27252" y="73721"/>
                  <a:pt x="27252" y="73721"/>
                  <a:pt x="27252" y="73721"/>
                </a:cubicBezTo>
                <a:cubicBezTo>
                  <a:pt x="24615" y="73721"/>
                  <a:pt x="24615" y="73721"/>
                  <a:pt x="24615" y="73721"/>
                </a:cubicBezTo>
                <a:cubicBezTo>
                  <a:pt x="23736" y="73183"/>
                  <a:pt x="23736" y="73183"/>
                  <a:pt x="23736" y="73183"/>
                </a:cubicBezTo>
                <a:cubicBezTo>
                  <a:pt x="22857" y="72107"/>
                  <a:pt x="22857" y="72107"/>
                  <a:pt x="22857" y="72107"/>
                </a:cubicBezTo>
                <a:cubicBezTo>
                  <a:pt x="22857" y="72107"/>
                  <a:pt x="22417" y="71031"/>
                  <a:pt x="21978" y="71031"/>
                </a:cubicBezTo>
                <a:cubicBezTo>
                  <a:pt x="21098" y="70493"/>
                  <a:pt x="21098" y="71031"/>
                  <a:pt x="20659" y="71031"/>
                </a:cubicBezTo>
                <a:cubicBezTo>
                  <a:pt x="20219" y="71031"/>
                  <a:pt x="20219" y="71031"/>
                  <a:pt x="18901" y="71031"/>
                </a:cubicBezTo>
                <a:cubicBezTo>
                  <a:pt x="18021" y="71031"/>
                  <a:pt x="18021" y="69955"/>
                  <a:pt x="18021" y="69955"/>
                </a:cubicBezTo>
                <a:cubicBezTo>
                  <a:pt x="18021" y="69955"/>
                  <a:pt x="18461" y="68878"/>
                  <a:pt x="18461" y="68340"/>
                </a:cubicBezTo>
                <a:cubicBezTo>
                  <a:pt x="18461" y="68340"/>
                  <a:pt x="19340" y="68340"/>
                  <a:pt x="19340" y="68340"/>
                </a:cubicBezTo>
                <a:cubicBezTo>
                  <a:pt x="19780" y="67802"/>
                  <a:pt x="21098" y="67264"/>
                  <a:pt x="21978" y="67264"/>
                </a:cubicBezTo>
                <a:cubicBezTo>
                  <a:pt x="22417" y="67264"/>
                  <a:pt x="22417" y="67264"/>
                  <a:pt x="23296" y="66726"/>
                </a:cubicBezTo>
                <a:cubicBezTo>
                  <a:pt x="23736" y="66726"/>
                  <a:pt x="23736" y="66188"/>
                  <a:pt x="23736" y="66188"/>
                </a:cubicBezTo>
                <a:cubicBezTo>
                  <a:pt x="23736" y="66188"/>
                  <a:pt x="23736" y="64035"/>
                  <a:pt x="23736" y="64035"/>
                </a:cubicBezTo>
                <a:cubicBezTo>
                  <a:pt x="23736" y="63497"/>
                  <a:pt x="23736" y="63497"/>
                  <a:pt x="24175" y="63497"/>
                </a:cubicBezTo>
                <a:cubicBezTo>
                  <a:pt x="24175" y="62959"/>
                  <a:pt x="24175" y="62421"/>
                  <a:pt x="24175" y="62421"/>
                </a:cubicBezTo>
                <a:cubicBezTo>
                  <a:pt x="24175" y="62421"/>
                  <a:pt x="23736" y="61345"/>
                  <a:pt x="23736" y="60807"/>
                </a:cubicBezTo>
                <a:cubicBezTo>
                  <a:pt x="23296" y="59730"/>
                  <a:pt x="22857" y="60269"/>
                  <a:pt x="22857" y="60269"/>
                </a:cubicBezTo>
                <a:cubicBezTo>
                  <a:pt x="21978" y="60269"/>
                  <a:pt x="21978" y="60269"/>
                  <a:pt x="21978" y="60269"/>
                </a:cubicBezTo>
                <a:cubicBezTo>
                  <a:pt x="21978" y="60269"/>
                  <a:pt x="20659" y="60269"/>
                  <a:pt x="20659" y="59730"/>
                </a:cubicBezTo>
                <a:cubicBezTo>
                  <a:pt x="20219" y="59730"/>
                  <a:pt x="19340" y="59730"/>
                  <a:pt x="19340" y="59730"/>
                </a:cubicBezTo>
                <a:cubicBezTo>
                  <a:pt x="18021" y="58116"/>
                  <a:pt x="18021" y="58116"/>
                  <a:pt x="18021" y="58116"/>
                </a:cubicBezTo>
                <a:cubicBezTo>
                  <a:pt x="18021" y="58116"/>
                  <a:pt x="17142" y="58116"/>
                  <a:pt x="16263" y="58116"/>
                </a:cubicBezTo>
                <a:cubicBezTo>
                  <a:pt x="15384" y="57578"/>
                  <a:pt x="14505" y="57040"/>
                  <a:pt x="14505" y="57040"/>
                </a:cubicBezTo>
                <a:cubicBezTo>
                  <a:pt x="11868" y="54887"/>
                  <a:pt x="11868" y="54887"/>
                  <a:pt x="11868" y="54887"/>
                </a:cubicBezTo>
                <a:cubicBezTo>
                  <a:pt x="11428" y="53811"/>
                  <a:pt x="11428" y="53811"/>
                  <a:pt x="11428" y="53811"/>
                </a:cubicBezTo>
                <a:cubicBezTo>
                  <a:pt x="10549" y="53273"/>
                  <a:pt x="10549" y="53273"/>
                  <a:pt x="10549" y="53273"/>
                </a:cubicBezTo>
                <a:cubicBezTo>
                  <a:pt x="10549" y="53273"/>
                  <a:pt x="9230" y="51121"/>
                  <a:pt x="9230" y="50582"/>
                </a:cubicBezTo>
                <a:cubicBezTo>
                  <a:pt x="9230" y="50582"/>
                  <a:pt x="9230" y="50582"/>
                  <a:pt x="9670" y="50044"/>
                </a:cubicBezTo>
                <a:cubicBezTo>
                  <a:pt x="9670" y="50044"/>
                  <a:pt x="9670" y="49506"/>
                  <a:pt x="10109" y="48968"/>
                </a:cubicBezTo>
                <a:cubicBezTo>
                  <a:pt x="10109" y="48430"/>
                  <a:pt x="10549" y="47892"/>
                  <a:pt x="10549" y="47354"/>
                </a:cubicBezTo>
                <a:cubicBezTo>
                  <a:pt x="10549" y="47354"/>
                  <a:pt x="10989" y="46816"/>
                  <a:pt x="11428" y="46816"/>
                </a:cubicBezTo>
                <a:cubicBezTo>
                  <a:pt x="11868" y="46816"/>
                  <a:pt x="12307" y="46278"/>
                  <a:pt x="12307" y="46278"/>
                </a:cubicBezTo>
                <a:cubicBezTo>
                  <a:pt x="12307" y="45739"/>
                  <a:pt x="12307" y="45201"/>
                  <a:pt x="12747" y="44663"/>
                </a:cubicBezTo>
                <a:cubicBezTo>
                  <a:pt x="12747" y="44125"/>
                  <a:pt x="11868" y="44663"/>
                  <a:pt x="11428" y="44125"/>
                </a:cubicBezTo>
                <a:cubicBezTo>
                  <a:pt x="10989" y="44125"/>
                  <a:pt x="10989" y="44125"/>
                  <a:pt x="10549" y="44663"/>
                </a:cubicBezTo>
                <a:cubicBezTo>
                  <a:pt x="10109" y="44663"/>
                  <a:pt x="9670" y="43587"/>
                  <a:pt x="9670" y="43587"/>
                </a:cubicBezTo>
                <a:cubicBezTo>
                  <a:pt x="9670" y="43049"/>
                  <a:pt x="8791" y="43049"/>
                  <a:pt x="8351" y="42511"/>
                </a:cubicBezTo>
                <a:cubicBezTo>
                  <a:pt x="7912" y="42511"/>
                  <a:pt x="7912" y="42511"/>
                  <a:pt x="7912" y="41973"/>
                </a:cubicBezTo>
                <a:cubicBezTo>
                  <a:pt x="7472" y="41434"/>
                  <a:pt x="7912" y="41434"/>
                  <a:pt x="7472" y="41434"/>
                </a:cubicBezTo>
                <a:cubicBezTo>
                  <a:pt x="7472" y="40896"/>
                  <a:pt x="7032" y="40896"/>
                  <a:pt x="7032" y="40896"/>
                </a:cubicBezTo>
                <a:cubicBezTo>
                  <a:pt x="7032" y="40896"/>
                  <a:pt x="6593" y="41973"/>
                  <a:pt x="6153" y="41973"/>
                </a:cubicBezTo>
                <a:cubicBezTo>
                  <a:pt x="5714" y="41973"/>
                  <a:pt x="5274" y="41434"/>
                  <a:pt x="5274" y="41434"/>
                </a:cubicBezTo>
                <a:cubicBezTo>
                  <a:pt x="4835" y="41434"/>
                  <a:pt x="4395" y="41434"/>
                  <a:pt x="3956" y="41973"/>
                </a:cubicBezTo>
                <a:cubicBezTo>
                  <a:pt x="3956" y="41973"/>
                  <a:pt x="3076" y="41434"/>
                  <a:pt x="3076" y="41434"/>
                </a:cubicBezTo>
                <a:cubicBezTo>
                  <a:pt x="3076" y="40896"/>
                  <a:pt x="1758" y="40896"/>
                  <a:pt x="1758" y="40896"/>
                </a:cubicBezTo>
                <a:cubicBezTo>
                  <a:pt x="1758" y="40896"/>
                  <a:pt x="1758" y="41434"/>
                  <a:pt x="1318" y="41434"/>
                </a:cubicBezTo>
                <a:cubicBezTo>
                  <a:pt x="879" y="41973"/>
                  <a:pt x="439" y="41434"/>
                  <a:pt x="439" y="41434"/>
                </a:cubicBezTo>
                <a:cubicBezTo>
                  <a:pt x="0" y="41434"/>
                  <a:pt x="0" y="40896"/>
                  <a:pt x="0" y="40358"/>
                </a:cubicBezTo>
                <a:close/>
                <a:moveTo>
                  <a:pt x="4395" y="97937"/>
                </a:moveTo>
                <a:cubicBezTo>
                  <a:pt x="4395" y="97937"/>
                  <a:pt x="4395" y="97937"/>
                  <a:pt x="4395" y="97937"/>
                </a:cubicBezTo>
                <a:cubicBezTo>
                  <a:pt x="4395" y="99551"/>
                  <a:pt x="4395" y="99551"/>
                  <a:pt x="4395" y="99551"/>
                </a:cubicBezTo>
                <a:cubicBezTo>
                  <a:pt x="7032" y="100627"/>
                  <a:pt x="7032" y="100627"/>
                  <a:pt x="7032" y="100627"/>
                </a:cubicBezTo>
                <a:cubicBezTo>
                  <a:pt x="8791" y="102242"/>
                  <a:pt x="8791" y="102242"/>
                  <a:pt x="8791" y="102242"/>
                </a:cubicBezTo>
                <a:cubicBezTo>
                  <a:pt x="8791" y="102242"/>
                  <a:pt x="9670" y="104932"/>
                  <a:pt x="9670" y="105470"/>
                </a:cubicBezTo>
                <a:cubicBezTo>
                  <a:pt x="9670" y="106547"/>
                  <a:pt x="10989" y="106547"/>
                  <a:pt x="11428" y="106547"/>
                </a:cubicBezTo>
                <a:cubicBezTo>
                  <a:pt x="11428" y="106547"/>
                  <a:pt x="13186" y="107085"/>
                  <a:pt x="13186" y="107085"/>
                </a:cubicBezTo>
                <a:cubicBezTo>
                  <a:pt x="13186" y="107085"/>
                  <a:pt x="14065" y="108161"/>
                  <a:pt x="14505" y="108699"/>
                </a:cubicBezTo>
                <a:cubicBezTo>
                  <a:pt x="14505" y="109237"/>
                  <a:pt x="14505" y="110313"/>
                  <a:pt x="14505" y="110313"/>
                </a:cubicBezTo>
                <a:cubicBezTo>
                  <a:pt x="16263" y="112466"/>
                  <a:pt x="16263" y="112466"/>
                  <a:pt x="16263" y="112466"/>
                </a:cubicBezTo>
                <a:cubicBezTo>
                  <a:pt x="19340" y="112466"/>
                  <a:pt x="19340" y="112466"/>
                  <a:pt x="19340" y="112466"/>
                </a:cubicBezTo>
                <a:cubicBezTo>
                  <a:pt x="19340" y="112466"/>
                  <a:pt x="22417" y="115695"/>
                  <a:pt x="22857" y="116233"/>
                </a:cubicBezTo>
                <a:cubicBezTo>
                  <a:pt x="22857" y="116771"/>
                  <a:pt x="24615" y="118923"/>
                  <a:pt x="24615" y="118923"/>
                </a:cubicBezTo>
                <a:cubicBezTo>
                  <a:pt x="24615" y="118923"/>
                  <a:pt x="27692" y="118923"/>
                  <a:pt x="28131" y="118923"/>
                </a:cubicBezTo>
                <a:cubicBezTo>
                  <a:pt x="28131" y="118923"/>
                  <a:pt x="31208" y="118923"/>
                  <a:pt x="31208" y="118923"/>
                </a:cubicBezTo>
                <a:cubicBezTo>
                  <a:pt x="33406" y="119999"/>
                  <a:pt x="33406" y="119999"/>
                  <a:pt x="33406" y="119999"/>
                </a:cubicBezTo>
                <a:cubicBezTo>
                  <a:pt x="35604" y="119461"/>
                  <a:pt x="35604" y="119461"/>
                  <a:pt x="35604" y="119461"/>
                </a:cubicBezTo>
                <a:cubicBezTo>
                  <a:pt x="40439" y="117847"/>
                  <a:pt x="40439" y="117847"/>
                  <a:pt x="40439" y="117847"/>
                </a:cubicBezTo>
                <a:cubicBezTo>
                  <a:pt x="40439" y="117847"/>
                  <a:pt x="39120" y="116771"/>
                  <a:pt x="39120" y="116771"/>
                </a:cubicBezTo>
                <a:cubicBezTo>
                  <a:pt x="39120" y="116233"/>
                  <a:pt x="37362" y="113542"/>
                  <a:pt x="37362" y="113542"/>
                </a:cubicBezTo>
                <a:cubicBezTo>
                  <a:pt x="37362" y="113542"/>
                  <a:pt x="34725" y="109775"/>
                  <a:pt x="34285" y="109775"/>
                </a:cubicBezTo>
                <a:cubicBezTo>
                  <a:pt x="34285" y="109237"/>
                  <a:pt x="33846" y="108699"/>
                  <a:pt x="33846" y="108161"/>
                </a:cubicBezTo>
                <a:cubicBezTo>
                  <a:pt x="33846" y="107085"/>
                  <a:pt x="34285" y="106547"/>
                  <a:pt x="34285" y="106008"/>
                </a:cubicBezTo>
                <a:cubicBezTo>
                  <a:pt x="34725" y="105470"/>
                  <a:pt x="34725" y="104394"/>
                  <a:pt x="34725" y="104394"/>
                </a:cubicBezTo>
                <a:cubicBezTo>
                  <a:pt x="34725" y="104394"/>
                  <a:pt x="33406" y="104394"/>
                  <a:pt x="32527" y="104394"/>
                </a:cubicBezTo>
                <a:cubicBezTo>
                  <a:pt x="32087" y="104394"/>
                  <a:pt x="31208" y="104932"/>
                  <a:pt x="30329" y="104932"/>
                </a:cubicBezTo>
                <a:cubicBezTo>
                  <a:pt x="29890" y="104932"/>
                  <a:pt x="29010" y="104394"/>
                  <a:pt x="29010" y="104394"/>
                </a:cubicBezTo>
                <a:cubicBezTo>
                  <a:pt x="28571" y="104394"/>
                  <a:pt x="28571" y="102780"/>
                  <a:pt x="28571" y="102780"/>
                </a:cubicBezTo>
                <a:cubicBezTo>
                  <a:pt x="29450" y="100627"/>
                  <a:pt x="29450" y="100627"/>
                  <a:pt x="29450" y="100627"/>
                </a:cubicBezTo>
                <a:cubicBezTo>
                  <a:pt x="28571" y="99013"/>
                  <a:pt x="28571" y="99013"/>
                  <a:pt x="28571" y="99013"/>
                </a:cubicBezTo>
                <a:cubicBezTo>
                  <a:pt x="26813" y="96860"/>
                  <a:pt x="26813" y="96860"/>
                  <a:pt x="26813" y="96860"/>
                </a:cubicBezTo>
                <a:cubicBezTo>
                  <a:pt x="26813" y="96860"/>
                  <a:pt x="23736" y="98475"/>
                  <a:pt x="23296" y="98475"/>
                </a:cubicBezTo>
                <a:cubicBezTo>
                  <a:pt x="22857" y="98475"/>
                  <a:pt x="21098" y="101165"/>
                  <a:pt x="20659" y="101165"/>
                </a:cubicBezTo>
                <a:cubicBezTo>
                  <a:pt x="20659" y="101165"/>
                  <a:pt x="19340" y="99551"/>
                  <a:pt x="19340" y="99551"/>
                </a:cubicBezTo>
                <a:cubicBezTo>
                  <a:pt x="15824" y="98475"/>
                  <a:pt x="15824" y="98475"/>
                  <a:pt x="15824" y="98475"/>
                </a:cubicBezTo>
                <a:cubicBezTo>
                  <a:pt x="15824" y="98475"/>
                  <a:pt x="15384" y="99551"/>
                  <a:pt x="14945" y="100089"/>
                </a:cubicBezTo>
                <a:cubicBezTo>
                  <a:pt x="14505" y="100627"/>
                  <a:pt x="14065" y="100089"/>
                  <a:pt x="14065" y="99551"/>
                </a:cubicBezTo>
                <a:cubicBezTo>
                  <a:pt x="13626" y="98475"/>
                  <a:pt x="14505" y="96860"/>
                  <a:pt x="14505" y="96860"/>
                </a:cubicBezTo>
                <a:cubicBezTo>
                  <a:pt x="11868" y="95246"/>
                  <a:pt x="11868" y="95246"/>
                  <a:pt x="11868" y="95246"/>
                </a:cubicBezTo>
                <a:cubicBezTo>
                  <a:pt x="10109" y="94170"/>
                  <a:pt x="10109" y="94170"/>
                  <a:pt x="10109" y="94170"/>
                </a:cubicBezTo>
                <a:cubicBezTo>
                  <a:pt x="7912" y="96860"/>
                  <a:pt x="7912" y="96860"/>
                  <a:pt x="7912" y="96860"/>
                </a:cubicBezTo>
                <a:cubicBezTo>
                  <a:pt x="7912" y="96860"/>
                  <a:pt x="4835" y="97399"/>
                  <a:pt x="4395" y="97937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3037;p256">
            <a:extLst>
              <a:ext uri="{FF2B5EF4-FFF2-40B4-BE49-F238E27FC236}">
                <a16:creationId xmlns:a16="http://schemas.microsoft.com/office/drawing/2014/main" id="{37509431-2A7E-99E4-40D2-470BC91B8930}"/>
              </a:ext>
            </a:extLst>
          </p:cNvPr>
          <p:cNvSpPr/>
          <p:nvPr/>
        </p:nvSpPr>
        <p:spPr>
          <a:xfrm>
            <a:off x="8568537" y="3960070"/>
            <a:ext cx="1020707" cy="50312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80430" y="20281"/>
                </a:moveTo>
                <a:cubicBezTo>
                  <a:pt x="80430" y="20281"/>
                  <a:pt x="80430" y="15211"/>
                  <a:pt x="80860" y="15211"/>
                </a:cubicBezTo>
                <a:cubicBezTo>
                  <a:pt x="81290" y="15211"/>
                  <a:pt x="82150" y="12676"/>
                  <a:pt x="82150" y="12676"/>
                </a:cubicBezTo>
                <a:cubicBezTo>
                  <a:pt x="83440" y="11830"/>
                  <a:pt x="83440" y="11830"/>
                  <a:pt x="83440" y="11830"/>
                </a:cubicBezTo>
                <a:cubicBezTo>
                  <a:pt x="83440" y="11830"/>
                  <a:pt x="84301" y="10140"/>
                  <a:pt x="84301" y="8450"/>
                </a:cubicBezTo>
                <a:cubicBezTo>
                  <a:pt x="83870" y="7605"/>
                  <a:pt x="84301" y="3380"/>
                  <a:pt x="84301" y="3380"/>
                </a:cubicBezTo>
                <a:cubicBezTo>
                  <a:pt x="84301" y="3380"/>
                  <a:pt x="83870" y="845"/>
                  <a:pt x="84301" y="845"/>
                </a:cubicBezTo>
                <a:cubicBezTo>
                  <a:pt x="85161" y="0"/>
                  <a:pt x="86451" y="1690"/>
                  <a:pt x="86451" y="1690"/>
                </a:cubicBezTo>
                <a:cubicBezTo>
                  <a:pt x="88602" y="2535"/>
                  <a:pt x="88602" y="2535"/>
                  <a:pt x="88602" y="2535"/>
                </a:cubicBezTo>
                <a:cubicBezTo>
                  <a:pt x="88602" y="2535"/>
                  <a:pt x="89462" y="2535"/>
                  <a:pt x="89892" y="2535"/>
                </a:cubicBezTo>
                <a:cubicBezTo>
                  <a:pt x="90322" y="2535"/>
                  <a:pt x="92043" y="3380"/>
                  <a:pt x="92043" y="3380"/>
                </a:cubicBezTo>
                <a:cubicBezTo>
                  <a:pt x="92043" y="3380"/>
                  <a:pt x="93763" y="4225"/>
                  <a:pt x="94193" y="4225"/>
                </a:cubicBezTo>
                <a:cubicBezTo>
                  <a:pt x="94623" y="4225"/>
                  <a:pt x="96344" y="4225"/>
                  <a:pt x="96344" y="4225"/>
                </a:cubicBezTo>
                <a:cubicBezTo>
                  <a:pt x="97204" y="5070"/>
                  <a:pt x="97204" y="5070"/>
                  <a:pt x="97204" y="5070"/>
                </a:cubicBezTo>
                <a:cubicBezTo>
                  <a:pt x="100215" y="7605"/>
                  <a:pt x="100215" y="7605"/>
                  <a:pt x="100215" y="7605"/>
                </a:cubicBezTo>
                <a:cubicBezTo>
                  <a:pt x="101935" y="9295"/>
                  <a:pt x="101935" y="9295"/>
                  <a:pt x="101935" y="9295"/>
                </a:cubicBezTo>
                <a:cubicBezTo>
                  <a:pt x="106666" y="10140"/>
                  <a:pt x="106666" y="10140"/>
                  <a:pt x="106666" y="10140"/>
                </a:cubicBezTo>
                <a:cubicBezTo>
                  <a:pt x="107096" y="6760"/>
                  <a:pt x="107096" y="6760"/>
                  <a:pt x="107096" y="6760"/>
                </a:cubicBezTo>
                <a:cubicBezTo>
                  <a:pt x="107096" y="6760"/>
                  <a:pt x="108817" y="5915"/>
                  <a:pt x="108817" y="6760"/>
                </a:cubicBezTo>
                <a:cubicBezTo>
                  <a:pt x="109247" y="6760"/>
                  <a:pt x="110107" y="8450"/>
                  <a:pt x="111397" y="9295"/>
                </a:cubicBezTo>
                <a:cubicBezTo>
                  <a:pt x="112688" y="9295"/>
                  <a:pt x="113978" y="8450"/>
                  <a:pt x="113978" y="8450"/>
                </a:cubicBezTo>
                <a:cubicBezTo>
                  <a:pt x="114838" y="13521"/>
                  <a:pt x="114838" y="13521"/>
                  <a:pt x="114838" y="13521"/>
                </a:cubicBezTo>
                <a:cubicBezTo>
                  <a:pt x="115698" y="14366"/>
                  <a:pt x="115698" y="14366"/>
                  <a:pt x="115698" y="14366"/>
                </a:cubicBezTo>
                <a:cubicBezTo>
                  <a:pt x="115268" y="14366"/>
                  <a:pt x="115268" y="14366"/>
                  <a:pt x="115268" y="14366"/>
                </a:cubicBezTo>
                <a:cubicBezTo>
                  <a:pt x="115268" y="16901"/>
                  <a:pt x="115268" y="16901"/>
                  <a:pt x="115268" y="16901"/>
                </a:cubicBezTo>
                <a:cubicBezTo>
                  <a:pt x="115698" y="17746"/>
                  <a:pt x="115698" y="17746"/>
                  <a:pt x="115698" y="17746"/>
                </a:cubicBezTo>
                <a:cubicBezTo>
                  <a:pt x="115698" y="17746"/>
                  <a:pt x="115268" y="19436"/>
                  <a:pt x="115268" y="19436"/>
                </a:cubicBezTo>
                <a:cubicBezTo>
                  <a:pt x="115268" y="19436"/>
                  <a:pt x="115268" y="21126"/>
                  <a:pt x="115268" y="21126"/>
                </a:cubicBezTo>
                <a:cubicBezTo>
                  <a:pt x="114408" y="22816"/>
                  <a:pt x="114408" y="22816"/>
                  <a:pt x="114408" y="22816"/>
                </a:cubicBezTo>
                <a:cubicBezTo>
                  <a:pt x="114408" y="24507"/>
                  <a:pt x="114408" y="24507"/>
                  <a:pt x="114408" y="24507"/>
                </a:cubicBezTo>
                <a:cubicBezTo>
                  <a:pt x="114408" y="24507"/>
                  <a:pt x="114408" y="27042"/>
                  <a:pt x="114408" y="27042"/>
                </a:cubicBezTo>
                <a:cubicBezTo>
                  <a:pt x="114408" y="27042"/>
                  <a:pt x="114838" y="27887"/>
                  <a:pt x="115268" y="27887"/>
                </a:cubicBezTo>
                <a:cubicBezTo>
                  <a:pt x="115268" y="27887"/>
                  <a:pt x="115268" y="28732"/>
                  <a:pt x="115268" y="28732"/>
                </a:cubicBezTo>
                <a:cubicBezTo>
                  <a:pt x="115268" y="28732"/>
                  <a:pt x="115698" y="29577"/>
                  <a:pt x="116129" y="30422"/>
                </a:cubicBezTo>
                <a:cubicBezTo>
                  <a:pt x="116129" y="30422"/>
                  <a:pt x="116129" y="30422"/>
                  <a:pt x="116129" y="30422"/>
                </a:cubicBezTo>
                <a:cubicBezTo>
                  <a:pt x="116129" y="30422"/>
                  <a:pt x="116559" y="32112"/>
                  <a:pt x="116559" y="32957"/>
                </a:cubicBezTo>
                <a:cubicBezTo>
                  <a:pt x="116989" y="33802"/>
                  <a:pt x="116989" y="34647"/>
                  <a:pt x="116989" y="34647"/>
                </a:cubicBezTo>
                <a:cubicBezTo>
                  <a:pt x="116989" y="34647"/>
                  <a:pt x="117419" y="36338"/>
                  <a:pt x="117849" y="36338"/>
                </a:cubicBezTo>
                <a:cubicBezTo>
                  <a:pt x="117849" y="36338"/>
                  <a:pt x="118279" y="36338"/>
                  <a:pt x="118709" y="36338"/>
                </a:cubicBezTo>
                <a:cubicBezTo>
                  <a:pt x="118709" y="36338"/>
                  <a:pt x="119139" y="36338"/>
                  <a:pt x="119139" y="36338"/>
                </a:cubicBezTo>
                <a:cubicBezTo>
                  <a:pt x="119139" y="37183"/>
                  <a:pt x="118709" y="42253"/>
                  <a:pt x="118709" y="42253"/>
                </a:cubicBezTo>
                <a:cubicBezTo>
                  <a:pt x="119139" y="47323"/>
                  <a:pt x="119139" y="47323"/>
                  <a:pt x="119139" y="47323"/>
                </a:cubicBezTo>
                <a:cubicBezTo>
                  <a:pt x="119139" y="47323"/>
                  <a:pt x="118709" y="49859"/>
                  <a:pt x="118709" y="50704"/>
                </a:cubicBezTo>
                <a:cubicBezTo>
                  <a:pt x="119139" y="52394"/>
                  <a:pt x="120000" y="54084"/>
                  <a:pt x="118709" y="54929"/>
                </a:cubicBezTo>
                <a:cubicBezTo>
                  <a:pt x="117849" y="54929"/>
                  <a:pt x="116559" y="56619"/>
                  <a:pt x="116129" y="54929"/>
                </a:cubicBezTo>
                <a:cubicBezTo>
                  <a:pt x="116129" y="54929"/>
                  <a:pt x="115698" y="53239"/>
                  <a:pt x="115698" y="55774"/>
                </a:cubicBezTo>
                <a:cubicBezTo>
                  <a:pt x="116129" y="56619"/>
                  <a:pt x="114838" y="55774"/>
                  <a:pt x="114838" y="55774"/>
                </a:cubicBezTo>
                <a:cubicBezTo>
                  <a:pt x="111397" y="53239"/>
                  <a:pt x="111397" y="53239"/>
                  <a:pt x="111397" y="53239"/>
                </a:cubicBezTo>
                <a:cubicBezTo>
                  <a:pt x="110537" y="54929"/>
                  <a:pt x="110537" y="54929"/>
                  <a:pt x="110537" y="54929"/>
                </a:cubicBezTo>
                <a:cubicBezTo>
                  <a:pt x="108817" y="57464"/>
                  <a:pt x="108817" y="57464"/>
                  <a:pt x="108817" y="57464"/>
                </a:cubicBezTo>
                <a:cubicBezTo>
                  <a:pt x="111397" y="59154"/>
                  <a:pt x="111397" y="59154"/>
                  <a:pt x="111397" y="59154"/>
                </a:cubicBezTo>
                <a:cubicBezTo>
                  <a:pt x="112258" y="59154"/>
                  <a:pt x="112258" y="59154"/>
                  <a:pt x="112258" y="59154"/>
                </a:cubicBezTo>
                <a:cubicBezTo>
                  <a:pt x="114408" y="65915"/>
                  <a:pt x="114408" y="65915"/>
                  <a:pt x="114408" y="65915"/>
                </a:cubicBezTo>
                <a:cubicBezTo>
                  <a:pt x="111827" y="69295"/>
                  <a:pt x="111827" y="69295"/>
                  <a:pt x="111827" y="69295"/>
                </a:cubicBezTo>
                <a:cubicBezTo>
                  <a:pt x="111827" y="69295"/>
                  <a:pt x="110537" y="70985"/>
                  <a:pt x="110107" y="70985"/>
                </a:cubicBezTo>
                <a:cubicBezTo>
                  <a:pt x="109677" y="70985"/>
                  <a:pt x="109247" y="71830"/>
                  <a:pt x="109247" y="71830"/>
                </a:cubicBezTo>
                <a:cubicBezTo>
                  <a:pt x="110537" y="76901"/>
                  <a:pt x="110537" y="76901"/>
                  <a:pt x="110537" y="76901"/>
                </a:cubicBezTo>
                <a:cubicBezTo>
                  <a:pt x="110537" y="78591"/>
                  <a:pt x="110537" y="78591"/>
                  <a:pt x="110537" y="78591"/>
                </a:cubicBezTo>
                <a:cubicBezTo>
                  <a:pt x="110967" y="83661"/>
                  <a:pt x="110967" y="83661"/>
                  <a:pt x="110967" y="83661"/>
                </a:cubicBezTo>
                <a:cubicBezTo>
                  <a:pt x="109677" y="87887"/>
                  <a:pt x="109677" y="87887"/>
                  <a:pt x="109677" y="87887"/>
                </a:cubicBezTo>
                <a:cubicBezTo>
                  <a:pt x="108387" y="88732"/>
                  <a:pt x="108387" y="88732"/>
                  <a:pt x="108387" y="88732"/>
                </a:cubicBezTo>
                <a:cubicBezTo>
                  <a:pt x="107096" y="94647"/>
                  <a:pt x="107096" y="94647"/>
                  <a:pt x="107096" y="94647"/>
                </a:cubicBezTo>
                <a:cubicBezTo>
                  <a:pt x="104946" y="97183"/>
                  <a:pt x="104946" y="97183"/>
                  <a:pt x="104946" y="97183"/>
                </a:cubicBezTo>
                <a:cubicBezTo>
                  <a:pt x="104516" y="100563"/>
                  <a:pt x="104516" y="100563"/>
                  <a:pt x="104516" y="100563"/>
                </a:cubicBezTo>
                <a:cubicBezTo>
                  <a:pt x="104946" y="105633"/>
                  <a:pt x="104946" y="105633"/>
                  <a:pt x="104946" y="105633"/>
                </a:cubicBezTo>
                <a:cubicBezTo>
                  <a:pt x="102365" y="102253"/>
                  <a:pt x="102365" y="102253"/>
                  <a:pt x="102365" y="102253"/>
                </a:cubicBezTo>
                <a:cubicBezTo>
                  <a:pt x="100215" y="103943"/>
                  <a:pt x="100215" y="103943"/>
                  <a:pt x="100215" y="103943"/>
                </a:cubicBezTo>
                <a:cubicBezTo>
                  <a:pt x="98924" y="104788"/>
                  <a:pt x="98924" y="104788"/>
                  <a:pt x="98924" y="104788"/>
                </a:cubicBezTo>
                <a:cubicBezTo>
                  <a:pt x="96344" y="108169"/>
                  <a:pt x="96344" y="108169"/>
                  <a:pt x="96344" y="108169"/>
                </a:cubicBezTo>
                <a:cubicBezTo>
                  <a:pt x="94193" y="106478"/>
                  <a:pt x="94193" y="106478"/>
                  <a:pt x="94193" y="106478"/>
                </a:cubicBezTo>
                <a:cubicBezTo>
                  <a:pt x="91182" y="108169"/>
                  <a:pt x="91182" y="108169"/>
                  <a:pt x="91182" y="108169"/>
                </a:cubicBezTo>
                <a:cubicBezTo>
                  <a:pt x="88602" y="108169"/>
                  <a:pt x="88602" y="108169"/>
                  <a:pt x="88602" y="108169"/>
                </a:cubicBezTo>
                <a:cubicBezTo>
                  <a:pt x="87311" y="109859"/>
                  <a:pt x="87311" y="109859"/>
                  <a:pt x="87311" y="109859"/>
                </a:cubicBezTo>
                <a:cubicBezTo>
                  <a:pt x="86451" y="113239"/>
                  <a:pt x="86451" y="113239"/>
                  <a:pt x="86451" y="113239"/>
                </a:cubicBezTo>
                <a:cubicBezTo>
                  <a:pt x="86021" y="114929"/>
                  <a:pt x="86021" y="114929"/>
                  <a:pt x="86021" y="114929"/>
                </a:cubicBezTo>
                <a:cubicBezTo>
                  <a:pt x="84301" y="115774"/>
                  <a:pt x="84301" y="115774"/>
                  <a:pt x="84301" y="115774"/>
                </a:cubicBezTo>
                <a:cubicBezTo>
                  <a:pt x="83440" y="118309"/>
                  <a:pt x="83440" y="118309"/>
                  <a:pt x="83440" y="118309"/>
                </a:cubicBezTo>
                <a:cubicBezTo>
                  <a:pt x="82150" y="120000"/>
                  <a:pt x="82150" y="120000"/>
                  <a:pt x="82150" y="120000"/>
                </a:cubicBezTo>
                <a:cubicBezTo>
                  <a:pt x="81290" y="120000"/>
                  <a:pt x="81290" y="120000"/>
                  <a:pt x="81290" y="120000"/>
                </a:cubicBezTo>
                <a:cubicBezTo>
                  <a:pt x="77419" y="120000"/>
                  <a:pt x="77419" y="120000"/>
                  <a:pt x="77419" y="120000"/>
                </a:cubicBezTo>
                <a:cubicBezTo>
                  <a:pt x="73118" y="119154"/>
                  <a:pt x="73118" y="119154"/>
                  <a:pt x="73118" y="119154"/>
                </a:cubicBezTo>
                <a:cubicBezTo>
                  <a:pt x="69247" y="116619"/>
                  <a:pt x="69247" y="116619"/>
                  <a:pt x="69247" y="116619"/>
                </a:cubicBezTo>
                <a:cubicBezTo>
                  <a:pt x="66236" y="117464"/>
                  <a:pt x="66236" y="117464"/>
                  <a:pt x="66236" y="117464"/>
                </a:cubicBezTo>
                <a:cubicBezTo>
                  <a:pt x="66236" y="117464"/>
                  <a:pt x="64086" y="116619"/>
                  <a:pt x="62795" y="116619"/>
                </a:cubicBezTo>
                <a:cubicBezTo>
                  <a:pt x="61075" y="116619"/>
                  <a:pt x="57634" y="114929"/>
                  <a:pt x="57634" y="114929"/>
                </a:cubicBezTo>
                <a:cubicBezTo>
                  <a:pt x="53333" y="112394"/>
                  <a:pt x="53333" y="112394"/>
                  <a:pt x="53333" y="112394"/>
                </a:cubicBezTo>
                <a:cubicBezTo>
                  <a:pt x="50752" y="112394"/>
                  <a:pt x="50752" y="112394"/>
                  <a:pt x="50752" y="112394"/>
                </a:cubicBezTo>
                <a:cubicBezTo>
                  <a:pt x="46881" y="111549"/>
                  <a:pt x="46881" y="111549"/>
                  <a:pt x="46881" y="111549"/>
                </a:cubicBezTo>
                <a:cubicBezTo>
                  <a:pt x="46881" y="111549"/>
                  <a:pt x="46451" y="109859"/>
                  <a:pt x="46021" y="109014"/>
                </a:cubicBezTo>
                <a:cubicBezTo>
                  <a:pt x="46021" y="108169"/>
                  <a:pt x="44731" y="106478"/>
                  <a:pt x="44731" y="106478"/>
                </a:cubicBezTo>
                <a:cubicBezTo>
                  <a:pt x="44731" y="104788"/>
                  <a:pt x="44731" y="104788"/>
                  <a:pt x="44731" y="104788"/>
                </a:cubicBezTo>
                <a:cubicBezTo>
                  <a:pt x="43870" y="100563"/>
                  <a:pt x="43870" y="100563"/>
                  <a:pt x="43870" y="100563"/>
                </a:cubicBezTo>
                <a:cubicBezTo>
                  <a:pt x="43010" y="97183"/>
                  <a:pt x="43010" y="97183"/>
                  <a:pt x="43010" y="97183"/>
                </a:cubicBezTo>
                <a:cubicBezTo>
                  <a:pt x="43870" y="94647"/>
                  <a:pt x="43870" y="94647"/>
                  <a:pt x="43870" y="94647"/>
                </a:cubicBezTo>
                <a:cubicBezTo>
                  <a:pt x="43010" y="93802"/>
                  <a:pt x="43010" y="93802"/>
                  <a:pt x="43010" y="93802"/>
                </a:cubicBezTo>
                <a:cubicBezTo>
                  <a:pt x="43010" y="93802"/>
                  <a:pt x="41290" y="94647"/>
                  <a:pt x="40430" y="94647"/>
                </a:cubicBezTo>
                <a:cubicBezTo>
                  <a:pt x="40000" y="95492"/>
                  <a:pt x="37419" y="96338"/>
                  <a:pt x="37419" y="96338"/>
                </a:cubicBezTo>
                <a:cubicBezTo>
                  <a:pt x="36559" y="97183"/>
                  <a:pt x="36559" y="97183"/>
                  <a:pt x="36559" y="97183"/>
                </a:cubicBezTo>
                <a:cubicBezTo>
                  <a:pt x="33118" y="97183"/>
                  <a:pt x="33118" y="97183"/>
                  <a:pt x="33118" y="97183"/>
                </a:cubicBezTo>
                <a:cubicBezTo>
                  <a:pt x="29677" y="98028"/>
                  <a:pt x="29677" y="98028"/>
                  <a:pt x="29677" y="98028"/>
                </a:cubicBezTo>
                <a:cubicBezTo>
                  <a:pt x="28387" y="99718"/>
                  <a:pt x="28387" y="99718"/>
                  <a:pt x="28387" y="99718"/>
                </a:cubicBezTo>
                <a:cubicBezTo>
                  <a:pt x="25806" y="102253"/>
                  <a:pt x="25806" y="102253"/>
                  <a:pt x="25806" y="102253"/>
                </a:cubicBezTo>
                <a:cubicBezTo>
                  <a:pt x="25806" y="105633"/>
                  <a:pt x="25806" y="105633"/>
                  <a:pt x="25806" y="105633"/>
                </a:cubicBezTo>
                <a:cubicBezTo>
                  <a:pt x="24516" y="109014"/>
                  <a:pt x="24516" y="109014"/>
                  <a:pt x="24516" y="109014"/>
                </a:cubicBezTo>
                <a:cubicBezTo>
                  <a:pt x="22365" y="109014"/>
                  <a:pt x="22365" y="109014"/>
                  <a:pt x="22365" y="109014"/>
                </a:cubicBezTo>
                <a:cubicBezTo>
                  <a:pt x="20215" y="105633"/>
                  <a:pt x="20215" y="105633"/>
                  <a:pt x="20215" y="105633"/>
                </a:cubicBezTo>
                <a:cubicBezTo>
                  <a:pt x="19354" y="107323"/>
                  <a:pt x="19354" y="107323"/>
                  <a:pt x="19354" y="107323"/>
                </a:cubicBezTo>
                <a:cubicBezTo>
                  <a:pt x="16774" y="106478"/>
                  <a:pt x="16774" y="106478"/>
                  <a:pt x="16774" y="106478"/>
                </a:cubicBezTo>
                <a:cubicBezTo>
                  <a:pt x="16344" y="107323"/>
                  <a:pt x="16344" y="107323"/>
                  <a:pt x="16344" y="107323"/>
                </a:cubicBezTo>
                <a:cubicBezTo>
                  <a:pt x="16344" y="107323"/>
                  <a:pt x="16344" y="106478"/>
                  <a:pt x="16344" y="106478"/>
                </a:cubicBezTo>
                <a:cubicBezTo>
                  <a:pt x="16344" y="105633"/>
                  <a:pt x="16774" y="103098"/>
                  <a:pt x="16774" y="103098"/>
                </a:cubicBezTo>
                <a:cubicBezTo>
                  <a:pt x="16774" y="103098"/>
                  <a:pt x="16774" y="102253"/>
                  <a:pt x="16774" y="101408"/>
                </a:cubicBezTo>
                <a:cubicBezTo>
                  <a:pt x="16774" y="101408"/>
                  <a:pt x="16344" y="100563"/>
                  <a:pt x="16344" y="100563"/>
                </a:cubicBezTo>
                <a:cubicBezTo>
                  <a:pt x="15913" y="99718"/>
                  <a:pt x="15913" y="99718"/>
                  <a:pt x="15913" y="99718"/>
                </a:cubicBezTo>
                <a:cubicBezTo>
                  <a:pt x="15913" y="99718"/>
                  <a:pt x="15483" y="98028"/>
                  <a:pt x="15483" y="98028"/>
                </a:cubicBezTo>
                <a:cubicBezTo>
                  <a:pt x="15053" y="98873"/>
                  <a:pt x="14623" y="98873"/>
                  <a:pt x="14623" y="98873"/>
                </a:cubicBezTo>
                <a:cubicBezTo>
                  <a:pt x="14623" y="98873"/>
                  <a:pt x="14623" y="100563"/>
                  <a:pt x="14623" y="100563"/>
                </a:cubicBezTo>
                <a:cubicBezTo>
                  <a:pt x="14193" y="101408"/>
                  <a:pt x="13763" y="101408"/>
                  <a:pt x="13763" y="101408"/>
                </a:cubicBezTo>
                <a:cubicBezTo>
                  <a:pt x="13763" y="101408"/>
                  <a:pt x="13763" y="101408"/>
                  <a:pt x="13763" y="101408"/>
                </a:cubicBezTo>
                <a:cubicBezTo>
                  <a:pt x="13333" y="101408"/>
                  <a:pt x="13333" y="101408"/>
                  <a:pt x="13333" y="101408"/>
                </a:cubicBezTo>
                <a:cubicBezTo>
                  <a:pt x="12903" y="103098"/>
                  <a:pt x="12903" y="103098"/>
                  <a:pt x="12903" y="103098"/>
                </a:cubicBezTo>
                <a:cubicBezTo>
                  <a:pt x="12473" y="103943"/>
                  <a:pt x="12473" y="103943"/>
                  <a:pt x="12473" y="103943"/>
                </a:cubicBezTo>
                <a:cubicBezTo>
                  <a:pt x="12473" y="103943"/>
                  <a:pt x="12473" y="103943"/>
                  <a:pt x="12473" y="103943"/>
                </a:cubicBezTo>
                <a:cubicBezTo>
                  <a:pt x="12473" y="103943"/>
                  <a:pt x="12473" y="103943"/>
                  <a:pt x="12473" y="103943"/>
                </a:cubicBezTo>
                <a:cubicBezTo>
                  <a:pt x="12473" y="103943"/>
                  <a:pt x="12043" y="103943"/>
                  <a:pt x="12043" y="104788"/>
                </a:cubicBezTo>
                <a:cubicBezTo>
                  <a:pt x="12043" y="104788"/>
                  <a:pt x="11612" y="104788"/>
                  <a:pt x="11182" y="104788"/>
                </a:cubicBezTo>
                <a:cubicBezTo>
                  <a:pt x="11182" y="104788"/>
                  <a:pt x="10322" y="104788"/>
                  <a:pt x="10322" y="104788"/>
                </a:cubicBezTo>
                <a:cubicBezTo>
                  <a:pt x="9892" y="103943"/>
                  <a:pt x="9892" y="103943"/>
                  <a:pt x="9892" y="103943"/>
                </a:cubicBezTo>
                <a:cubicBezTo>
                  <a:pt x="8602" y="103098"/>
                  <a:pt x="8602" y="103098"/>
                  <a:pt x="8602" y="103098"/>
                </a:cubicBezTo>
                <a:cubicBezTo>
                  <a:pt x="8602" y="103098"/>
                  <a:pt x="8602" y="103098"/>
                  <a:pt x="8602" y="103098"/>
                </a:cubicBezTo>
                <a:cubicBezTo>
                  <a:pt x="7741" y="102253"/>
                  <a:pt x="7741" y="102253"/>
                  <a:pt x="7741" y="102253"/>
                </a:cubicBezTo>
                <a:cubicBezTo>
                  <a:pt x="7311" y="101408"/>
                  <a:pt x="7311" y="101408"/>
                  <a:pt x="7311" y="101408"/>
                </a:cubicBezTo>
                <a:cubicBezTo>
                  <a:pt x="7311" y="99718"/>
                  <a:pt x="7311" y="99718"/>
                  <a:pt x="7311" y="99718"/>
                </a:cubicBezTo>
                <a:cubicBezTo>
                  <a:pt x="6451" y="98028"/>
                  <a:pt x="6451" y="98028"/>
                  <a:pt x="6451" y="98028"/>
                </a:cubicBezTo>
                <a:cubicBezTo>
                  <a:pt x="4731" y="97183"/>
                  <a:pt x="4731" y="97183"/>
                  <a:pt x="4731" y="97183"/>
                </a:cubicBezTo>
                <a:cubicBezTo>
                  <a:pt x="3440" y="96338"/>
                  <a:pt x="3440" y="96338"/>
                  <a:pt x="3440" y="96338"/>
                </a:cubicBezTo>
                <a:cubicBezTo>
                  <a:pt x="2580" y="96338"/>
                  <a:pt x="2580" y="96338"/>
                  <a:pt x="2580" y="96338"/>
                </a:cubicBezTo>
                <a:cubicBezTo>
                  <a:pt x="2580" y="96338"/>
                  <a:pt x="860" y="96338"/>
                  <a:pt x="860" y="96338"/>
                </a:cubicBezTo>
                <a:cubicBezTo>
                  <a:pt x="86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ubicBezTo>
                  <a:pt x="860" y="96338"/>
                  <a:pt x="860" y="96338"/>
                  <a:pt x="860" y="96338"/>
                </a:cubicBezTo>
                <a:cubicBezTo>
                  <a:pt x="860" y="96338"/>
                  <a:pt x="860" y="95492"/>
                  <a:pt x="860" y="95492"/>
                </a:cubicBezTo>
                <a:cubicBezTo>
                  <a:pt x="860" y="95492"/>
                  <a:pt x="860" y="95492"/>
                  <a:pt x="860" y="95492"/>
                </a:cubicBezTo>
                <a:cubicBezTo>
                  <a:pt x="860" y="95492"/>
                  <a:pt x="1290" y="96338"/>
                  <a:pt x="1290" y="96338"/>
                </a:cubicBezTo>
                <a:cubicBezTo>
                  <a:pt x="1290" y="96338"/>
                  <a:pt x="1290" y="96338"/>
                  <a:pt x="1290" y="96338"/>
                </a:cubicBezTo>
                <a:cubicBezTo>
                  <a:pt x="1290" y="96338"/>
                  <a:pt x="1290" y="96338"/>
                  <a:pt x="1290" y="96338"/>
                </a:cubicBezTo>
                <a:cubicBezTo>
                  <a:pt x="1290" y="96338"/>
                  <a:pt x="1720" y="95492"/>
                  <a:pt x="1720" y="95492"/>
                </a:cubicBezTo>
                <a:cubicBezTo>
                  <a:pt x="1720" y="95492"/>
                  <a:pt x="1720" y="95492"/>
                  <a:pt x="1720" y="95492"/>
                </a:cubicBezTo>
                <a:cubicBezTo>
                  <a:pt x="1720" y="95492"/>
                  <a:pt x="1720" y="95492"/>
                  <a:pt x="1720" y="95492"/>
                </a:cubicBezTo>
                <a:cubicBezTo>
                  <a:pt x="1720" y="95492"/>
                  <a:pt x="1720" y="95492"/>
                  <a:pt x="1720" y="95492"/>
                </a:cubicBezTo>
                <a:cubicBezTo>
                  <a:pt x="1720" y="95492"/>
                  <a:pt x="1720" y="95492"/>
                  <a:pt x="1720" y="95492"/>
                </a:cubicBezTo>
                <a:cubicBezTo>
                  <a:pt x="1720" y="95492"/>
                  <a:pt x="1720" y="95492"/>
                  <a:pt x="1720" y="95492"/>
                </a:cubicBezTo>
                <a:cubicBezTo>
                  <a:pt x="1720" y="95492"/>
                  <a:pt x="1720" y="95492"/>
                  <a:pt x="2150" y="95492"/>
                </a:cubicBezTo>
                <a:cubicBezTo>
                  <a:pt x="2150" y="95492"/>
                  <a:pt x="2150" y="95492"/>
                  <a:pt x="2150" y="94647"/>
                </a:cubicBezTo>
                <a:cubicBezTo>
                  <a:pt x="2150" y="94647"/>
                  <a:pt x="2150" y="94647"/>
                  <a:pt x="2150" y="94647"/>
                </a:cubicBezTo>
                <a:cubicBezTo>
                  <a:pt x="2150" y="94647"/>
                  <a:pt x="2150" y="94647"/>
                  <a:pt x="1720" y="94647"/>
                </a:cubicBezTo>
                <a:cubicBezTo>
                  <a:pt x="1720" y="94647"/>
                  <a:pt x="1720" y="94647"/>
                  <a:pt x="1720" y="94647"/>
                </a:cubicBezTo>
                <a:cubicBezTo>
                  <a:pt x="1720" y="94647"/>
                  <a:pt x="1720" y="94647"/>
                  <a:pt x="1720" y="93802"/>
                </a:cubicBezTo>
                <a:cubicBezTo>
                  <a:pt x="1720" y="93802"/>
                  <a:pt x="2150" y="93802"/>
                  <a:pt x="2150" y="93802"/>
                </a:cubicBezTo>
                <a:cubicBezTo>
                  <a:pt x="2150" y="93802"/>
                  <a:pt x="2150" y="93802"/>
                  <a:pt x="1720" y="93802"/>
                </a:cubicBezTo>
                <a:cubicBezTo>
                  <a:pt x="1720" y="93802"/>
                  <a:pt x="1720" y="93802"/>
                  <a:pt x="1720" y="93802"/>
                </a:cubicBezTo>
                <a:cubicBezTo>
                  <a:pt x="1720" y="92957"/>
                  <a:pt x="1720" y="93802"/>
                  <a:pt x="1720" y="93802"/>
                </a:cubicBezTo>
                <a:cubicBezTo>
                  <a:pt x="1720" y="92957"/>
                  <a:pt x="1720" y="92957"/>
                  <a:pt x="1720" y="92957"/>
                </a:cubicBezTo>
                <a:cubicBezTo>
                  <a:pt x="1720" y="92957"/>
                  <a:pt x="1720" y="92957"/>
                  <a:pt x="1720" y="92957"/>
                </a:cubicBezTo>
                <a:cubicBezTo>
                  <a:pt x="1720" y="92957"/>
                  <a:pt x="1720" y="92957"/>
                  <a:pt x="1720" y="92957"/>
                </a:cubicBezTo>
                <a:cubicBezTo>
                  <a:pt x="1720" y="92957"/>
                  <a:pt x="1720" y="92957"/>
                  <a:pt x="1720" y="92957"/>
                </a:cubicBezTo>
                <a:cubicBezTo>
                  <a:pt x="1720" y="92957"/>
                  <a:pt x="1720" y="92957"/>
                  <a:pt x="1720" y="92957"/>
                </a:cubicBezTo>
                <a:cubicBezTo>
                  <a:pt x="1290" y="92957"/>
                  <a:pt x="1290" y="92957"/>
                  <a:pt x="1290" y="92957"/>
                </a:cubicBezTo>
                <a:cubicBezTo>
                  <a:pt x="1290" y="92957"/>
                  <a:pt x="1290" y="92957"/>
                  <a:pt x="1290" y="92957"/>
                </a:cubicBezTo>
                <a:cubicBezTo>
                  <a:pt x="1290" y="92112"/>
                  <a:pt x="1290" y="92112"/>
                  <a:pt x="1290" y="92112"/>
                </a:cubicBezTo>
                <a:cubicBezTo>
                  <a:pt x="1290" y="92112"/>
                  <a:pt x="1290" y="92112"/>
                  <a:pt x="1290" y="92112"/>
                </a:cubicBezTo>
                <a:cubicBezTo>
                  <a:pt x="1290" y="92112"/>
                  <a:pt x="1290" y="92112"/>
                  <a:pt x="1290" y="92112"/>
                </a:cubicBezTo>
                <a:cubicBezTo>
                  <a:pt x="1290" y="92112"/>
                  <a:pt x="1290" y="91267"/>
                  <a:pt x="1290" y="91267"/>
                </a:cubicBezTo>
                <a:cubicBezTo>
                  <a:pt x="1290" y="91267"/>
                  <a:pt x="1290" y="91267"/>
                  <a:pt x="1290" y="91267"/>
                </a:cubicBezTo>
                <a:cubicBezTo>
                  <a:pt x="1290" y="91267"/>
                  <a:pt x="1290" y="91267"/>
                  <a:pt x="1290" y="91267"/>
                </a:cubicBezTo>
                <a:cubicBezTo>
                  <a:pt x="1290" y="91267"/>
                  <a:pt x="1290" y="91267"/>
                  <a:pt x="1290" y="91267"/>
                </a:cubicBezTo>
                <a:cubicBezTo>
                  <a:pt x="1290" y="91267"/>
                  <a:pt x="1290" y="91267"/>
                  <a:pt x="1290" y="91267"/>
                </a:cubicBezTo>
                <a:cubicBezTo>
                  <a:pt x="1290" y="91267"/>
                  <a:pt x="1290" y="91267"/>
                  <a:pt x="1290" y="91267"/>
                </a:cubicBezTo>
                <a:cubicBezTo>
                  <a:pt x="1290" y="90422"/>
                  <a:pt x="1290" y="91267"/>
                  <a:pt x="1290" y="90422"/>
                </a:cubicBezTo>
                <a:cubicBezTo>
                  <a:pt x="1290" y="90422"/>
                  <a:pt x="1290" y="90422"/>
                  <a:pt x="1290" y="90422"/>
                </a:cubicBezTo>
                <a:cubicBezTo>
                  <a:pt x="1290" y="90422"/>
                  <a:pt x="1290" y="90422"/>
                  <a:pt x="1290" y="90422"/>
                </a:cubicBezTo>
                <a:cubicBezTo>
                  <a:pt x="1290" y="90422"/>
                  <a:pt x="860" y="90422"/>
                  <a:pt x="860" y="89577"/>
                </a:cubicBezTo>
                <a:cubicBezTo>
                  <a:pt x="860" y="89577"/>
                  <a:pt x="860" y="89577"/>
                  <a:pt x="860" y="89577"/>
                </a:cubicBezTo>
                <a:cubicBezTo>
                  <a:pt x="860" y="89577"/>
                  <a:pt x="860" y="89577"/>
                  <a:pt x="860" y="89577"/>
                </a:cubicBezTo>
                <a:cubicBezTo>
                  <a:pt x="860" y="89577"/>
                  <a:pt x="860" y="89577"/>
                  <a:pt x="860" y="89577"/>
                </a:cubicBezTo>
                <a:cubicBezTo>
                  <a:pt x="860" y="90422"/>
                  <a:pt x="860" y="90422"/>
                  <a:pt x="860" y="90422"/>
                </a:cubicBezTo>
                <a:cubicBezTo>
                  <a:pt x="860" y="91267"/>
                  <a:pt x="860" y="91267"/>
                  <a:pt x="860" y="91267"/>
                </a:cubicBezTo>
                <a:cubicBezTo>
                  <a:pt x="430" y="91267"/>
                  <a:pt x="430" y="91267"/>
                  <a:pt x="430" y="91267"/>
                </a:cubicBezTo>
                <a:cubicBezTo>
                  <a:pt x="430" y="90422"/>
                  <a:pt x="430" y="90422"/>
                  <a:pt x="430" y="90422"/>
                </a:cubicBezTo>
                <a:cubicBezTo>
                  <a:pt x="860" y="87887"/>
                  <a:pt x="860" y="87887"/>
                  <a:pt x="860" y="87887"/>
                </a:cubicBezTo>
                <a:cubicBezTo>
                  <a:pt x="1720" y="86197"/>
                  <a:pt x="1720" y="86197"/>
                  <a:pt x="1720" y="86197"/>
                </a:cubicBezTo>
                <a:cubicBezTo>
                  <a:pt x="1720" y="86197"/>
                  <a:pt x="1720" y="84507"/>
                  <a:pt x="2150" y="84507"/>
                </a:cubicBezTo>
                <a:cubicBezTo>
                  <a:pt x="2150" y="83661"/>
                  <a:pt x="2150" y="82816"/>
                  <a:pt x="2150" y="82816"/>
                </a:cubicBezTo>
                <a:cubicBezTo>
                  <a:pt x="3010" y="81971"/>
                  <a:pt x="3010" y="81971"/>
                  <a:pt x="3010" y="81971"/>
                </a:cubicBezTo>
                <a:cubicBezTo>
                  <a:pt x="3010" y="81971"/>
                  <a:pt x="3440" y="81126"/>
                  <a:pt x="3440" y="81126"/>
                </a:cubicBezTo>
                <a:cubicBezTo>
                  <a:pt x="3440" y="80281"/>
                  <a:pt x="3010" y="79436"/>
                  <a:pt x="3010" y="79436"/>
                </a:cubicBezTo>
                <a:cubicBezTo>
                  <a:pt x="3010" y="78591"/>
                  <a:pt x="3440" y="77746"/>
                  <a:pt x="3440" y="77746"/>
                </a:cubicBezTo>
                <a:cubicBezTo>
                  <a:pt x="3010" y="77746"/>
                  <a:pt x="301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901"/>
                </a:cubicBezTo>
                <a:cubicBezTo>
                  <a:pt x="2580" y="76901"/>
                  <a:pt x="2580" y="76901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2580" y="76056"/>
                  <a:pt x="2580" y="76056"/>
                  <a:pt x="2580" y="76056"/>
                </a:cubicBezTo>
                <a:cubicBezTo>
                  <a:pt x="3440" y="74366"/>
                  <a:pt x="4301" y="72676"/>
                  <a:pt x="4301" y="72676"/>
                </a:cubicBezTo>
                <a:cubicBezTo>
                  <a:pt x="4301" y="72676"/>
                  <a:pt x="5161" y="71830"/>
                  <a:pt x="6021" y="72676"/>
                </a:cubicBezTo>
                <a:cubicBezTo>
                  <a:pt x="6451" y="73521"/>
                  <a:pt x="7311" y="75211"/>
                  <a:pt x="7741" y="76056"/>
                </a:cubicBezTo>
                <a:cubicBezTo>
                  <a:pt x="7741" y="76056"/>
                  <a:pt x="8172" y="76901"/>
                  <a:pt x="8602" y="76901"/>
                </a:cubicBezTo>
                <a:cubicBezTo>
                  <a:pt x="9032" y="76901"/>
                  <a:pt x="9462" y="77746"/>
                  <a:pt x="9462" y="77746"/>
                </a:cubicBezTo>
                <a:cubicBezTo>
                  <a:pt x="9462" y="78591"/>
                  <a:pt x="9892" y="77746"/>
                  <a:pt x="9892" y="79436"/>
                </a:cubicBezTo>
                <a:cubicBezTo>
                  <a:pt x="9462" y="81126"/>
                  <a:pt x="9462" y="82816"/>
                  <a:pt x="9892" y="82816"/>
                </a:cubicBezTo>
                <a:cubicBezTo>
                  <a:pt x="10752" y="81971"/>
                  <a:pt x="11182" y="81126"/>
                  <a:pt x="11182" y="81971"/>
                </a:cubicBezTo>
                <a:cubicBezTo>
                  <a:pt x="11182" y="82816"/>
                  <a:pt x="11612" y="81971"/>
                  <a:pt x="11182" y="83661"/>
                </a:cubicBezTo>
                <a:cubicBezTo>
                  <a:pt x="11182" y="85352"/>
                  <a:pt x="10752" y="86197"/>
                  <a:pt x="11182" y="86197"/>
                </a:cubicBezTo>
                <a:cubicBezTo>
                  <a:pt x="12043" y="87042"/>
                  <a:pt x="12903" y="87887"/>
                  <a:pt x="13333" y="87042"/>
                </a:cubicBezTo>
                <a:cubicBezTo>
                  <a:pt x="13763" y="85352"/>
                  <a:pt x="13333" y="87042"/>
                  <a:pt x="13763" y="85352"/>
                </a:cubicBezTo>
                <a:cubicBezTo>
                  <a:pt x="14193" y="82816"/>
                  <a:pt x="14193" y="83661"/>
                  <a:pt x="14623" y="82816"/>
                </a:cubicBezTo>
                <a:cubicBezTo>
                  <a:pt x="14623" y="81126"/>
                  <a:pt x="14623" y="81971"/>
                  <a:pt x="15053" y="80281"/>
                </a:cubicBezTo>
                <a:cubicBezTo>
                  <a:pt x="15053" y="78591"/>
                  <a:pt x="15483" y="79436"/>
                  <a:pt x="15053" y="78591"/>
                </a:cubicBezTo>
                <a:cubicBezTo>
                  <a:pt x="15053" y="78591"/>
                  <a:pt x="15053" y="77746"/>
                  <a:pt x="14623" y="76901"/>
                </a:cubicBezTo>
                <a:cubicBezTo>
                  <a:pt x="14623" y="75211"/>
                  <a:pt x="13763" y="76056"/>
                  <a:pt x="15053" y="75211"/>
                </a:cubicBezTo>
                <a:cubicBezTo>
                  <a:pt x="15913" y="74366"/>
                  <a:pt x="16344" y="74366"/>
                  <a:pt x="16344" y="74366"/>
                </a:cubicBezTo>
                <a:cubicBezTo>
                  <a:pt x="16344" y="73521"/>
                  <a:pt x="17634" y="73521"/>
                  <a:pt x="17634" y="73521"/>
                </a:cubicBezTo>
                <a:cubicBezTo>
                  <a:pt x="17634" y="73521"/>
                  <a:pt x="18924" y="73521"/>
                  <a:pt x="18924" y="73521"/>
                </a:cubicBezTo>
                <a:cubicBezTo>
                  <a:pt x="19354" y="73521"/>
                  <a:pt x="21075" y="73521"/>
                  <a:pt x="21075" y="74366"/>
                </a:cubicBezTo>
                <a:cubicBezTo>
                  <a:pt x="21075" y="75211"/>
                  <a:pt x="21935" y="75211"/>
                  <a:pt x="21935" y="75211"/>
                </a:cubicBezTo>
                <a:cubicBezTo>
                  <a:pt x="21935" y="75211"/>
                  <a:pt x="22795" y="75211"/>
                  <a:pt x="23225" y="76901"/>
                </a:cubicBezTo>
                <a:cubicBezTo>
                  <a:pt x="23225" y="79436"/>
                  <a:pt x="23225" y="81126"/>
                  <a:pt x="23655" y="80281"/>
                </a:cubicBezTo>
                <a:cubicBezTo>
                  <a:pt x="24086" y="80281"/>
                  <a:pt x="24946" y="81971"/>
                  <a:pt x="24946" y="81126"/>
                </a:cubicBezTo>
                <a:cubicBezTo>
                  <a:pt x="25376" y="80281"/>
                  <a:pt x="25806" y="79436"/>
                  <a:pt x="26236" y="79436"/>
                </a:cubicBezTo>
                <a:cubicBezTo>
                  <a:pt x="26666" y="79436"/>
                  <a:pt x="25806" y="78591"/>
                  <a:pt x="27096" y="78591"/>
                </a:cubicBezTo>
                <a:cubicBezTo>
                  <a:pt x="28817" y="79436"/>
                  <a:pt x="28387" y="80281"/>
                  <a:pt x="29247" y="78591"/>
                </a:cubicBezTo>
                <a:cubicBezTo>
                  <a:pt x="29677" y="76901"/>
                  <a:pt x="29677" y="76901"/>
                  <a:pt x="30537" y="76056"/>
                </a:cubicBezTo>
                <a:cubicBezTo>
                  <a:pt x="30967" y="75211"/>
                  <a:pt x="30967" y="75211"/>
                  <a:pt x="31397" y="74366"/>
                </a:cubicBezTo>
                <a:cubicBezTo>
                  <a:pt x="31397" y="74366"/>
                  <a:pt x="33118" y="74366"/>
                  <a:pt x="33118" y="74366"/>
                </a:cubicBezTo>
                <a:cubicBezTo>
                  <a:pt x="33548" y="73521"/>
                  <a:pt x="33978" y="71830"/>
                  <a:pt x="34408" y="71830"/>
                </a:cubicBezTo>
                <a:cubicBezTo>
                  <a:pt x="34408" y="71830"/>
                  <a:pt x="36129" y="71830"/>
                  <a:pt x="36559" y="71830"/>
                </a:cubicBezTo>
                <a:cubicBezTo>
                  <a:pt x="36989" y="71830"/>
                  <a:pt x="37849" y="71830"/>
                  <a:pt x="38279" y="70985"/>
                </a:cubicBezTo>
                <a:cubicBezTo>
                  <a:pt x="38279" y="70140"/>
                  <a:pt x="38279" y="70140"/>
                  <a:pt x="38709" y="69295"/>
                </a:cubicBezTo>
                <a:cubicBezTo>
                  <a:pt x="39569" y="69295"/>
                  <a:pt x="40000" y="69295"/>
                  <a:pt x="40860" y="69295"/>
                </a:cubicBezTo>
                <a:cubicBezTo>
                  <a:pt x="41720" y="69295"/>
                  <a:pt x="41720" y="69295"/>
                  <a:pt x="42150" y="69295"/>
                </a:cubicBezTo>
                <a:cubicBezTo>
                  <a:pt x="42580" y="69295"/>
                  <a:pt x="43010" y="70985"/>
                  <a:pt x="43010" y="68450"/>
                </a:cubicBezTo>
                <a:cubicBezTo>
                  <a:pt x="42580" y="65915"/>
                  <a:pt x="42150" y="65915"/>
                  <a:pt x="42580" y="65070"/>
                </a:cubicBezTo>
                <a:cubicBezTo>
                  <a:pt x="43440" y="65070"/>
                  <a:pt x="44301" y="65070"/>
                  <a:pt x="44301" y="65070"/>
                </a:cubicBezTo>
                <a:cubicBezTo>
                  <a:pt x="44731" y="65070"/>
                  <a:pt x="46451" y="65915"/>
                  <a:pt x="46881" y="65915"/>
                </a:cubicBezTo>
                <a:cubicBezTo>
                  <a:pt x="46881" y="65915"/>
                  <a:pt x="47311" y="67605"/>
                  <a:pt x="47311" y="67605"/>
                </a:cubicBezTo>
                <a:cubicBezTo>
                  <a:pt x="47741" y="67605"/>
                  <a:pt x="48172" y="68450"/>
                  <a:pt x="48602" y="67605"/>
                </a:cubicBezTo>
                <a:cubicBezTo>
                  <a:pt x="48602" y="67605"/>
                  <a:pt x="49032" y="65915"/>
                  <a:pt x="49462" y="65915"/>
                </a:cubicBezTo>
                <a:cubicBezTo>
                  <a:pt x="49892" y="65915"/>
                  <a:pt x="51182" y="65915"/>
                  <a:pt x="51182" y="65915"/>
                </a:cubicBezTo>
                <a:cubicBezTo>
                  <a:pt x="51182" y="65915"/>
                  <a:pt x="52903" y="66760"/>
                  <a:pt x="52903" y="66760"/>
                </a:cubicBezTo>
                <a:cubicBezTo>
                  <a:pt x="52903" y="66760"/>
                  <a:pt x="52473" y="68450"/>
                  <a:pt x="52473" y="69295"/>
                </a:cubicBezTo>
                <a:cubicBezTo>
                  <a:pt x="52473" y="70140"/>
                  <a:pt x="52473" y="70985"/>
                  <a:pt x="52903" y="71830"/>
                </a:cubicBezTo>
                <a:cubicBezTo>
                  <a:pt x="52903" y="71830"/>
                  <a:pt x="53763" y="73521"/>
                  <a:pt x="53763" y="73521"/>
                </a:cubicBezTo>
                <a:cubicBezTo>
                  <a:pt x="53763" y="73521"/>
                  <a:pt x="55913" y="75211"/>
                  <a:pt x="55913" y="75211"/>
                </a:cubicBezTo>
                <a:cubicBezTo>
                  <a:pt x="55913" y="75211"/>
                  <a:pt x="56344" y="76056"/>
                  <a:pt x="56344" y="72676"/>
                </a:cubicBezTo>
                <a:cubicBezTo>
                  <a:pt x="56344" y="69295"/>
                  <a:pt x="56344" y="68450"/>
                  <a:pt x="56344" y="68450"/>
                </a:cubicBezTo>
                <a:cubicBezTo>
                  <a:pt x="56344" y="65070"/>
                  <a:pt x="56344" y="65070"/>
                  <a:pt x="56344" y="65070"/>
                </a:cubicBezTo>
                <a:cubicBezTo>
                  <a:pt x="56344" y="65070"/>
                  <a:pt x="56344" y="64225"/>
                  <a:pt x="55913" y="64225"/>
                </a:cubicBezTo>
                <a:cubicBezTo>
                  <a:pt x="55913" y="64225"/>
                  <a:pt x="55483" y="64225"/>
                  <a:pt x="55483" y="64225"/>
                </a:cubicBezTo>
                <a:cubicBezTo>
                  <a:pt x="55483" y="64225"/>
                  <a:pt x="53763" y="63380"/>
                  <a:pt x="53333" y="63380"/>
                </a:cubicBezTo>
                <a:cubicBezTo>
                  <a:pt x="52903" y="63380"/>
                  <a:pt x="53333" y="61690"/>
                  <a:pt x="53333" y="60845"/>
                </a:cubicBezTo>
                <a:cubicBezTo>
                  <a:pt x="53333" y="60845"/>
                  <a:pt x="54193" y="59154"/>
                  <a:pt x="54193" y="59154"/>
                </a:cubicBezTo>
                <a:cubicBezTo>
                  <a:pt x="54193" y="56619"/>
                  <a:pt x="54193" y="56619"/>
                  <a:pt x="54193" y="56619"/>
                </a:cubicBezTo>
                <a:cubicBezTo>
                  <a:pt x="52903" y="52394"/>
                  <a:pt x="52903" y="52394"/>
                  <a:pt x="52903" y="52394"/>
                </a:cubicBezTo>
                <a:cubicBezTo>
                  <a:pt x="51612" y="49859"/>
                  <a:pt x="51612" y="49859"/>
                  <a:pt x="51612" y="49859"/>
                </a:cubicBezTo>
                <a:cubicBezTo>
                  <a:pt x="50752" y="45633"/>
                  <a:pt x="50752" y="45633"/>
                  <a:pt x="50752" y="45633"/>
                </a:cubicBezTo>
                <a:cubicBezTo>
                  <a:pt x="50752" y="45633"/>
                  <a:pt x="50752" y="45633"/>
                  <a:pt x="50752" y="45633"/>
                </a:cubicBezTo>
                <a:cubicBezTo>
                  <a:pt x="50752" y="45633"/>
                  <a:pt x="50752" y="45633"/>
                  <a:pt x="50752" y="45633"/>
                </a:cubicBezTo>
                <a:cubicBezTo>
                  <a:pt x="52043" y="43943"/>
                  <a:pt x="52043" y="43943"/>
                  <a:pt x="52043" y="43943"/>
                </a:cubicBezTo>
                <a:cubicBezTo>
                  <a:pt x="52903" y="42253"/>
                  <a:pt x="54193" y="40563"/>
                  <a:pt x="54193" y="40563"/>
                </a:cubicBezTo>
                <a:cubicBezTo>
                  <a:pt x="54193" y="40563"/>
                  <a:pt x="54193" y="40563"/>
                  <a:pt x="54623" y="40563"/>
                </a:cubicBezTo>
                <a:cubicBezTo>
                  <a:pt x="55483" y="38873"/>
                  <a:pt x="55483" y="38873"/>
                  <a:pt x="55483" y="38873"/>
                </a:cubicBezTo>
                <a:cubicBezTo>
                  <a:pt x="55483" y="38873"/>
                  <a:pt x="57634" y="37183"/>
                  <a:pt x="57634" y="37183"/>
                </a:cubicBezTo>
                <a:cubicBezTo>
                  <a:pt x="57634" y="37183"/>
                  <a:pt x="58064" y="36338"/>
                  <a:pt x="58064" y="36338"/>
                </a:cubicBezTo>
                <a:cubicBezTo>
                  <a:pt x="58494" y="36338"/>
                  <a:pt x="58494" y="36338"/>
                  <a:pt x="58494" y="36338"/>
                </a:cubicBezTo>
                <a:cubicBezTo>
                  <a:pt x="60645" y="32112"/>
                  <a:pt x="60645" y="32112"/>
                  <a:pt x="60645" y="32112"/>
                </a:cubicBezTo>
                <a:cubicBezTo>
                  <a:pt x="60645" y="27887"/>
                  <a:pt x="60645" y="27887"/>
                  <a:pt x="60645" y="27887"/>
                </a:cubicBezTo>
                <a:cubicBezTo>
                  <a:pt x="61075" y="26197"/>
                  <a:pt x="61075" y="26197"/>
                  <a:pt x="61075" y="26197"/>
                </a:cubicBezTo>
                <a:cubicBezTo>
                  <a:pt x="61075" y="25352"/>
                  <a:pt x="61075" y="23661"/>
                  <a:pt x="61075" y="23661"/>
                </a:cubicBezTo>
                <a:cubicBezTo>
                  <a:pt x="63655" y="23661"/>
                  <a:pt x="63655" y="23661"/>
                  <a:pt x="63655" y="23661"/>
                </a:cubicBezTo>
                <a:cubicBezTo>
                  <a:pt x="63655" y="23661"/>
                  <a:pt x="64086" y="24507"/>
                  <a:pt x="64516" y="25352"/>
                </a:cubicBezTo>
                <a:cubicBezTo>
                  <a:pt x="64946" y="25352"/>
                  <a:pt x="65376" y="24507"/>
                  <a:pt x="65376" y="24507"/>
                </a:cubicBezTo>
                <a:cubicBezTo>
                  <a:pt x="65806" y="24507"/>
                  <a:pt x="66236" y="22816"/>
                  <a:pt x="66236" y="22816"/>
                </a:cubicBezTo>
                <a:cubicBezTo>
                  <a:pt x="66236" y="20281"/>
                  <a:pt x="66236" y="20281"/>
                  <a:pt x="66236" y="20281"/>
                </a:cubicBezTo>
                <a:cubicBezTo>
                  <a:pt x="65806" y="16056"/>
                  <a:pt x="65806" y="16056"/>
                  <a:pt x="65806" y="16056"/>
                </a:cubicBezTo>
                <a:cubicBezTo>
                  <a:pt x="65806" y="13521"/>
                  <a:pt x="65806" y="13521"/>
                  <a:pt x="65806" y="13521"/>
                </a:cubicBezTo>
                <a:cubicBezTo>
                  <a:pt x="65806" y="13521"/>
                  <a:pt x="65806" y="13521"/>
                  <a:pt x="65806" y="13521"/>
                </a:cubicBezTo>
                <a:cubicBezTo>
                  <a:pt x="66236" y="13521"/>
                  <a:pt x="67956" y="16056"/>
                  <a:pt x="68817" y="16901"/>
                </a:cubicBezTo>
                <a:cubicBezTo>
                  <a:pt x="69247" y="17746"/>
                  <a:pt x="70537" y="20281"/>
                  <a:pt x="70537" y="20281"/>
                </a:cubicBezTo>
                <a:cubicBezTo>
                  <a:pt x="70537" y="20281"/>
                  <a:pt x="72688" y="21126"/>
                  <a:pt x="73118" y="21126"/>
                </a:cubicBezTo>
                <a:cubicBezTo>
                  <a:pt x="73118" y="21126"/>
                  <a:pt x="75268" y="21971"/>
                  <a:pt x="75268" y="21971"/>
                </a:cubicBezTo>
                <a:cubicBezTo>
                  <a:pt x="75698" y="20281"/>
                  <a:pt x="75698" y="20281"/>
                  <a:pt x="75698" y="20281"/>
                </a:cubicBezTo>
                <a:cubicBezTo>
                  <a:pt x="76989" y="18591"/>
                  <a:pt x="76989" y="18591"/>
                  <a:pt x="76989" y="18591"/>
                </a:cubicBezTo>
                <a:cubicBezTo>
                  <a:pt x="78709" y="21126"/>
                  <a:pt x="78709" y="21126"/>
                  <a:pt x="78709" y="21126"/>
                </a:cubicBezTo>
                <a:cubicBezTo>
                  <a:pt x="80430" y="20281"/>
                  <a:pt x="80430" y="20281"/>
                  <a:pt x="80430" y="20281"/>
                </a:cubicBezTo>
                <a:close/>
                <a:moveTo>
                  <a:pt x="2150" y="76901"/>
                </a:moveTo>
                <a:cubicBezTo>
                  <a:pt x="2150" y="76901"/>
                  <a:pt x="2150" y="76901"/>
                  <a:pt x="2150" y="76901"/>
                </a:cubicBezTo>
                <a:cubicBezTo>
                  <a:pt x="2150" y="76901"/>
                  <a:pt x="2150" y="76901"/>
                  <a:pt x="2150" y="76901"/>
                </a:cubicBezTo>
                <a:cubicBezTo>
                  <a:pt x="2150" y="76901"/>
                  <a:pt x="2150" y="76901"/>
                  <a:pt x="2150" y="76901"/>
                </a:cubicBezTo>
                <a:close/>
                <a:moveTo>
                  <a:pt x="430" y="96338"/>
                </a:move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6338"/>
                  <a:pt x="430" y="96338"/>
                </a:cubicBezTo>
                <a:close/>
                <a:moveTo>
                  <a:pt x="430" y="96338"/>
                </a:moveTo>
                <a:cubicBezTo>
                  <a:pt x="430" y="96338"/>
                  <a:pt x="430" y="96338"/>
                  <a:pt x="430" y="96338"/>
                </a:cubicBezTo>
                <a:cubicBezTo>
                  <a:pt x="430" y="96338"/>
                  <a:pt x="430" y="95492"/>
                  <a:pt x="430" y="95492"/>
                </a:cubicBezTo>
                <a:cubicBezTo>
                  <a:pt x="430" y="95492"/>
                  <a:pt x="430" y="95492"/>
                  <a:pt x="430" y="95492"/>
                </a:cubicBezTo>
                <a:cubicBezTo>
                  <a:pt x="430" y="95492"/>
                  <a:pt x="860" y="95492"/>
                  <a:pt x="860" y="94647"/>
                </a:cubicBezTo>
                <a:cubicBezTo>
                  <a:pt x="860" y="94647"/>
                  <a:pt x="860" y="94647"/>
                  <a:pt x="860" y="94647"/>
                </a:cubicBezTo>
                <a:cubicBezTo>
                  <a:pt x="860" y="94647"/>
                  <a:pt x="860" y="94647"/>
                  <a:pt x="860" y="94647"/>
                </a:cubicBezTo>
                <a:cubicBezTo>
                  <a:pt x="860" y="94647"/>
                  <a:pt x="860" y="94647"/>
                  <a:pt x="860" y="94647"/>
                </a:cubicBezTo>
                <a:cubicBezTo>
                  <a:pt x="430" y="94647"/>
                  <a:pt x="430" y="94647"/>
                  <a:pt x="430" y="94647"/>
                </a:cubicBezTo>
                <a:cubicBezTo>
                  <a:pt x="0" y="96338"/>
                  <a:pt x="0" y="96338"/>
                  <a:pt x="0" y="96338"/>
                </a:cubicBezTo>
                <a:lnTo>
                  <a:pt x="430" y="96338"/>
                </a:ln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" name="Google Shape;3038;p256">
            <a:extLst>
              <a:ext uri="{FF2B5EF4-FFF2-40B4-BE49-F238E27FC236}">
                <a16:creationId xmlns:a16="http://schemas.microsoft.com/office/drawing/2014/main" id="{F63DC487-792B-3AB5-B8D1-68C04204AA58}"/>
              </a:ext>
            </a:extLst>
          </p:cNvPr>
          <p:cNvSpPr/>
          <p:nvPr/>
        </p:nvSpPr>
        <p:spPr>
          <a:xfrm>
            <a:off x="6682316" y="3554445"/>
            <a:ext cx="1904066" cy="191177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9769" y="105055"/>
                </a:moveTo>
                <a:cubicBezTo>
                  <a:pt x="60230" y="104386"/>
                  <a:pt x="60230" y="104386"/>
                  <a:pt x="60230" y="104386"/>
                </a:cubicBezTo>
                <a:cubicBezTo>
                  <a:pt x="60230" y="104386"/>
                  <a:pt x="60230" y="103048"/>
                  <a:pt x="59769" y="102825"/>
                </a:cubicBezTo>
                <a:cubicBezTo>
                  <a:pt x="59538" y="102602"/>
                  <a:pt x="59307" y="102379"/>
                  <a:pt x="59307" y="102379"/>
                </a:cubicBezTo>
                <a:cubicBezTo>
                  <a:pt x="59307" y="102379"/>
                  <a:pt x="59307" y="101486"/>
                  <a:pt x="59307" y="101040"/>
                </a:cubicBezTo>
                <a:cubicBezTo>
                  <a:pt x="59307" y="100817"/>
                  <a:pt x="59307" y="99925"/>
                  <a:pt x="59307" y="99702"/>
                </a:cubicBezTo>
                <a:cubicBezTo>
                  <a:pt x="59307" y="99479"/>
                  <a:pt x="59538" y="98587"/>
                  <a:pt x="59538" y="98364"/>
                </a:cubicBezTo>
                <a:cubicBezTo>
                  <a:pt x="59538" y="98364"/>
                  <a:pt x="59307" y="98364"/>
                  <a:pt x="59769" y="97918"/>
                </a:cubicBezTo>
                <a:cubicBezTo>
                  <a:pt x="60230" y="97249"/>
                  <a:pt x="60230" y="96802"/>
                  <a:pt x="60230" y="96802"/>
                </a:cubicBezTo>
                <a:cubicBezTo>
                  <a:pt x="61153" y="95687"/>
                  <a:pt x="61153" y="95687"/>
                  <a:pt x="61153" y="95687"/>
                </a:cubicBezTo>
                <a:cubicBezTo>
                  <a:pt x="61153" y="95687"/>
                  <a:pt x="61846" y="94572"/>
                  <a:pt x="62076" y="94572"/>
                </a:cubicBezTo>
                <a:cubicBezTo>
                  <a:pt x="62307" y="94795"/>
                  <a:pt x="63230" y="94572"/>
                  <a:pt x="63461" y="94572"/>
                </a:cubicBezTo>
                <a:cubicBezTo>
                  <a:pt x="63692" y="94572"/>
                  <a:pt x="64615" y="95464"/>
                  <a:pt x="65076" y="94572"/>
                </a:cubicBezTo>
                <a:cubicBezTo>
                  <a:pt x="65538" y="93903"/>
                  <a:pt x="65769" y="93457"/>
                  <a:pt x="65769" y="93234"/>
                </a:cubicBezTo>
                <a:cubicBezTo>
                  <a:pt x="66000" y="93011"/>
                  <a:pt x="66230" y="92342"/>
                  <a:pt x="66923" y="92342"/>
                </a:cubicBezTo>
                <a:cubicBezTo>
                  <a:pt x="67615" y="92118"/>
                  <a:pt x="69230" y="92118"/>
                  <a:pt x="69230" y="92118"/>
                </a:cubicBezTo>
                <a:cubicBezTo>
                  <a:pt x="69923" y="92342"/>
                  <a:pt x="69923" y="92342"/>
                  <a:pt x="69923" y="92342"/>
                </a:cubicBezTo>
                <a:cubicBezTo>
                  <a:pt x="71769" y="93011"/>
                  <a:pt x="71769" y="93011"/>
                  <a:pt x="71769" y="93011"/>
                </a:cubicBezTo>
                <a:cubicBezTo>
                  <a:pt x="71769" y="93011"/>
                  <a:pt x="72461" y="93011"/>
                  <a:pt x="72923" y="93011"/>
                </a:cubicBezTo>
                <a:cubicBezTo>
                  <a:pt x="73153" y="93011"/>
                  <a:pt x="73384" y="93011"/>
                  <a:pt x="73384" y="93011"/>
                </a:cubicBezTo>
                <a:cubicBezTo>
                  <a:pt x="74076" y="93903"/>
                  <a:pt x="74076" y="93903"/>
                  <a:pt x="74076" y="93903"/>
                </a:cubicBezTo>
                <a:cubicBezTo>
                  <a:pt x="74076" y="93903"/>
                  <a:pt x="75000" y="94349"/>
                  <a:pt x="75230" y="94349"/>
                </a:cubicBezTo>
                <a:cubicBezTo>
                  <a:pt x="75461" y="94349"/>
                  <a:pt x="77307" y="93903"/>
                  <a:pt x="77307" y="93903"/>
                </a:cubicBezTo>
                <a:cubicBezTo>
                  <a:pt x="77307" y="93903"/>
                  <a:pt x="78000" y="93680"/>
                  <a:pt x="78230" y="93903"/>
                </a:cubicBezTo>
                <a:cubicBezTo>
                  <a:pt x="78461" y="94126"/>
                  <a:pt x="79153" y="94349"/>
                  <a:pt x="79384" y="94572"/>
                </a:cubicBezTo>
                <a:cubicBezTo>
                  <a:pt x="79384" y="94795"/>
                  <a:pt x="81230" y="95687"/>
                  <a:pt x="81692" y="95910"/>
                </a:cubicBezTo>
                <a:cubicBezTo>
                  <a:pt x="81923" y="96133"/>
                  <a:pt x="82846" y="95910"/>
                  <a:pt x="82846" y="95910"/>
                </a:cubicBezTo>
                <a:cubicBezTo>
                  <a:pt x="83307" y="97026"/>
                  <a:pt x="83307" y="97026"/>
                  <a:pt x="83307" y="97026"/>
                </a:cubicBezTo>
                <a:cubicBezTo>
                  <a:pt x="85615" y="97695"/>
                  <a:pt x="85615" y="97695"/>
                  <a:pt x="85615" y="97695"/>
                </a:cubicBezTo>
                <a:cubicBezTo>
                  <a:pt x="86538" y="97695"/>
                  <a:pt x="86538" y="97695"/>
                  <a:pt x="86538" y="97695"/>
                </a:cubicBezTo>
                <a:cubicBezTo>
                  <a:pt x="89769" y="98810"/>
                  <a:pt x="89769" y="98810"/>
                  <a:pt x="89769" y="98810"/>
                </a:cubicBezTo>
                <a:cubicBezTo>
                  <a:pt x="91846" y="97249"/>
                  <a:pt x="91846" y="97249"/>
                  <a:pt x="91846" y="97249"/>
                </a:cubicBezTo>
                <a:cubicBezTo>
                  <a:pt x="91846" y="97249"/>
                  <a:pt x="92307" y="97472"/>
                  <a:pt x="92538" y="97472"/>
                </a:cubicBezTo>
                <a:cubicBezTo>
                  <a:pt x="92769" y="97472"/>
                  <a:pt x="93230" y="95687"/>
                  <a:pt x="93230" y="95687"/>
                </a:cubicBezTo>
                <a:cubicBezTo>
                  <a:pt x="93230" y="95687"/>
                  <a:pt x="93230" y="95241"/>
                  <a:pt x="93461" y="95241"/>
                </a:cubicBezTo>
                <a:cubicBezTo>
                  <a:pt x="93923" y="95241"/>
                  <a:pt x="95538" y="94572"/>
                  <a:pt x="95538" y="94572"/>
                </a:cubicBezTo>
                <a:cubicBezTo>
                  <a:pt x="95538" y="94349"/>
                  <a:pt x="95307" y="93457"/>
                  <a:pt x="96000" y="93234"/>
                </a:cubicBezTo>
                <a:cubicBezTo>
                  <a:pt x="96461" y="93011"/>
                  <a:pt x="97384" y="92342"/>
                  <a:pt x="97384" y="92342"/>
                </a:cubicBezTo>
                <a:cubicBezTo>
                  <a:pt x="97615" y="92118"/>
                  <a:pt x="97153" y="91672"/>
                  <a:pt x="97846" y="91449"/>
                </a:cubicBezTo>
                <a:cubicBezTo>
                  <a:pt x="98307" y="91449"/>
                  <a:pt x="99000" y="91226"/>
                  <a:pt x="99461" y="91226"/>
                </a:cubicBezTo>
                <a:cubicBezTo>
                  <a:pt x="99461" y="91226"/>
                  <a:pt x="99461" y="91226"/>
                  <a:pt x="99461" y="91226"/>
                </a:cubicBezTo>
                <a:cubicBezTo>
                  <a:pt x="99461" y="91003"/>
                  <a:pt x="99461" y="91003"/>
                  <a:pt x="99461" y="91003"/>
                </a:cubicBezTo>
                <a:cubicBezTo>
                  <a:pt x="99461" y="91003"/>
                  <a:pt x="99461" y="91003"/>
                  <a:pt x="99461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692" y="91003"/>
                  <a:pt x="99692" y="91003"/>
                  <a:pt x="99692" y="91003"/>
                </a:cubicBezTo>
                <a:cubicBezTo>
                  <a:pt x="99923" y="90780"/>
                  <a:pt x="99923" y="90780"/>
                  <a:pt x="99923" y="90780"/>
                </a:cubicBezTo>
                <a:cubicBezTo>
                  <a:pt x="99923" y="90780"/>
                  <a:pt x="99923" y="90780"/>
                  <a:pt x="99923" y="90780"/>
                </a:cubicBezTo>
                <a:cubicBezTo>
                  <a:pt x="99923" y="90780"/>
                  <a:pt x="99923" y="90780"/>
                  <a:pt x="9992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153" y="90780"/>
                  <a:pt x="100153" y="90780"/>
                  <a:pt x="100153" y="90780"/>
                </a:cubicBezTo>
                <a:cubicBezTo>
                  <a:pt x="100384" y="90780"/>
                  <a:pt x="100384" y="90780"/>
                  <a:pt x="100384" y="90780"/>
                </a:cubicBezTo>
                <a:cubicBezTo>
                  <a:pt x="100384" y="90780"/>
                  <a:pt x="100384" y="90780"/>
                  <a:pt x="100384" y="90780"/>
                </a:cubicBezTo>
                <a:cubicBezTo>
                  <a:pt x="100384" y="90780"/>
                  <a:pt x="100384" y="90780"/>
                  <a:pt x="100384" y="90780"/>
                </a:cubicBezTo>
                <a:cubicBezTo>
                  <a:pt x="100384" y="90780"/>
                  <a:pt x="100384" y="90780"/>
                  <a:pt x="100384" y="90780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384" y="90557"/>
                  <a:pt x="100384" y="90557"/>
                  <a:pt x="100384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615" y="90557"/>
                  <a:pt x="100615" y="90557"/>
                  <a:pt x="100615" y="90557"/>
                </a:cubicBezTo>
                <a:cubicBezTo>
                  <a:pt x="100846" y="90334"/>
                  <a:pt x="101076" y="90334"/>
                  <a:pt x="101076" y="90334"/>
                </a:cubicBezTo>
                <a:cubicBezTo>
                  <a:pt x="102461" y="89219"/>
                  <a:pt x="102461" y="89219"/>
                  <a:pt x="102461" y="89219"/>
                </a:cubicBezTo>
                <a:cubicBezTo>
                  <a:pt x="103153" y="86765"/>
                  <a:pt x="103153" y="86765"/>
                  <a:pt x="103153" y="86765"/>
                </a:cubicBezTo>
                <a:cubicBezTo>
                  <a:pt x="102230" y="86096"/>
                  <a:pt x="102230" y="86096"/>
                  <a:pt x="102230" y="86096"/>
                </a:cubicBezTo>
                <a:cubicBezTo>
                  <a:pt x="100153" y="86096"/>
                  <a:pt x="100153" y="86096"/>
                  <a:pt x="100153" y="86096"/>
                </a:cubicBezTo>
                <a:cubicBezTo>
                  <a:pt x="97846" y="85204"/>
                  <a:pt x="97846" y="85204"/>
                  <a:pt x="97846" y="85204"/>
                </a:cubicBezTo>
                <a:cubicBezTo>
                  <a:pt x="96692" y="83420"/>
                  <a:pt x="96692" y="83420"/>
                  <a:pt x="96692" y="83420"/>
                </a:cubicBezTo>
                <a:cubicBezTo>
                  <a:pt x="96000" y="83420"/>
                  <a:pt x="96000" y="83420"/>
                  <a:pt x="96000" y="83420"/>
                </a:cubicBezTo>
                <a:cubicBezTo>
                  <a:pt x="95769" y="81858"/>
                  <a:pt x="95307" y="82527"/>
                  <a:pt x="96230" y="81412"/>
                </a:cubicBezTo>
                <a:cubicBezTo>
                  <a:pt x="97153" y="80074"/>
                  <a:pt x="97153" y="80074"/>
                  <a:pt x="97153" y="80074"/>
                </a:cubicBezTo>
                <a:cubicBezTo>
                  <a:pt x="96923" y="77843"/>
                  <a:pt x="96923" y="77843"/>
                  <a:pt x="96923" y="77843"/>
                </a:cubicBezTo>
                <a:cubicBezTo>
                  <a:pt x="96230" y="77174"/>
                  <a:pt x="96230" y="77174"/>
                  <a:pt x="96230" y="77174"/>
                </a:cubicBezTo>
                <a:cubicBezTo>
                  <a:pt x="95076" y="76505"/>
                  <a:pt x="95076" y="76505"/>
                  <a:pt x="95076" y="76505"/>
                </a:cubicBezTo>
                <a:cubicBezTo>
                  <a:pt x="95076" y="76505"/>
                  <a:pt x="94384" y="75613"/>
                  <a:pt x="94153" y="75390"/>
                </a:cubicBezTo>
                <a:cubicBezTo>
                  <a:pt x="94153" y="75390"/>
                  <a:pt x="94153" y="74944"/>
                  <a:pt x="94153" y="74944"/>
                </a:cubicBezTo>
                <a:cubicBezTo>
                  <a:pt x="93923" y="74721"/>
                  <a:pt x="94846" y="74721"/>
                  <a:pt x="94846" y="74721"/>
                </a:cubicBezTo>
                <a:cubicBezTo>
                  <a:pt x="95076" y="74721"/>
                  <a:pt x="95769" y="74498"/>
                  <a:pt x="96000" y="74498"/>
                </a:cubicBezTo>
                <a:cubicBezTo>
                  <a:pt x="96230" y="74498"/>
                  <a:pt x="97153" y="73605"/>
                  <a:pt x="97153" y="73605"/>
                </a:cubicBezTo>
                <a:cubicBezTo>
                  <a:pt x="97153" y="73605"/>
                  <a:pt x="97615" y="72713"/>
                  <a:pt x="98076" y="72490"/>
                </a:cubicBezTo>
                <a:cubicBezTo>
                  <a:pt x="98307" y="72267"/>
                  <a:pt x="98769" y="70483"/>
                  <a:pt x="98769" y="70260"/>
                </a:cubicBezTo>
                <a:cubicBezTo>
                  <a:pt x="98769" y="70260"/>
                  <a:pt x="98307" y="69144"/>
                  <a:pt x="98076" y="69144"/>
                </a:cubicBezTo>
                <a:cubicBezTo>
                  <a:pt x="96000" y="68252"/>
                  <a:pt x="96461" y="67806"/>
                  <a:pt x="95538" y="67360"/>
                </a:cubicBezTo>
                <a:cubicBezTo>
                  <a:pt x="95538" y="66245"/>
                  <a:pt x="95538" y="66245"/>
                  <a:pt x="95538" y="66245"/>
                </a:cubicBezTo>
                <a:cubicBezTo>
                  <a:pt x="96692" y="65353"/>
                  <a:pt x="96692" y="65353"/>
                  <a:pt x="96692" y="65353"/>
                </a:cubicBezTo>
                <a:cubicBezTo>
                  <a:pt x="96923" y="65130"/>
                  <a:pt x="97384" y="64907"/>
                  <a:pt x="97615" y="64907"/>
                </a:cubicBezTo>
                <a:cubicBezTo>
                  <a:pt x="97846" y="64460"/>
                  <a:pt x="97846" y="64460"/>
                  <a:pt x="97846" y="64460"/>
                </a:cubicBezTo>
                <a:cubicBezTo>
                  <a:pt x="97846" y="64460"/>
                  <a:pt x="97384" y="64014"/>
                  <a:pt x="97384" y="64014"/>
                </a:cubicBezTo>
                <a:cubicBezTo>
                  <a:pt x="97384" y="64014"/>
                  <a:pt x="97153" y="63791"/>
                  <a:pt x="96923" y="63791"/>
                </a:cubicBezTo>
                <a:cubicBezTo>
                  <a:pt x="96923" y="63791"/>
                  <a:pt x="96692" y="63568"/>
                  <a:pt x="96692" y="63568"/>
                </a:cubicBezTo>
                <a:cubicBezTo>
                  <a:pt x="96692" y="63568"/>
                  <a:pt x="96461" y="63345"/>
                  <a:pt x="96230" y="63345"/>
                </a:cubicBezTo>
                <a:cubicBezTo>
                  <a:pt x="96000" y="63345"/>
                  <a:pt x="96230" y="62899"/>
                  <a:pt x="96461" y="62899"/>
                </a:cubicBezTo>
                <a:cubicBezTo>
                  <a:pt x="96461" y="62676"/>
                  <a:pt x="96461" y="62230"/>
                  <a:pt x="96461" y="62230"/>
                </a:cubicBezTo>
                <a:cubicBezTo>
                  <a:pt x="96461" y="62230"/>
                  <a:pt x="95769" y="62230"/>
                  <a:pt x="95538" y="62230"/>
                </a:cubicBezTo>
                <a:cubicBezTo>
                  <a:pt x="95538" y="62007"/>
                  <a:pt x="95538" y="62007"/>
                  <a:pt x="95538" y="62007"/>
                </a:cubicBezTo>
                <a:cubicBezTo>
                  <a:pt x="95538" y="62007"/>
                  <a:pt x="95769" y="61338"/>
                  <a:pt x="96000" y="61338"/>
                </a:cubicBezTo>
                <a:cubicBezTo>
                  <a:pt x="96000" y="61115"/>
                  <a:pt x="96000" y="60892"/>
                  <a:pt x="96000" y="60892"/>
                </a:cubicBezTo>
                <a:cubicBezTo>
                  <a:pt x="96000" y="60892"/>
                  <a:pt x="96000" y="60669"/>
                  <a:pt x="96000" y="60223"/>
                </a:cubicBezTo>
                <a:cubicBezTo>
                  <a:pt x="96230" y="60000"/>
                  <a:pt x="96000" y="60000"/>
                  <a:pt x="96000" y="60000"/>
                </a:cubicBezTo>
                <a:cubicBezTo>
                  <a:pt x="96000" y="60000"/>
                  <a:pt x="95769" y="59776"/>
                  <a:pt x="95538" y="59776"/>
                </a:cubicBezTo>
                <a:cubicBezTo>
                  <a:pt x="95538" y="59776"/>
                  <a:pt x="95538" y="59776"/>
                  <a:pt x="95769" y="59553"/>
                </a:cubicBezTo>
                <a:cubicBezTo>
                  <a:pt x="96000" y="59107"/>
                  <a:pt x="96000" y="59330"/>
                  <a:pt x="96000" y="59330"/>
                </a:cubicBezTo>
                <a:cubicBezTo>
                  <a:pt x="96000" y="58884"/>
                  <a:pt x="96000" y="58884"/>
                  <a:pt x="96000" y="58884"/>
                </a:cubicBezTo>
                <a:cubicBezTo>
                  <a:pt x="95538" y="58661"/>
                  <a:pt x="95538" y="58661"/>
                  <a:pt x="95538" y="58661"/>
                </a:cubicBezTo>
                <a:cubicBezTo>
                  <a:pt x="94846" y="58215"/>
                  <a:pt x="94846" y="58215"/>
                  <a:pt x="94846" y="58215"/>
                </a:cubicBezTo>
                <a:cubicBezTo>
                  <a:pt x="94846" y="58215"/>
                  <a:pt x="93923" y="58215"/>
                  <a:pt x="93923" y="58215"/>
                </a:cubicBezTo>
                <a:cubicBezTo>
                  <a:pt x="93923" y="58215"/>
                  <a:pt x="93230" y="58215"/>
                  <a:pt x="93230" y="58215"/>
                </a:cubicBezTo>
                <a:cubicBezTo>
                  <a:pt x="92769" y="58438"/>
                  <a:pt x="92769" y="58438"/>
                  <a:pt x="92769" y="58438"/>
                </a:cubicBezTo>
                <a:cubicBezTo>
                  <a:pt x="92538" y="58661"/>
                  <a:pt x="92538" y="58661"/>
                  <a:pt x="92538" y="58661"/>
                </a:cubicBezTo>
                <a:cubicBezTo>
                  <a:pt x="91846" y="58884"/>
                  <a:pt x="91846" y="58884"/>
                  <a:pt x="91846" y="58884"/>
                </a:cubicBezTo>
                <a:cubicBezTo>
                  <a:pt x="91153" y="59107"/>
                  <a:pt x="91153" y="59107"/>
                  <a:pt x="91153" y="59107"/>
                </a:cubicBezTo>
                <a:cubicBezTo>
                  <a:pt x="91153" y="59107"/>
                  <a:pt x="90923" y="59553"/>
                  <a:pt x="90692" y="59776"/>
                </a:cubicBezTo>
                <a:cubicBezTo>
                  <a:pt x="90692" y="59776"/>
                  <a:pt x="90692" y="60000"/>
                  <a:pt x="90692" y="60000"/>
                </a:cubicBezTo>
                <a:cubicBezTo>
                  <a:pt x="91153" y="60223"/>
                  <a:pt x="91153" y="60223"/>
                  <a:pt x="91153" y="60223"/>
                </a:cubicBezTo>
                <a:cubicBezTo>
                  <a:pt x="91153" y="60669"/>
                  <a:pt x="91153" y="60669"/>
                  <a:pt x="91153" y="60669"/>
                </a:cubicBezTo>
                <a:cubicBezTo>
                  <a:pt x="91384" y="60669"/>
                  <a:pt x="91384" y="60669"/>
                  <a:pt x="91384" y="60669"/>
                </a:cubicBezTo>
                <a:cubicBezTo>
                  <a:pt x="91153" y="61115"/>
                  <a:pt x="91153" y="61115"/>
                  <a:pt x="91153" y="61115"/>
                </a:cubicBezTo>
                <a:cubicBezTo>
                  <a:pt x="91153" y="61115"/>
                  <a:pt x="90923" y="61115"/>
                  <a:pt x="90692" y="61338"/>
                </a:cubicBezTo>
                <a:cubicBezTo>
                  <a:pt x="90461" y="61561"/>
                  <a:pt x="90461" y="61784"/>
                  <a:pt x="90461" y="61784"/>
                </a:cubicBezTo>
                <a:cubicBezTo>
                  <a:pt x="89769" y="62007"/>
                  <a:pt x="89769" y="62007"/>
                  <a:pt x="89769" y="62007"/>
                </a:cubicBezTo>
                <a:cubicBezTo>
                  <a:pt x="89307" y="61784"/>
                  <a:pt x="89307" y="61784"/>
                  <a:pt x="89307" y="61784"/>
                </a:cubicBezTo>
                <a:cubicBezTo>
                  <a:pt x="88846" y="62007"/>
                  <a:pt x="88846" y="62007"/>
                  <a:pt x="88846" y="62007"/>
                </a:cubicBezTo>
                <a:cubicBezTo>
                  <a:pt x="88615" y="62007"/>
                  <a:pt x="88615" y="62007"/>
                  <a:pt x="88615" y="62007"/>
                </a:cubicBezTo>
                <a:cubicBezTo>
                  <a:pt x="88615" y="61561"/>
                  <a:pt x="88615" y="61561"/>
                  <a:pt x="88615" y="61561"/>
                </a:cubicBezTo>
                <a:cubicBezTo>
                  <a:pt x="88384" y="61338"/>
                  <a:pt x="88384" y="61338"/>
                  <a:pt x="88384" y="61338"/>
                </a:cubicBezTo>
                <a:cubicBezTo>
                  <a:pt x="88615" y="61115"/>
                  <a:pt x="88615" y="61115"/>
                  <a:pt x="88615" y="61115"/>
                </a:cubicBezTo>
                <a:cubicBezTo>
                  <a:pt x="88615" y="61115"/>
                  <a:pt x="88846" y="60892"/>
                  <a:pt x="88846" y="60892"/>
                </a:cubicBezTo>
                <a:cubicBezTo>
                  <a:pt x="89076" y="60892"/>
                  <a:pt x="89307" y="60669"/>
                  <a:pt x="89307" y="60669"/>
                </a:cubicBezTo>
                <a:cubicBezTo>
                  <a:pt x="89769" y="60669"/>
                  <a:pt x="89769" y="60669"/>
                  <a:pt x="89769" y="60669"/>
                </a:cubicBezTo>
                <a:cubicBezTo>
                  <a:pt x="89769" y="60223"/>
                  <a:pt x="89769" y="60223"/>
                  <a:pt x="89769" y="60223"/>
                </a:cubicBezTo>
                <a:cubicBezTo>
                  <a:pt x="90000" y="59776"/>
                  <a:pt x="90000" y="59776"/>
                  <a:pt x="90000" y="59776"/>
                </a:cubicBezTo>
                <a:cubicBezTo>
                  <a:pt x="90000" y="59107"/>
                  <a:pt x="90000" y="59107"/>
                  <a:pt x="90000" y="59107"/>
                </a:cubicBezTo>
                <a:cubicBezTo>
                  <a:pt x="89769" y="58884"/>
                  <a:pt x="89769" y="58884"/>
                  <a:pt x="89769" y="58884"/>
                </a:cubicBezTo>
                <a:cubicBezTo>
                  <a:pt x="89538" y="58661"/>
                  <a:pt x="89538" y="58661"/>
                  <a:pt x="89538" y="58661"/>
                </a:cubicBezTo>
                <a:cubicBezTo>
                  <a:pt x="89538" y="58438"/>
                  <a:pt x="89538" y="58438"/>
                  <a:pt x="89538" y="58438"/>
                </a:cubicBezTo>
                <a:cubicBezTo>
                  <a:pt x="89538" y="57992"/>
                  <a:pt x="89538" y="57992"/>
                  <a:pt x="89538" y="57992"/>
                </a:cubicBezTo>
                <a:cubicBezTo>
                  <a:pt x="89769" y="57769"/>
                  <a:pt x="89769" y="57769"/>
                  <a:pt x="89769" y="57769"/>
                </a:cubicBezTo>
                <a:cubicBezTo>
                  <a:pt x="89769" y="57769"/>
                  <a:pt x="90000" y="57546"/>
                  <a:pt x="90000" y="57323"/>
                </a:cubicBezTo>
                <a:cubicBezTo>
                  <a:pt x="90000" y="57323"/>
                  <a:pt x="90000" y="56877"/>
                  <a:pt x="90000" y="56877"/>
                </a:cubicBezTo>
                <a:cubicBezTo>
                  <a:pt x="90000" y="56877"/>
                  <a:pt x="90000" y="56654"/>
                  <a:pt x="90000" y="56654"/>
                </a:cubicBezTo>
                <a:cubicBezTo>
                  <a:pt x="90923" y="55762"/>
                  <a:pt x="90923" y="55762"/>
                  <a:pt x="90923" y="55762"/>
                </a:cubicBezTo>
                <a:cubicBezTo>
                  <a:pt x="91384" y="55315"/>
                  <a:pt x="91384" y="55315"/>
                  <a:pt x="91384" y="55315"/>
                </a:cubicBezTo>
                <a:cubicBezTo>
                  <a:pt x="91384" y="55315"/>
                  <a:pt x="91846" y="55315"/>
                  <a:pt x="91846" y="55092"/>
                </a:cubicBezTo>
                <a:cubicBezTo>
                  <a:pt x="91846" y="55092"/>
                  <a:pt x="92307" y="55092"/>
                  <a:pt x="92307" y="55092"/>
                </a:cubicBezTo>
                <a:cubicBezTo>
                  <a:pt x="92307" y="55092"/>
                  <a:pt x="92538" y="54869"/>
                  <a:pt x="92538" y="54869"/>
                </a:cubicBezTo>
                <a:cubicBezTo>
                  <a:pt x="92769" y="54646"/>
                  <a:pt x="92769" y="54423"/>
                  <a:pt x="92769" y="54423"/>
                </a:cubicBezTo>
                <a:cubicBezTo>
                  <a:pt x="92769" y="54423"/>
                  <a:pt x="92769" y="54200"/>
                  <a:pt x="92769" y="54200"/>
                </a:cubicBezTo>
                <a:cubicBezTo>
                  <a:pt x="92769" y="54200"/>
                  <a:pt x="92769" y="53977"/>
                  <a:pt x="92769" y="53977"/>
                </a:cubicBezTo>
                <a:cubicBezTo>
                  <a:pt x="92769" y="53977"/>
                  <a:pt x="92769" y="53754"/>
                  <a:pt x="92769" y="53754"/>
                </a:cubicBezTo>
                <a:cubicBezTo>
                  <a:pt x="92769" y="53531"/>
                  <a:pt x="93000" y="53531"/>
                  <a:pt x="93000" y="53531"/>
                </a:cubicBezTo>
                <a:cubicBezTo>
                  <a:pt x="93000" y="53085"/>
                  <a:pt x="93000" y="53085"/>
                  <a:pt x="93000" y="53085"/>
                </a:cubicBezTo>
                <a:cubicBezTo>
                  <a:pt x="93000" y="53085"/>
                  <a:pt x="92769" y="52862"/>
                  <a:pt x="92769" y="52639"/>
                </a:cubicBezTo>
                <a:cubicBezTo>
                  <a:pt x="92769" y="52639"/>
                  <a:pt x="92769" y="52639"/>
                  <a:pt x="92769" y="52416"/>
                </a:cubicBezTo>
                <a:cubicBezTo>
                  <a:pt x="93000" y="52193"/>
                  <a:pt x="93230" y="52193"/>
                  <a:pt x="93230" y="52193"/>
                </a:cubicBezTo>
                <a:cubicBezTo>
                  <a:pt x="93692" y="52193"/>
                  <a:pt x="93692" y="52193"/>
                  <a:pt x="93692" y="52193"/>
                </a:cubicBezTo>
                <a:cubicBezTo>
                  <a:pt x="93692" y="52193"/>
                  <a:pt x="93923" y="51970"/>
                  <a:pt x="94153" y="51970"/>
                </a:cubicBezTo>
                <a:cubicBezTo>
                  <a:pt x="94153" y="51970"/>
                  <a:pt x="94384" y="51747"/>
                  <a:pt x="94384" y="51747"/>
                </a:cubicBezTo>
                <a:cubicBezTo>
                  <a:pt x="94615" y="51301"/>
                  <a:pt x="94615" y="51301"/>
                  <a:pt x="94615" y="51301"/>
                </a:cubicBezTo>
                <a:cubicBezTo>
                  <a:pt x="94846" y="51301"/>
                  <a:pt x="94846" y="51301"/>
                  <a:pt x="94846" y="51301"/>
                </a:cubicBezTo>
                <a:cubicBezTo>
                  <a:pt x="95076" y="51078"/>
                  <a:pt x="95076" y="51078"/>
                  <a:pt x="95076" y="51078"/>
                </a:cubicBezTo>
                <a:cubicBezTo>
                  <a:pt x="95076" y="50631"/>
                  <a:pt x="95076" y="50631"/>
                  <a:pt x="95076" y="50631"/>
                </a:cubicBezTo>
                <a:cubicBezTo>
                  <a:pt x="95538" y="50408"/>
                  <a:pt x="95538" y="50408"/>
                  <a:pt x="95538" y="50408"/>
                </a:cubicBezTo>
                <a:cubicBezTo>
                  <a:pt x="95538" y="50185"/>
                  <a:pt x="95538" y="50185"/>
                  <a:pt x="95538" y="50185"/>
                </a:cubicBezTo>
                <a:cubicBezTo>
                  <a:pt x="95769" y="49962"/>
                  <a:pt x="95769" y="49962"/>
                  <a:pt x="95769" y="49962"/>
                </a:cubicBezTo>
                <a:cubicBezTo>
                  <a:pt x="96000" y="49962"/>
                  <a:pt x="96000" y="49962"/>
                  <a:pt x="96000" y="49962"/>
                </a:cubicBezTo>
                <a:cubicBezTo>
                  <a:pt x="96461" y="49516"/>
                  <a:pt x="96461" y="49516"/>
                  <a:pt x="96461" y="49516"/>
                </a:cubicBezTo>
                <a:cubicBezTo>
                  <a:pt x="96923" y="49293"/>
                  <a:pt x="96923" y="49293"/>
                  <a:pt x="96923" y="49293"/>
                </a:cubicBezTo>
                <a:cubicBezTo>
                  <a:pt x="96923" y="49293"/>
                  <a:pt x="97153" y="48847"/>
                  <a:pt x="97153" y="48624"/>
                </a:cubicBezTo>
                <a:cubicBezTo>
                  <a:pt x="97153" y="48401"/>
                  <a:pt x="97153" y="48401"/>
                  <a:pt x="97384" y="48178"/>
                </a:cubicBezTo>
                <a:cubicBezTo>
                  <a:pt x="97384" y="48178"/>
                  <a:pt x="97615" y="48178"/>
                  <a:pt x="97846" y="47955"/>
                </a:cubicBezTo>
                <a:cubicBezTo>
                  <a:pt x="97846" y="47955"/>
                  <a:pt x="97846" y="47732"/>
                  <a:pt x="97846" y="47732"/>
                </a:cubicBezTo>
                <a:cubicBezTo>
                  <a:pt x="98076" y="47732"/>
                  <a:pt x="98076" y="47732"/>
                  <a:pt x="98076" y="47732"/>
                </a:cubicBezTo>
                <a:cubicBezTo>
                  <a:pt x="98076" y="47286"/>
                  <a:pt x="98076" y="47286"/>
                  <a:pt x="98076" y="47286"/>
                </a:cubicBezTo>
                <a:cubicBezTo>
                  <a:pt x="98076" y="47063"/>
                  <a:pt x="98076" y="47063"/>
                  <a:pt x="98076" y="47063"/>
                </a:cubicBezTo>
                <a:cubicBezTo>
                  <a:pt x="98076" y="47063"/>
                  <a:pt x="97615" y="47286"/>
                  <a:pt x="97615" y="47286"/>
                </a:cubicBezTo>
                <a:cubicBezTo>
                  <a:pt x="97615" y="47286"/>
                  <a:pt x="97384" y="47286"/>
                  <a:pt x="97153" y="47286"/>
                </a:cubicBezTo>
                <a:cubicBezTo>
                  <a:pt x="97153" y="47286"/>
                  <a:pt x="96923" y="47286"/>
                  <a:pt x="96692" y="47286"/>
                </a:cubicBezTo>
                <a:cubicBezTo>
                  <a:pt x="96461" y="47063"/>
                  <a:pt x="96692" y="47063"/>
                  <a:pt x="96692" y="47063"/>
                </a:cubicBezTo>
                <a:cubicBezTo>
                  <a:pt x="96692" y="47063"/>
                  <a:pt x="96923" y="47063"/>
                  <a:pt x="96923" y="46840"/>
                </a:cubicBezTo>
                <a:cubicBezTo>
                  <a:pt x="96923" y="46840"/>
                  <a:pt x="97153" y="46394"/>
                  <a:pt x="97153" y="46394"/>
                </a:cubicBezTo>
                <a:cubicBezTo>
                  <a:pt x="97384" y="46394"/>
                  <a:pt x="97384" y="46394"/>
                  <a:pt x="97384" y="46394"/>
                </a:cubicBezTo>
                <a:cubicBezTo>
                  <a:pt x="97615" y="46171"/>
                  <a:pt x="97615" y="46171"/>
                  <a:pt x="97615" y="46171"/>
                </a:cubicBezTo>
                <a:cubicBezTo>
                  <a:pt x="97615" y="46171"/>
                  <a:pt x="97846" y="46171"/>
                  <a:pt x="97846" y="46171"/>
                </a:cubicBezTo>
                <a:cubicBezTo>
                  <a:pt x="97846" y="46171"/>
                  <a:pt x="97615" y="45947"/>
                  <a:pt x="97615" y="45947"/>
                </a:cubicBezTo>
                <a:cubicBezTo>
                  <a:pt x="97615" y="45501"/>
                  <a:pt x="97615" y="45501"/>
                  <a:pt x="97615" y="45501"/>
                </a:cubicBezTo>
                <a:cubicBezTo>
                  <a:pt x="98076" y="45724"/>
                  <a:pt x="98076" y="45724"/>
                  <a:pt x="98076" y="45724"/>
                </a:cubicBezTo>
                <a:cubicBezTo>
                  <a:pt x="98769" y="45724"/>
                  <a:pt x="98769" y="45724"/>
                  <a:pt x="98769" y="45724"/>
                </a:cubicBezTo>
                <a:cubicBezTo>
                  <a:pt x="99000" y="45501"/>
                  <a:pt x="99000" y="45501"/>
                  <a:pt x="99000" y="45501"/>
                </a:cubicBezTo>
                <a:cubicBezTo>
                  <a:pt x="99000" y="45501"/>
                  <a:pt x="99230" y="45947"/>
                  <a:pt x="99230" y="45947"/>
                </a:cubicBezTo>
                <a:cubicBezTo>
                  <a:pt x="99230" y="46171"/>
                  <a:pt x="99230" y="46394"/>
                  <a:pt x="99461" y="46394"/>
                </a:cubicBezTo>
                <a:cubicBezTo>
                  <a:pt x="99461" y="46394"/>
                  <a:pt x="99923" y="46617"/>
                  <a:pt x="99923" y="46617"/>
                </a:cubicBezTo>
                <a:cubicBezTo>
                  <a:pt x="99923" y="46617"/>
                  <a:pt x="99923" y="46394"/>
                  <a:pt x="100153" y="46394"/>
                </a:cubicBezTo>
                <a:cubicBezTo>
                  <a:pt x="100153" y="46394"/>
                  <a:pt x="100384" y="46394"/>
                  <a:pt x="100384" y="46394"/>
                </a:cubicBezTo>
                <a:cubicBezTo>
                  <a:pt x="100615" y="46394"/>
                  <a:pt x="100846" y="46394"/>
                  <a:pt x="100846" y="46394"/>
                </a:cubicBezTo>
                <a:cubicBezTo>
                  <a:pt x="100846" y="46394"/>
                  <a:pt x="101076" y="46394"/>
                  <a:pt x="101307" y="46394"/>
                </a:cubicBezTo>
                <a:cubicBezTo>
                  <a:pt x="101307" y="46171"/>
                  <a:pt x="101307" y="46171"/>
                  <a:pt x="101307" y="46171"/>
                </a:cubicBezTo>
                <a:cubicBezTo>
                  <a:pt x="101307" y="46171"/>
                  <a:pt x="101307" y="45947"/>
                  <a:pt x="101307" y="45947"/>
                </a:cubicBezTo>
                <a:cubicBezTo>
                  <a:pt x="101307" y="45947"/>
                  <a:pt x="101538" y="45501"/>
                  <a:pt x="101538" y="45501"/>
                </a:cubicBezTo>
                <a:cubicBezTo>
                  <a:pt x="101538" y="45501"/>
                  <a:pt x="101769" y="45501"/>
                  <a:pt x="101769" y="45501"/>
                </a:cubicBezTo>
                <a:cubicBezTo>
                  <a:pt x="101769" y="45501"/>
                  <a:pt x="102000" y="45501"/>
                  <a:pt x="102000" y="45501"/>
                </a:cubicBezTo>
                <a:cubicBezTo>
                  <a:pt x="102000" y="45501"/>
                  <a:pt x="102000" y="45278"/>
                  <a:pt x="102000" y="45278"/>
                </a:cubicBezTo>
                <a:cubicBezTo>
                  <a:pt x="102000" y="45278"/>
                  <a:pt x="102000" y="45055"/>
                  <a:pt x="102000" y="45055"/>
                </a:cubicBezTo>
                <a:cubicBezTo>
                  <a:pt x="102000" y="45055"/>
                  <a:pt x="102230" y="45055"/>
                  <a:pt x="102230" y="45055"/>
                </a:cubicBezTo>
                <a:cubicBezTo>
                  <a:pt x="102230" y="44609"/>
                  <a:pt x="102230" y="44609"/>
                  <a:pt x="102230" y="44609"/>
                </a:cubicBezTo>
                <a:cubicBezTo>
                  <a:pt x="102230" y="44609"/>
                  <a:pt x="102692" y="44609"/>
                  <a:pt x="102692" y="44609"/>
                </a:cubicBezTo>
                <a:cubicBezTo>
                  <a:pt x="102923" y="44609"/>
                  <a:pt x="102692" y="44609"/>
                  <a:pt x="102692" y="44609"/>
                </a:cubicBezTo>
                <a:cubicBezTo>
                  <a:pt x="103384" y="44386"/>
                  <a:pt x="103384" y="44386"/>
                  <a:pt x="103384" y="44386"/>
                </a:cubicBezTo>
                <a:cubicBezTo>
                  <a:pt x="103384" y="44386"/>
                  <a:pt x="103384" y="44386"/>
                  <a:pt x="103384" y="44609"/>
                </a:cubicBezTo>
                <a:cubicBezTo>
                  <a:pt x="102923" y="43940"/>
                  <a:pt x="102230" y="43048"/>
                  <a:pt x="102230" y="43048"/>
                </a:cubicBezTo>
                <a:cubicBezTo>
                  <a:pt x="102692" y="42156"/>
                  <a:pt x="102692" y="42156"/>
                  <a:pt x="102692" y="42156"/>
                </a:cubicBezTo>
                <a:cubicBezTo>
                  <a:pt x="102692" y="42156"/>
                  <a:pt x="102923" y="40594"/>
                  <a:pt x="102923" y="40148"/>
                </a:cubicBezTo>
                <a:cubicBezTo>
                  <a:pt x="102923" y="39925"/>
                  <a:pt x="102923" y="38587"/>
                  <a:pt x="102923" y="38587"/>
                </a:cubicBezTo>
                <a:cubicBezTo>
                  <a:pt x="102923" y="38587"/>
                  <a:pt x="102000" y="38364"/>
                  <a:pt x="102692" y="37695"/>
                </a:cubicBezTo>
                <a:cubicBezTo>
                  <a:pt x="103384" y="36802"/>
                  <a:pt x="104076" y="35687"/>
                  <a:pt x="104076" y="35687"/>
                </a:cubicBezTo>
                <a:cubicBezTo>
                  <a:pt x="104076" y="33457"/>
                  <a:pt x="104076" y="33457"/>
                  <a:pt x="104076" y="33457"/>
                </a:cubicBezTo>
                <a:cubicBezTo>
                  <a:pt x="104076" y="33457"/>
                  <a:pt x="103384" y="32788"/>
                  <a:pt x="104307" y="32342"/>
                </a:cubicBezTo>
                <a:cubicBezTo>
                  <a:pt x="105230" y="31672"/>
                  <a:pt x="106846" y="29665"/>
                  <a:pt x="106846" y="29665"/>
                </a:cubicBezTo>
                <a:cubicBezTo>
                  <a:pt x="108461" y="27881"/>
                  <a:pt x="108461" y="27881"/>
                  <a:pt x="108461" y="27881"/>
                </a:cubicBezTo>
                <a:cubicBezTo>
                  <a:pt x="105692" y="27211"/>
                  <a:pt x="105692" y="27211"/>
                  <a:pt x="105692" y="27211"/>
                </a:cubicBezTo>
                <a:cubicBezTo>
                  <a:pt x="104076" y="26988"/>
                  <a:pt x="104076" y="26988"/>
                  <a:pt x="104076" y="26988"/>
                </a:cubicBezTo>
                <a:cubicBezTo>
                  <a:pt x="102923" y="26319"/>
                  <a:pt x="102923" y="26319"/>
                  <a:pt x="102923" y="26319"/>
                </a:cubicBezTo>
                <a:cubicBezTo>
                  <a:pt x="102230" y="25204"/>
                  <a:pt x="102230" y="25204"/>
                  <a:pt x="102230" y="25204"/>
                </a:cubicBezTo>
                <a:cubicBezTo>
                  <a:pt x="101538" y="25650"/>
                  <a:pt x="101538" y="25650"/>
                  <a:pt x="101538" y="25650"/>
                </a:cubicBezTo>
                <a:cubicBezTo>
                  <a:pt x="100846" y="26096"/>
                  <a:pt x="100846" y="26096"/>
                  <a:pt x="100846" y="26096"/>
                </a:cubicBezTo>
                <a:cubicBezTo>
                  <a:pt x="99230" y="25873"/>
                  <a:pt x="99230" y="25873"/>
                  <a:pt x="99230" y="25873"/>
                </a:cubicBezTo>
                <a:cubicBezTo>
                  <a:pt x="98076" y="24758"/>
                  <a:pt x="98076" y="24758"/>
                  <a:pt x="98076" y="24758"/>
                </a:cubicBezTo>
                <a:cubicBezTo>
                  <a:pt x="97153" y="25427"/>
                  <a:pt x="97153" y="25427"/>
                  <a:pt x="97153" y="25427"/>
                </a:cubicBezTo>
                <a:cubicBezTo>
                  <a:pt x="96230" y="24758"/>
                  <a:pt x="96230" y="24758"/>
                  <a:pt x="96230" y="24758"/>
                </a:cubicBezTo>
                <a:cubicBezTo>
                  <a:pt x="95538" y="23643"/>
                  <a:pt x="95538" y="23643"/>
                  <a:pt x="95538" y="23643"/>
                </a:cubicBezTo>
                <a:cubicBezTo>
                  <a:pt x="95307" y="22750"/>
                  <a:pt x="95307" y="22750"/>
                  <a:pt x="95307" y="22750"/>
                </a:cubicBezTo>
                <a:cubicBezTo>
                  <a:pt x="94153" y="21635"/>
                  <a:pt x="94153" y="21635"/>
                  <a:pt x="94153" y="21635"/>
                </a:cubicBezTo>
                <a:cubicBezTo>
                  <a:pt x="93692" y="21635"/>
                  <a:pt x="93692" y="21635"/>
                  <a:pt x="93692" y="21635"/>
                </a:cubicBezTo>
                <a:cubicBezTo>
                  <a:pt x="93692" y="21858"/>
                  <a:pt x="93461" y="21858"/>
                  <a:pt x="93461" y="21858"/>
                </a:cubicBezTo>
                <a:cubicBezTo>
                  <a:pt x="93461" y="21858"/>
                  <a:pt x="92769" y="21635"/>
                  <a:pt x="92769" y="21635"/>
                </a:cubicBezTo>
                <a:cubicBezTo>
                  <a:pt x="92769" y="21189"/>
                  <a:pt x="92769" y="21189"/>
                  <a:pt x="92769" y="21189"/>
                </a:cubicBezTo>
                <a:cubicBezTo>
                  <a:pt x="92538" y="20966"/>
                  <a:pt x="92538" y="20966"/>
                  <a:pt x="92538" y="20966"/>
                </a:cubicBezTo>
                <a:cubicBezTo>
                  <a:pt x="92076" y="20966"/>
                  <a:pt x="92076" y="20966"/>
                  <a:pt x="92076" y="20966"/>
                </a:cubicBezTo>
                <a:cubicBezTo>
                  <a:pt x="91615" y="21189"/>
                  <a:pt x="91615" y="21189"/>
                  <a:pt x="91615" y="21189"/>
                </a:cubicBezTo>
                <a:cubicBezTo>
                  <a:pt x="91384" y="21412"/>
                  <a:pt x="91384" y="21412"/>
                  <a:pt x="91384" y="21412"/>
                </a:cubicBezTo>
                <a:cubicBezTo>
                  <a:pt x="91384" y="21412"/>
                  <a:pt x="91384" y="21412"/>
                  <a:pt x="91384" y="21412"/>
                </a:cubicBezTo>
                <a:cubicBezTo>
                  <a:pt x="91153" y="21635"/>
                  <a:pt x="91153" y="21635"/>
                  <a:pt x="91153" y="21635"/>
                </a:cubicBezTo>
                <a:cubicBezTo>
                  <a:pt x="90923" y="21635"/>
                  <a:pt x="90923" y="21635"/>
                  <a:pt x="90923" y="21635"/>
                </a:cubicBezTo>
                <a:cubicBezTo>
                  <a:pt x="90923" y="21635"/>
                  <a:pt x="90923" y="21635"/>
                  <a:pt x="90923" y="21635"/>
                </a:cubicBezTo>
                <a:cubicBezTo>
                  <a:pt x="90923" y="21635"/>
                  <a:pt x="90692" y="21635"/>
                  <a:pt x="90692" y="21635"/>
                </a:cubicBezTo>
                <a:cubicBezTo>
                  <a:pt x="90230" y="21635"/>
                  <a:pt x="90230" y="21635"/>
                  <a:pt x="90230" y="21635"/>
                </a:cubicBezTo>
                <a:cubicBezTo>
                  <a:pt x="90230" y="21412"/>
                  <a:pt x="90230" y="21412"/>
                  <a:pt x="90230" y="21412"/>
                </a:cubicBezTo>
                <a:cubicBezTo>
                  <a:pt x="90230" y="21189"/>
                  <a:pt x="90230" y="21189"/>
                  <a:pt x="90230" y="21189"/>
                </a:cubicBezTo>
                <a:cubicBezTo>
                  <a:pt x="89769" y="20966"/>
                  <a:pt x="89769" y="20966"/>
                  <a:pt x="89769" y="20966"/>
                </a:cubicBezTo>
                <a:cubicBezTo>
                  <a:pt x="89538" y="20966"/>
                  <a:pt x="89538" y="20966"/>
                  <a:pt x="89538" y="20966"/>
                </a:cubicBezTo>
                <a:cubicBezTo>
                  <a:pt x="89538" y="20966"/>
                  <a:pt x="89307" y="20743"/>
                  <a:pt x="89307" y="20743"/>
                </a:cubicBezTo>
                <a:cubicBezTo>
                  <a:pt x="89076" y="20743"/>
                  <a:pt x="89076" y="20520"/>
                  <a:pt x="89076" y="20520"/>
                </a:cubicBezTo>
                <a:cubicBezTo>
                  <a:pt x="88846" y="20297"/>
                  <a:pt x="88846" y="20297"/>
                  <a:pt x="88846" y="20297"/>
                </a:cubicBezTo>
                <a:cubicBezTo>
                  <a:pt x="89307" y="20297"/>
                  <a:pt x="89307" y="20297"/>
                  <a:pt x="89307" y="20297"/>
                </a:cubicBezTo>
                <a:cubicBezTo>
                  <a:pt x="89307" y="20297"/>
                  <a:pt x="89307" y="20074"/>
                  <a:pt x="89307" y="20074"/>
                </a:cubicBezTo>
                <a:cubicBezTo>
                  <a:pt x="89307" y="20074"/>
                  <a:pt x="89307" y="20074"/>
                  <a:pt x="89307" y="20074"/>
                </a:cubicBezTo>
                <a:cubicBezTo>
                  <a:pt x="89307" y="20074"/>
                  <a:pt x="89076" y="20074"/>
                  <a:pt x="89076" y="20074"/>
                </a:cubicBezTo>
                <a:cubicBezTo>
                  <a:pt x="88615" y="20074"/>
                  <a:pt x="88615" y="20074"/>
                  <a:pt x="88615" y="20074"/>
                </a:cubicBezTo>
                <a:cubicBezTo>
                  <a:pt x="88384" y="20297"/>
                  <a:pt x="88384" y="20297"/>
                  <a:pt x="88384" y="20297"/>
                </a:cubicBezTo>
                <a:cubicBezTo>
                  <a:pt x="87923" y="20297"/>
                  <a:pt x="87923" y="20297"/>
                  <a:pt x="87923" y="20297"/>
                </a:cubicBezTo>
                <a:cubicBezTo>
                  <a:pt x="87461" y="20520"/>
                  <a:pt x="87461" y="20520"/>
                  <a:pt x="87461" y="20520"/>
                </a:cubicBezTo>
                <a:cubicBezTo>
                  <a:pt x="86769" y="20520"/>
                  <a:pt x="86769" y="20520"/>
                  <a:pt x="86769" y="20520"/>
                </a:cubicBezTo>
                <a:cubicBezTo>
                  <a:pt x="86538" y="20074"/>
                  <a:pt x="86538" y="20074"/>
                  <a:pt x="86538" y="20074"/>
                </a:cubicBezTo>
                <a:cubicBezTo>
                  <a:pt x="86307" y="19628"/>
                  <a:pt x="86307" y="19628"/>
                  <a:pt x="86307" y="19628"/>
                </a:cubicBezTo>
                <a:cubicBezTo>
                  <a:pt x="86076" y="19405"/>
                  <a:pt x="86076" y="19405"/>
                  <a:pt x="86076" y="19405"/>
                </a:cubicBezTo>
                <a:cubicBezTo>
                  <a:pt x="85846" y="19405"/>
                  <a:pt x="85846" y="19405"/>
                  <a:pt x="85846" y="19405"/>
                </a:cubicBezTo>
                <a:cubicBezTo>
                  <a:pt x="85153" y="19182"/>
                  <a:pt x="85153" y="19182"/>
                  <a:pt x="85153" y="19182"/>
                </a:cubicBezTo>
                <a:cubicBezTo>
                  <a:pt x="85384" y="18736"/>
                  <a:pt x="85384" y="18736"/>
                  <a:pt x="85384" y="18736"/>
                </a:cubicBezTo>
                <a:cubicBezTo>
                  <a:pt x="85384" y="18736"/>
                  <a:pt x="85153" y="18289"/>
                  <a:pt x="85153" y="18289"/>
                </a:cubicBezTo>
                <a:cubicBezTo>
                  <a:pt x="84923" y="18289"/>
                  <a:pt x="84692" y="18289"/>
                  <a:pt x="84692" y="18289"/>
                </a:cubicBezTo>
                <a:cubicBezTo>
                  <a:pt x="84230" y="17843"/>
                  <a:pt x="84230" y="17843"/>
                  <a:pt x="84230" y="17843"/>
                </a:cubicBezTo>
                <a:cubicBezTo>
                  <a:pt x="84230" y="17843"/>
                  <a:pt x="84230" y="17620"/>
                  <a:pt x="84000" y="17397"/>
                </a:cubicBezTo>
                <a:cubicBezTo>
                  <a:pt x="83769" y="17397"/>
                  <a:pt x="83769" y="17174"/>
                  <a:pt x="83538" y="17174"/>
                </a:cubicBezTo>
                <a:cubicBezTo>
                  <a:pt x="83307" y="17174"/>
                  <a:pt x="82846" y="17174"/>
                  <a:pt x="82846" y="17174"/>
                </a:cubicBezTo>
                <a:cubicBezTo>
                  <a:pt x="82846" y="17174"/>
                  <a:pt x="82615" y="16728"/>
                  <a:pt x="82384" y="16728"/>
                </a:cubicBezTo>
                <a:cubicBezTo>
                  <a:pt x="82384" y="16728"/>
                  <a:pt x="81461" y="16728"/>
                  <a:pt x="81461" y="16728"/>
                </a:cubicBezTo>
                <a:cubicBezTo>
                  <a:pt x="81461" y="16728"/>
                  <a:pt x="81692" y="16059"/>
                  <a:pt x="81692" y="16059"/>
                </a:cubicBezTo>
                <a:cubicBezTo>
                  <a:pt x="81692" y="15836"/>
                  <a:pt x="81692" y="15167"/>
                  <a:pt x="81692" y="15167"/>
                </a:cubicBezTo>
                <a:cubicBezTo>
                  <a:pt x="81692" y="14944"/>
                  <a:pt x="81692" y="14944"/>
                  <a:pt x="81692" y="14944"/>
                </a:cubicBezTo>
                <a:cubicBezTo>
                  <a:pt x="81692" y="14944"/>
                  <a:pt x="81461" y="14721"/>
                  <a:pt x="81692" y="14275"/>
                </a:cubicBezTo>
                <a:cubicBezTo>
                  <a:pt x="81923" y="13828"/>
                  <a:pt x="81692" y="14052"/>
                  <a:pt x="81923" y="13605"/>
                </a:cubicBezTo>
                <a:cubicBezTo>
                  <a:pt x="82153" y="12936"/>
                  <a:pt x="82153" y="12713"/>
                  <a:pt x="82153" y="12713"/>
                </a:cubicBezTo>
                <a:cubicBezTo>
                  <a:pt x="81692" y="12490"/>
                  <a:pt x="81692" y="12490"/>
                  <a:pt x="81692" y="12490"/>
                </a:cubicBezTo>
                <a:cubicBezTo>
                  <a:pt x="81692" y="12490"/>
                  <a:pt x="81461" y="12267"/>
                  <a:pt x="81230" y="12490"/>
                </a:cubicBezTo>
                <a:cubicBezTo>
                  <a:pt x="81230" y="12936"/>
                  <a:pt x="81000" y="12936"/>
                  <a:pt x="81000" y="12936"/>
                </a:cubicBezTo>
                <a:cubicBezTo>
                  <a:pt x="80538" y="13605"/>
                  <a:pt x="80538" y="13605"/>
                  <a:pt x="80538" y="13605"/>
                </a:cubicBezTo>
                <a:cubicBezTo>
                  <a:pt x="80538" y="14275"/>
                  <a:pt x="80538" y="14275"/>
                  <a:pt x="80538" y="14275"/>
                </a:cubicBezTo>
                <a:cubicBezTo>
                  <a:pt x="80538" y="14275"/>
                  <a:pt x="80769" y="14498"/>
                  <a:pt x="80076" y="14498"/>
                </a:cubicBezTo>
                <a:cubicBezTo>
                  <a:pt x="79615" y="14498"/>
                  <a:pt x="79153" y="14498"/>
                  <a:pt x="79153" y="14498"/>
                </a:cubicBezTo>
                <a:cubicBezTo>
                  <a:pt x="79153" y="14498"/>
                  <a:pt x="79615" y="14944"/>
                  <a:pt x="78923" y="14944"/>
                </a:cubicBezTo>
                <a:cubicBezTo>
                  <a:pt x="78461" y="14944"/>
                  <a:pt x="77769" y="14944"/>
                  <a:pt x="77769" y="14944"/>
                </a:cubicBezTo>
                <a:cubicBezTo>
                  <a:pt x="77307" y="14498"/>
                  <a:pt x="77307" y="14498"/>
                  <a:pt x="77307" y="14498"/>
                </a:cubicBezTo>
                <a:cubicBezTo>
                  <a:pt x="76384" y="14721"/>
                  <a:pt x="76384" y="14721"/>
                  <a:pt x="76384" y="14721"/>
                </a:cubicBezTo>
                <a:cubicBezTo>
                  <a:pt x="76384" y="14721"/>
                  <a:pt x="76384" y="14498"/>
                  <a:pt x="76384" y="14052"/>
                </a:cubicBezTo>
                <a:cubicBezTo>
                  <a:pt x="76384" y="13828"/>
                  <a:pt x="76153" y="13382"/>
                  <a:pt x="76384" y="13382"/>
                </a:cubicBezTo>
                <a:cubicBezTo>
                  <a:pt x="76615" y="13382"/>
                  <a:pt x="76846" y="13159"/>
                  <a:pt x="76846" y="13159"/>
                </a:cubicBezTo>
                <a:cubicBezTo>
                  <a:pt x="76615" y="12490"/>
                  <a:pt x="76615" y="12490"/>
                  <a:pt x="76615" y="12490"/>
                </a:cubicBezTo>
                <a:cubicBezTo>
                  <a:pt x="76615" y="12490"/>
                  <a:pt x="76615" y="12490"/>
                  <a:pt x="76615" y="12490"/>
                </a:cubicBezTo>
                <a:cubicBezTo>
                  <a:pt x="76615" y="12490"/>
                  <a:pt x="76384" y="12490"/>
                  <a:pt x="76384" y="12267"/>
                </a:cubicBezTo>
                <a:cubicBezTo>
                  <a:pt x="76384" y="12044"/>
                  <a:pt x="76615" y="11598"/>
                  <a:pt x="76615" y="11598"/>
                </a:cubicBezTo>
                <a:cubicBezTo>
                  <a:pt x="76846" y="11375"/>
                  <a:pt x="76846" y="10929"/>
                  <a:pt x="76846" y="10929"/>
                </a:cubicBezTo>
                <a:cubicBezTo>
                  <a:pt x="76615" y="10929"/>
                  <a:pt x="76615" y="10929"/>
                  <a:pt x="76615" y="10929"/>
                </a:cubicBezTo>
                <a:cubicBezTo>
                  <a:pt x="76615" y="10929"/>
                  <a:pt x="76153" y="11152"/>
                  <a:pt x="76153" y="10706"/>
                </a:cubicBezTo>
                <a:cubicBezTo>
                  <a:pt x="76153" y="10483"/>
                  <a:pt x="75923" y="10037"/>
                  <a:pt x="75923" y="10037"/>
                </a:cubicBezTo>
                <a:cubicBezTo>
                  <a:pt x="75923" y="10037"/>
                  <a:pt x="75461" y="9814"/>
                  <a:pt x="75461" y="9814"/>
                </a:cubicBezTo>
                <a:cubicBezTo>
                  <a:pt x="75230" y="9814"/>
                  <a:pt x="75230" y="9814"/>
                  <a:pt x="75000" y="10037"/>
                </a:cubicBezTo>
                <a:cubicBezTo>
                  <a:pt x="75000" y="10037"/>
                  <a:pt x="74307" y="9814"/>
                  <a:pt x="74307" y="9814"/>
                </a:cubicBezTo>
                <a:cubicBezTo>
                  <a:pt x="74307" y="9814"/>
                  <a:pt x="73615" y="9814"/>
                  <a:pt x="73615" y="9814"/>
                </a:cubicBezTo>
                <a:cubicBezTo>
                  <a:pt x="73384" y="9814"/>
                  <a:pt x="73153" y="10260"/>
                  <a:pt x="73153" y="10260"/>
                </a:cubicBezTo>
                <a:cubicBezTo>
                  <a:pt x="72692" y="9591"/>
                  <a:pt x="72692" y="9591"/>
                  <a:pt x="72692" y="9591"/>
                </a:cubicBezTo>
                <a:cubicBezTo>
                  <a:pt x="72923" y="8921"/>
                  <a:pt x="72923" y="8921"/>
                  <a:pt x="72923" y="8921"/>
                </a:cubicBezTo>
                <a:cubicBezTo>
                  <a:pt x="72923" y="8921"/>
                  <a:pt x="72461" y="8475"/>
                  <a:pt x="72461" y="8252"/>
                </a:cubicBezTo>
                <a:cubicBezTo>
                  <a:pt x="72461" y="8252"/>
                  <a:pt x="72230" y="7806"/>
                  <a:pt x="72230" y="7806"/>
                </a:cubicBezTo>
                <a:cubicBezTo>
                  <a:pt x="71769" y="7806"/>
                  <a:pt x="71769" y="7806"/>
                  <a:pt x="71769" y="7806"/>
                </a:cubicBezTo>
                <a:cubicBezTo>
                  <a:pt x="71538" y="7583"/>
                  <a:pt x="71538" y="7583"/>
                  <a:pt x="71538" y="7583"/>
                </a:cubicBezTo>
                <a:cubicBezTo>
                  <a:pt x="71538" y="7583"/>
                  <a:pt x="71076" y="7583"/>
                  <a:pt x="70846" y="7583"/>
                </a:cubicBezTo>
                <a:cubicBezTo>
                  <a:pt x="70615" y="7583"/>
                  <a:pt x="70615" y="7583"/>
                  <a:pt x="70384" y="7583"/>
                </a:cubicBezTo>
                <a:cubicBezTo>
                  <a:pt x="70384" y="7583"/>
                  <a:pt x="69923" y="7137"/>
                  <a:pt x="69923" y="7137"/>
                </a:cubicBezTo>
                <a:cubicBezTo>
                  <a:pt x="69923" y="6914"/>
                  <a:pt x="69923" y="6691"/>
                  <a:pt x="69923" y="6468"/>
                </a:cubicBezTo>
                <a:cubicBezTo>
                  <a:pt x="69692" y="6245"/>
                  <a:pt x="69461" y="5799"/>
                  <a:pt x="69461" y="5576"/>
                </a:cubicBezTo>
                <a:cubicBezTo>
                  <a:pt x="69461" y="5576"/>
                  <a:pt x="69692" y="5130"/>
                  <a:pt x="69692" y="5130"/>
                </a:cubicBezTo>
                <a:cubicBezTo>
                  <a:pt x="69461" y="4907"/>
                  <a:pt x="69000" y="4460"/>
                  <a:pt x="69000" y="4460"/>
                </a:cubicBezTo>
                <a:cubicBezTo>
                  <a:pt x="68769" y="4014"/>
                  <a:pt x="68769" y="4014"/>
                  <a:pt x="68769" y="4014"/>
                </a:cubicBezTo>
                <a:cubicBezTo>
                  <a:pt x="68769" y="4014"/>
                  <a:pt x="68076" y="4460"/>
                  <a:pt x="67846" y="4460"/>
                </a:cubicBezTo>
                <a:cubicBezTo>
                  <a:pt x="67615" y="4460"/>
                  <a:pt x="67153" y="4237"/>
                  <a:pt x="67153" y="4460"/>
                </a:cubicBezTo>
                <a:cubicBezTo>
                  <a:pt x="67153" y="4460"/>
                  <a:pt x="67384" y="4907"/>
                  <a:pt x="67153" y="4907"/>
                </a:cubicBezTo>
                <a:cubicBezTo>
                  <a:pt x="66923" y="4907"/>
                  <a:pt x="66461" y="4907"/>
                  <a:pt x="66230" y="4684"/>
                </a:cubicBezTo>
                <a:cubicBezTo>
                  <a:pt x="66000" y="4460"/>
                  <a:pt x="66000" y="4237"/>
                  <a:pt x="66000" y="4014"/>
                </a:cubicBezTo>
                <a:cubicBezTo>
                  <a:pt x="65769" y="4014"/>
                  <a:pt x="65769" y="3568"/>
                  <a:pt x="65538" y="3568"/>
                </a:cubicBezTo>
                <a:cubicBezTo>
                  <a:pt x="65307" y="3568"/>
                  <a:pt x="65076" y="3568"/>
                  <a:pt x="65076" y="3345"/>
                </a:cubicBezTo>
                <a:cubicBezTo>
                  <a:pt x="65076" y="3345"/>
                  <a:pt x="65076" y="2676"/>
                  <a:pt x="65076" y="2676"/>
                </a:cubicBezTo>
                <a:cubicBezTo>
                  <a:pt x="65076" y="2230"/>
                  <a:pt x="65076" y="2230"/>
                  <a:pt x="65076" y="2230"/>
                </a:cubicBezTo>
                <a:cubicBezTo>
                  <a:pt x="65076" y="2230"/>
                  <a:pt x="65076" y="1561"/>
                  <a:pt x="64846" y="1561"/>
                </a:cubicBezTo>
                <a:cubicBezTo>
                  <a:pt x="64846" y="1338"/>
                  <a:pt x="64615" y="1115"/>
                  <a:pt x="64615" y="1115"/>
                </a:cubicBezTo>
                <a:cubicBezTo>
                  <a:pt x="64615" y="446"/>
                  <a:pt x="64615" y="446"/>
                  <a:pt x="64615" y="446"/>
                </a:cubicBezTo>
                <a:cubicBezTo>
                  <a:pt x="64846" y="223"/>
                  <a:pt x="64846" y="223"/>
                  <a:pt x="64846" y="223"/>
                </a:cubicBezTo>
                <a:cubicBezTo>
                  <a:pt x="64846" y="223"/>
                  <a:pt x="64846" y="0"/>
                  <a:pt x="65076" y="0"/>
                </a:cubicBezTo>
                <a:cubicBezTo>
                  <a:pt x="59769" y="892"/>
                  <a:pt x="59769" y="892"/>
                  <a:pt x="59769" y="892"/>
                </a:cubicBezTo>
                <a:cubicBezTo>
                  <a:pt x="57461" y="1115"/>
                  <a:pt x="57461" y="1115"/>
                  <a:pt x="57461" y="1115"/>
                </a:cubicBezTo>
                <a:cubicBezTo>
                  <a:pt x="56538" y="2230"/>
                  <a:pt x="56538" y="2230"/>
                  <a:pt x="56538" y="2230"/>
                </a:cubicBezTo>
                <a:cubicBezTo>
                  <a:pt x="56076" y="3345"/>
                  <a:pt x="56076" y="3345"/>
                  <a:pt x="56076" y="3345"/>
                </a:cubicBezTo>
                <a:cubicBezTo>
                  <a:pt x="56307" y="5130"/>
                  <a:pt x="56307" y="5130"/>
                  <a:pt x="56307" y="5130"/>
                </a:cubicBezTo>
                <a:cubicBezTo>
                  <a:pt x="55615" y="6245"/>
                  <a:pt x="55615" y="6245"/>
                  <a:pt x="55615" y="6245"/>
                </a:cubicBezTo>
                <a:cubicBezTo>
                  <a:pt x="55615" y="7583"/>
                  <a:pt x="55615" y="7583"/>
                  <a:pt x="55615" y="7583"/>
                </a:cubicBezTo>
                <a:cubicBezTo>
                  <a:pt x="55615" y="9591"/>
                  <a:pt x="55615" y="9591"/>
                  <a:pt x="55615" y="9591"/>
                </a:cubicBezTo>
                <a:cubicBezTo>
                  <a:pt x="54461" y="10260"/>
                  <a:pt x="54461" y="10260"/>
                  <a:pt x="54461" y="10260"/>
                </a:cubicBezTo>
                <a:cubicBezTo>
                  <a:pt x="52846" y="11821"/>
                  <a:pt x="52846" y="11821"/>
                  <a:pt x="52846" y="11821"/>
                </a:cubicBezTo>
                <a:cubicBezTo>
                  <a:pt x="50538" y="12713"/>
                  <a:pt x="50538" y="12713"/>
                  <a:pt x="50538" y="12713"/>
                </a:cubicBezTo>
                <a:cubicBezTo>
                  <a:pt x="47538" y="13382"/>
                  <a:pt x="47538" y="13382"/>
                  <a:pt x="47538" y="13382"/>
                </a:cubicBezTo>
                <a:cubicBezTo>
                  <a:pt x="45230" y="14052"/>
                  <a:pt x="45230" y="14052"/>
                  <a:pt x="45230" y="14052"/>
                </a:cubicBezTo>
                <a:cubicBezTo>
                  <a:pt x="43153" y="15167"/>
                  <a:pt x="43153" y="15167"/>
                  <a:pt x="43153" y="15167"/>
                </a:cubicBezTo>
                <a:cubicBezTo>
                  <a:pt x="42692" y="16728"/>
                  <a:pt x="42692" y="16728"/>
                  <a:pt x="42692" y="16728"/>
                </a:cubicBezTo>
                <a:cubicBezTo>
                  <a:pt x="42461" y="18736"/>
                  <a:pt x="42461" y="18736"/>
                  <a:pt x="42461" y="18736"/>
                </a:cubicBezTo>
                <a:cubicBezTo>
                  <a:pt x="40846" y="19405"/>
                  <a:pt x="40846" y="19405"/>
                  <a:pt x="40846" y="19405"/>
                </a:cubicBezTo>
                <a:cubicBezTo>
                  <a:pt x="40846" y="19405"/>
                  <a:pt x="40153" y="19851"/>
                  <a:pt x="39692" y="19628"/>
                </a:cubicBezTo>
                <a:cubicBezTo>
                  <a:pt x="39000" y="19628"/>
                  <a:pt x="37615" y="19182"/>
                  <a:pt x="37615" y="19182"/>
                </a:cubicBezTo>
                <a:cubicBezTo>
                  <a:pt x="37615" y="19182"/>
                  <a:pt x="36000" y="18289"/>
                  <a:pt x="35307" y="18289"/>
                </a:cubicBezTo>
                <a:cubicBezTo>
                  <a:pt x="34615" y="18066"/>
                  <a:pt x="33461" y="16951"/>
                  <a:pt x="33461" y="16951"/>
                </a:cubicBezTo>
                <a:cubicBezTo>
                  <a:pt x="32307" y="17843"/>
                  <a:pt x="32307" y="17843"/>
                  <a:pt x="32307" y="17843"/>
                </a:cubicBezTo>
                <a:cubicBezTo>
                  <a:pt x="32307" y="17843"/>
                  <a:pt x="31615" y="17174"/>
                  <a:pt x="31615" y="16728"/>
                </a:cubicBezTo>
                <a:cubicBezTo>
                  <a:pt x="31615" y="16505"/>
                  <a:pt x="31615" y="16505"/>
                  <a:pt x="31615" y="16059"/>
                </a:cubicBezTo>
                <a:cubicBezTo>
                  <a:pt x="31615" y="15390"/>
                  <a:pt x="31615" y="14275"/>
                  <a:pt x="31615" y="14275"/>
                </a:cubicBezTo>
                <a:cubicBezTo>
                  <a:pt x="30000" y="13605"/>
                  <a:pt x="30000" y="13605"/>
                  <a:pt x="30000" y="13605"/>
                </a:cubicBezTo>
                <a:cubicBezTo>
                  <a:pt x="28384" y="13382"/>
                  <a:pt x="28384" y="13382"/>
                  <a:pt x="28384" y="13382"/>
                </a:cubicBezTo>
                <a:cubicBezTo>
                  <a:pt x="28384" y="13382"/>
                  <a:pt x="28384" y="13828"/>
                  <a:pt x="27923" y="13382"/>
                </a:cubicBezTo>
                <a:cubicBezTo>
                  <a:pt x="27230" y="12936"/>
                  <a:pt x="27230" y="12044"/>
                  <a:pt x="27230" y="12044"/>
                </a:cubicBezTo>
                <a:cubicBezTo>
                  <a:pt x="25846" y="11375"/>
                  <a:pt x="25846" y="11375"/>
                  <a:pt x="25846" y="11375"/>
                </a:cubicBezTo>
                <a:cubicBezTo>
                  <a:pt x="25384" y="13159"/>
                  <a:pt x="25384" y="13159"/>
                  <a:pt x="25384" y="13159"/>
                </a:cubicBezTo>
                <a:cubicBezTo>
                  <a:pt x="27000" y="14498"/>
                  <a:pt x="27000" y="14498"/>
                  <a:pt x="27000" y="14498"/>
                </a:cubicBezTo>
                <a:cubicBezTo>
                  <a:pt x="27461" y="15390"/>
                  <a:pt x="27461" y="15390"/>
                  <a:pt x="27461" y="15390"/>
                </a:cubicBezTo>
                <a:cubicBezTo>
                  <a:pt x="27000" y="16728"/>
                  <a:pt x="27000" y="16728"/>
                  <a:pt x="27000" y="16728"/>
                </a:cubicBezTo>
                <a:cubicBezTo>
                  <a:pt x="27461" y="17843"/>
                  <a:pt x="27461" y="17843"/>
                  <a:pt x="27461" y="17843"/>
                </a:cubicBezTo>
                <a:cubicBezTo>
                  <a:pt x="27692" y="18736"/>
                  <a:pt x="27692" y="18736"/>
                  <a:pt x="27692" y="18736"/>
                </a:cubicBezTo>
                <a:cubicBezTo>
                  <a:pt x="27692" y="18736"/>
                  <a:pt x="27923" y="18736"/>
                  <a:pt x="27923" y="19405"/>
                </a:cubicBezTo>
                <a:cubicBezTo>
                  <a:pt x="27923" y="19851"/>
                  <a:pt x="27692" y="22081"/>
                  <a:pt x="27692" y="22081"/>
                </a:cubicBezTo>
                <a:cubicBezTo>
                  <a:pt x="27692" y="23866"/>
                  <a:pt x="27692" y="23866"/>
                  <a:pt x="27692" y="23866"/>
                </a:cubicBezTo>
                <a:cubicBezTo>
                  <a:pt x="28384" y="25650"/>
                  <a:pt x="28384" y="25650"/>
                  <a:pt x="28384" y="25650"/>
                </a:cubicBezTo>
                <a:cubicBezTo>
                  <a:pt x="28384" y="25650"/>
                  <a:pt x="27230" y="26319"/>
                  <a:pt x="26769" y="26319"/>
                </a:cubicBezTo>
                <a:cubicBezTo>
                  <a:pt x="26307" y="26319"/>
                  <a:pt x="25153" y="25873"/>
                  <a:pt x="25153" y="25873"/>
                </a:cubicBezTo>
                <a:cubicBezTo>
                  <a:pt x="24692" y="24758"/>
                  <a:pt x="24692" y="24758"/>
                  <a:pt x="24692" y="24758"/>
                </a:cubicBezTo>
                <a:cubicBezTo>
                  <a:pt x="21923" y="24981"/>
                  <a:pt x="21923" y="24981"/>
                  <a:pt x="21923" y="24981"/>
                </a:cubicBezTo>
                <a:cubicBezTo>
                  <a:pt x="20307" y="24758"/>
                  <a:pt x="20307" y="24758"/>
                  <a:pt x="20307" y="24758"/>
                </a:cubicBezTo>
                <a:cubicBezTo>
                  <a:pt x="18923" y="25650"/>
                  <a:pt x="18923" y="25650"/>
                  <a:pt x="18923" y="25650"/>
                </a:cubicBezTo>
                <a:cubicBezTo>
                  <a:pt x="18000" y="25427"/>
                  <a:pt x="18000" y="25427"/>
                  <a:pt x="18000" y="25427"/>
                </a:cubicBezTo>
                <a:cubicBezTo>
                  <a:pt x="17076" y="24535"/>
                  <a:pt x="17076" y="24535"/>
                  <a:pt x="17076" y="24535"/>
                </a:cubicBezTo>
                <a:cubicBezTo>
                  <a:pt x="16846" y="23197"/>
                  <a:pt x="16846" y="23197"/>
                  <a:pt x="16846" y="23197"/>
                </a:cubicBezTo>
                <a:cubicBezTo>
                  <a:pt x="16384" y="22081"/>
                  <a:pt x="16384" y="22081"/>
                  <a:pt x="16384" y="22081"/>
                </a:cubicBezTo>
                <a:cubicBezTo>
                  <a:pt x="15461" y="20966"/>
                  <a:pt x="15461" y="20966"/>
                  <a:pt x="15461" y="20966"/>
                </a:cubicBezTo>
                <a:cubicBezTo>
                  <a:pt x="12461" y="21189"/>
                  <a:pt x="12461" y="21189"/>
                  <a:pt x="12461" y="21189"/>
                </a:cubicBezTo>
                <a:cubicBezTo>
                  <a:pt x="11307" y="21412"/>
                  <a:pt x="11307" y="21412"/>
                  <a:pt x="11307" y="21412"/>
                </a:cubicBezTo>
                <a:cubicBezTo>
                  <a:pt x="10615" y="22081"/>
                  <a:pt x="10615" y="22081"/>
                  <a:pt x="10615" y="22081"/>
                </a:cubicBezTo>
                <a:cubicBezTo>
                  <a:pt x="9230" y="21858"/>
                  <a:pt x="9230" y="21858"/>
                  <a:pt x="9230" y="21858"/>
                </a:cubicBezTo>
                <a:cubicBezTo>
                  <a:pt x="8769" y="22527"/>
                  <a:pt x="8769" y="22527"/>
                  <a:pt x="8769" y="22527"/>
                </a:cubicBezTo>
                <a:cubicBezTo>
                  <a:pt x="7153" y="22081"/>
                  <a:pt x="7153" y="22081"/>
                  <a:pt x="7153" y="22081"/>
                </a:cubicBezTo>
                <a:cubicBezTo>
                  <a:pt x="5538" y="22304"/>
                  <a:pt x="5538" y="22304"/>
                  <a:pt x="5538" y="22304"/>
                </a:cubicBezTo>
                <a:cubicBezTo>
                  <a:pt x="4384" y="22081"/>
                  <a:pt x="4384" y="22081"/>
                  <a:pt x="4384" y="22081"/>
                </a:cubicBezTo>
                <a:cubicBezTo>
                  <a:pt x="2307" y="22527"/>
                  <a:pt x="2307" y="22527"/>
                  <a:pt x="2307" y="22527"/>
                </a:cubicBezTo>
                <a:cubicBezTo>
                  <a:pt x="1153" y="23420"/>
                  <a:pt x="1153" y="23420"/>
                  <a:pt x="1153" y="23420"/>
                </a:cubicBezTo>
                <a:cubicBezTo>
                  <a:pt x="0" y="25204"/>
                  <a:pt x="0" y="25204"/>
                  <a:pt x="0" y="25204"/>
                </a:cubicBezTo>
                <a:cubicBezTo>
                  <a:pt x="0" y="25204"/>
                  <a:pt x="461" y="25204"/>
                  <a:pt x="923" y="25204"/>
                </a:cubicBezTo>
                <a:cubicBezTo>
                  <a:pt x="1153" y="25204"/>
                  <a:pt x="3230" y="25427"/>
                  <a:pt x="3230" y="25427"/>
                </a:cubicBezTo>
                <a:cubicBezTo>
                  <a:pt x="3692" y="26096"/>
                  <a:pt x="3692" y="26096"/>
                  <a:pt x="3692" y="26096"/>
                </a:cubicBezTo>
                <a:cubicBezTo>
                  <a:pt x="2307" y="26765"/>
                  <a:pt x="2307" y="26765"/>
                  <a:pt x="2307" y="26765"/>
                </a:cubicBezTo>
                <a:cubicBezTo>
                  <a:pt x="3461" y="27211"/>
                  <a:pt x="3461" y="27211"/>
                  <a:pt x="3461" y="27211"/>
                </a:cubicBezTo>
                <a:cubicBezTo>
                  <a:pt x="3692" y="27657"/>
                  <a:pt x="3692" y="27657"/>
                  <a:pt x="3692" y="27657"/>
                </a:cubicBezTo>
                <a:cubicBezTo>
                  <a:pt x="3692" y="28327"/>
                  <a:pt x="3692" y="28327"/>
                  <a:pt x="3692" y="28327"/>
                </a:cubicBezTo>
                <a:cubicBezTo>
                  <a:pt x="1153" y="28550"/>
                  <a:pt x="1153" y="28550"/>
                  <a:pt x="1153" y="28550"/>
                </a:cubicBezTo>
                <a:cubicBezTo>
                  <a:pt x="1153" y="28550"/>
                  <a:pt x="461" y="28327"/>
                  <a:pt x="461" y="28773"/>
                </a:cubicBezTo>
                <a:cubicBezTo>
                  <a:pt x="230" y="29219"/>
                  <a:pt x="1153" y="29442"/>
                  <a:pt x="1153" y="29442"/>
                </a:cubicBezTo>
                <a:cubicBezTo>
                  <a:pt x="2307" y="30111"/>
                  <a:pt x="2307" y="30111"/>
                  <a:pt x="2307" y="30111"/>
                </a:cubicBezTo>
                <a:cubicBezTo>
                  <a:pt x="2076" y="32342"/>
                  <a:pt x="2076" y="32342"/>
                  <a:pt x="2076" y="32342"/>
                </a:cubicBezTo>
                <a:cubicBezTo>
                  <a:pt x="3000" y="32342"/>
                  <a:pt x="3000" y="32342"/>
                  <a:pt x="3000" y="32342"/>
                </a:cubicBezTo>
                <a:cubicBezTo>
                  <a:pt x="4384" y="32342"/>
                  <a:pt x="4384" y="32342"/>
                  <a:pt x="4384" y="32342"/>
                </a:cubicBezTo>
                <a:cubicBezTo>
                  <a:pt x="4384" y="32342"/>
                  <a:pt x="4615" y="31895"/>
                  <a:pt x="5307" y="31672"/>
                </a:cubicBezTo>
                <a:cubicBezTo>
                  <a:pt x="5769" y="31672"/>
                  <a:pt x="6461" y="31672"/>
                  <a:pt x="6461" y="31672"/>
                </a:cubicBezTo>
                <a:cubicBezTo>
                  <a:pt x="6461" y="31672"/>
                  <a:pt x="6461" y="31449"/>
                  <a:pt x="6923" y="32565"/>
                </a:cubicBezTo>
                <a:cubicBezTo>
                  <a:pt x="7153" y="33457"/>
                  <a:pt x="7153" y="33457"/>
                  <a:pt x="7153" y="33457"/>
                </a:cubicBezTo>
                <a:cubicBezTo>
                  <a:pt x="8076" y="33680"/>
                  <a:pt x="8076" y="33680"/>
                  <a:pt x="8076" y="33680"/>
                </a:cubicBezTo>
                <a:cubicBezTo>
                  <a:pt x="8538" y="33903"/>
                  <a:pt x="8538" y="33903"/>
                  <a:pt x="8538" y="33903"/>
                </a:cubicBezTo>
                <a:cubicBezTo>
                  <a:pt x="8538" y="33903"/>
                  <a:pt x="9461" y="34349"/>
                  <a:pt x="9923" y="34572"/>
                </a:cubicBezTo>
                <a:cubicBezTo>
                  <a:pt x="10384" y="34795"/>
                  <a:pt x="11307" y="35687"/>
                  <a:pt x="11307" y="35687"/>
                </a:cubicBezTo>
                <a:cubicBezTo>
                  <a:pt x="11769" y="35910"/>
                  <a:pt x="11769" y="35910"/>
                  <a:pt x="11769" y="35910"/>
                </a:cubicBezTo>
                <a:cubicBezTo>
                  <a:pt x="11769" y="37026"/>
                  <a:pt x="11769" y="37026"/>
                  <a:pt x="11769" y="37026"/>
                </a:cubicBezTo>
                <a:cubicBezTo>
                  <a:pt x="11769" y="37026"/>
                  <a:pt x="12692" y="37249"/>
                  <a:pt x="13384" y="37249"/>
                </a:cubicBezTo>
                <a:cubicBezTo>
                  <a:pt x="14076" y="37249"/>
                  <a:pt x="15692" y="37026"/>
                  <a:pt x="15692" y="37026"/>
                </a:cubicBezTo>
                <a:cubicBezTo>
                  <a:pt x="16153" y="37918"/>
                  <a:pt x="16153" y="37918"/>
                  <a:pt x="16153" y="37918"/>
                </a:cubicBezTo>
                <a:cubicBezTo>
                  <a:pt x="16615" y="37918"/>
                  <a:pt x="18692" y="38587"/>
                  <a:pt x="18692" y="38587"/>
                </a:cubicBezTo>
                <a:cubicBezTo>
                  <a:pt x="18000" y="39479"/>
                  <a:pt x="18000" y="39479"/>
                  <a:pt x="18000" y="39479"/>
                </a:cubicBezTo>
                <a:cubicBezTo>
                  <a:pt x="17307" y="40148"/>
                  <a:pt x="17307" y="40148"/>
                  <a:pt x="17307" y="40148"/>
                </a:cubicBezTo>
                <a:cubicBezTo>
                  <a:pt x="17076" y="40817"/>
                  <a:pt x="17076" y="40817"/>
                  <a:pt x="17076" y="40817"/>
                </a:cubicBezTo>
                <a:cubicBezTo>
                  <a:pt x="17076" y="40817"/>
                  <a:pt x="17307" y="40817"/>
                  <a:pt x="18230" y="41040"/>
                </a:cubicBezTo>
                <a:cubicBezTo>
                  <a:pt x="19153" y="41263"/>
                  <a:pt x="19846" y="41710"/>
                  <a:pt x="19846" y="41710"/>
                </a:cubicBezTo>
                <a:cubicBezTo>
                  <a:pt x="19384" y="42825"/>
                  <a:pt x="19384" y="42825"/>
                  <a:pt x="19384" y="42825"/>
                </a:cubicBezTo>
                <a:cubicBezTo>
                  <a:pt x="20538" y="43717"/>
                  <a:pt x="20538" y="43717"/>
                  <a:pt x="20538" y="43717"/>
                </a:cubicBezTo>
                <a:cubicBezTo>
                  <a:pt x="20538" y="43717"/>
                  <a:pt x="21000" y="44386"/>
                  <a:pt x="21000" y="44609"/>
                </a:cubicBezTo>
                <a:cubicBezTo>
                  <a:pt x="20769" y="44832"/>
                  <a:pt x="20769" y="45278"/>
                  <a:pt x="20769" y="45278"/>
                </a:cubicBezTo>
                <a:cubicBezTo>
                  <a:pt x="20076" y="45055"/>
                  <a:pt x="20076" y="45055"/>
                  <a:pt x="20076" y="45055"/>
                </a:cubicBezTo>
                <a:cubicBezTo>
                  <a:pt x="20076" y="45055"/>
                  <a:pt x="20076" y="45501"/>
                  <a:pt x="19846" y="45055"/>
                </a:cubicBezTo>
                <a:cubicBezTo>
                  <a:pt x="19384" y="44609"/>
                  <a:pt x="19153" y="44163"/>
                  <a:pt x="19153" y="44163"/>
                </a:cubicBezTo>
                <a:cubicBezTo>
                  <a:pt x="18923" y="45055"/>
                  <a:pt x="18923" y="45055"/>
                  <a:pt x="18923" y="45055"/>
                </a:cubicBezTo>
                <a:cubicBezTo>
                  <a:pt x="18923" y="45055"/>
                  <a:pt x="19153" y="45947"/>
                  <a:pt x="19384" y="46171"/>
                </a:cubicBezTo>
                <a:cubicBezTo>
                  <a:pt x="19846" y="46171"/>
                  <a:pt x="19846" y="45947"/>
                  <a:pt x="19846" y="46617"/>
                </a:cubicBezTo>
                <a:cubicBezTo>
                  <a:pt x="19846" y="47063"/>
                  <a:pt x="20076" y="48178"/>
                  <a:pt x="20307" y="48401"/>
                </a:cubicBezTo>
                <a:cubicBezTo>
                  <a:pt x="20538" y="48847"/>
                  <a:pt x="20538" y="49962"/>
                  <a:pt x="20769" y="50185"/>
                </a:cubicBezTo>
                <a:cubicBezTo>
                  <a:pt x="21230" y="50185"/>
                  <a:pt x="21461" y="50408"/>
                  <a:pt x="21461" y="50408"/>
                </a:cubicBezTo>
                <a:cubicBezTo>
                  <a:pt x="21923" y="50855"/>
                  <a:pt x="21923" y="50855"/>
                  <a:pt x="21923" y="50855"/>
                </a:cubicBezTo>
                <a:cubicBezTo>
                  <a:pt x="23307" y="51970"/>
                  <a:pt x="23307" y="51970"/>
                  <a:pt x="23307" y="51970"/>
                </a:cubicBezTo>
                <a:cubicBezTo>
                  <a:pt x="23307" y="51970"/>
                  <a:pt x="24230" y="52639"/>
                  <a:pt x="24692" y="52862"/>
                </a:cubicBezTo>
                <a:cubicBezTo>
                  <a:pt x="25153" y="53085"/>
                  <a:pt x="25384" y="53085"/>
                  <a:pt x="25384" y="53085"/>
                </a:cubicBezTo>
                <a:cubicBezTo>
                  <a:pt x="26538" y="54200"/>
                  <a:pt x="26538" y="54200"/>
                  <a:pt x="26538" y="54200"/>
                </a:cubicBezTo>
                <a:cubicBezTo>
                  <a:pt x="26538" y="54200"/>
                  <a:pt x="27230" y="55315"/>
                  <a:pt x="27000" y="55315"/>
                </a:cubicBezTo>
                <a:cubicBezTo>
                  <a:pt x="26769" y="55315"/>
                  <a:pt x="27000" y="55539"/>
                  <a:pt x="26538" y="55539"/>
                </a:cubicBezTo>
                <a:cubicBezTo>
                  <a:pt x="25846" y="55539"/>
                  <a:pt x="26076" y="55985"/>
                  <a:pt x="25615" y="55539"/>
                </a:cubicBezTo>
                <a:cubicBezTo>
                  <a:pt x="24923" y="55092"/>
                  <a:pt x="24461" y="54423"/>
                  <a:pt x="23769" y="54423"/>
                </a:cubicBezTo>
                <a:cubicBezTo>
                  <a:pt x="23076" y="54423"/>
                  <a:pt x="23076" y="54423"/>
                  <a:pt x="23076" y="54423"/>
                </a:cubicBezTo>
                <a:cubicBezTo>
                  <a:pt x="24461" y="55539"/>
                  <a:pt x="24461" y="55539"/>
                  <a:pt x="24461" y="55539"/>
                </a:cubicBezTo>
                <a:cubicBezTo>
                  <a:pt x="25153" y="55762"/>
                  <a:pt x="25153" y="55762"/>
                  <a:pt x="25153" y="55762"/>
                </a:cubicBezTo>
                <a:cubicBezTo>
                  <a:pt x="26076" y="56654"/>
                  <a:pt x="26076" y="56654"/>
                  <a:pt x="26076" y="56654"/>
                </a:cubicBezTo>
                <a:cubicBezTo>
                  <a:pt x="26307" y="56654"/>
                  <a:pt x="26307" y="56654"/>
                  <a:pt x="26307" y="56654"/>
                </a:cubicBezTo>
                <a:cubicBezTo>
                  <a:pt x="26307" y="56654"/>
                  <a:pt x="26538" y="57100"/>
                  <a:pt x="26538" y="57323"/>
                </a:cubicBezTo>
                <a:cubicBezTo>
                  <a:pt x="26538" y="57546"/>
                  <a:pt x="26307" y="58215"/>
                  <a:pt x="26076" y="58438"/>
                </a:cubicBezTo>
                <a:cubicBezTo>
                  <a:pt x="26076" y="58884"/>
                  <a:pt x="26076" y="59330"/>
                  <a:pt x="26076" y="59330"/>
                </a:cubicBezTo>
                <a:cubicBezTo>
                  <a:pt x="25384" y="57769"/>
                  <a:pt x="25384" y="57769"/>
                  <a:pt x="25384" y="57769"/>
                </a:cubicBezTo>
                <a:cubicBezTo>
                  <a:pt x="25384" y="57769"/>
                  <a:pt x="25615" y="57323"/>
                  <a:pt x="25153" y="57100"/>
                </a:cubicBezTo>
                <a:cubicBezTo>
                  <a:pt x="24692" y="57100"/>
                  <a:pt x="24230" y="57323"/>
                  <a:pt x="24230" y="57323"/>
                </a:cubicBezTo>
                <a:cubicBezTo>
                  <a:pt x="24230" y="57323"/>
                  <a:pt x="24000" y="57769"/>
                  <a:pt x="24230" y="57992"/>
                </a:cubicBezTo>
                <a:cubicBezTo>
                  <a:pt x="24692" y="58215"/>
                  <a:pt x="24923" y="58438"/>
                  <a:pt x="24923" y="58661"/>
                </a:cubicBezTo>
                <a:cubicBezTo>
                  <a:pt x="25153" y="58884"/>
                  <a:pt x="25153" y="59107"/>
                  <a:pt x="25153" y="59107"/>
                </a:cubicBezTo>
                <a:cubicBezTo>
                  <a:pt x="25153" y="59107"/>
                  <a:pt x="25615" y="59107"/>
                  <a:pt x="25615" y="59553"/>
                </a:cubicBezTo>
                <a:cubicBezTo>
                  <a:pt x="25615" y="60223"/>
                  <a:pt x="25384" y="60892"/>
                  <a:pt x="25384" y="60892"/>
                </a:cubicBezTo>
                <a:cubicBezTo>
                  <a:pt x="25384" y="60892"/>
                  <a:pt x="24923" y="60892"/>
                  <a:pt x="25615" y="61338"/>
                </a:cubicBezTo>
                <a:cubicBezTo>
                  <a:pt x="26307" y="61784"/>
                  <a:pt x="26538" y="62007"/>
                  <a:pt x="26769" y="62230"/>
                </a:cubicBezTo>
                <a:cubicBezTo>
                  <a:pt x="27000" y="62453"/>
                  <a:pt x="27923" y="63568"/>
                  <a:pt x="27923" y="63568"/>
                </a:cubicBezTo>
                <a:cubicBezTo>
                  <a:pt x="28615" y="64460"/>
                  <a:pt x="28615" y="64460"/>
                  <a:pt x="28615" y="64460"/>
                </a:cubicBezTo>
                <a:cubicBezTo>
                  <a:pt x="28615" y="64460"/>
                  <a:pt x="28615" y="64907"/>
                  <a:pt x="28615" y="64907"/>
                </a:cubicBezTo>
                <a:cubicBezTo>
                  <a:pt x="28384" y="64907"/>
                  <a:pt x="27923" y="64907"/>
                  <a:pt x="27923" y="64907"/>
                </a:cubicBezTo>
                <a:cubicBezTo>
                  <a:pt x="27923" y="64907"/>
                  <a:pt x="27692" y="64907"/>
                  <a:pt x="27461" y="64684"/>
                </a:cubicBezTo>
                <a:cubicBezTo>
                  <a:pt x="27230" y="64237"/>
                  <a:pt x="26769" y="63568"/>
                  <a:pt x="26769" y="63568"/>
                </a:cubicBezTo>
                <a:cubicBezTo>
                  <a:pt x="26307" y="63345"/>
                  <a:pt x="26307" y="63345"/>
                  <a:pt x="26307" y="63345"/>
                </a:cubicBezTo>
                <a:cubicBezTo>
                  <a:pt x="25846" y="63568"/>
                  <a:pt x="25846" y="63568"/>
                  <a:pt x="25846" y="63568"/>
                </a:cubicBezTo>
                <a:cubicBezTo>
                  <a:pt x="25846" y="63568"/>
                  <a:pt x="25384" y="64460"/>
                  <a:pt x="25384" y="64460"/>
                </a:cubicBezTo>
                <a:cubicBezTo>
                  <a:pt x="25384" y="64684"/>
                  <a:pt x="24692" y="66022"/>
                  <a:pt x="24692" y="66022"/>
                </a:cubicBezTo>
                <a:cubicBezTo>
                  <a:pt x="24230" y="68698"/>
                  <a:pt x="24230" y="68698"/>
                  <a:pt x="24230" y="68698"/>
                </a:cubicBezTo>
                <a:cubicBezTo>
                  <a:pt x="24230" y="68698"/>
                  <a:pt x="24230" y="71821"/>
                  <a:pt x="24000" y="72044"/>
                </a:cubicBezTo>
                <a:cubicBezTo>
                  <a:pt x="24000" y="72267"/>
                  <a:pt x="23076" y="74498"/>
                  <a:pt x="23076" y="74498"/>
                </a:cubicBezTo>
                <a:cubicBezTo>
                  <a:pt x="23076" y="74498"/>
                  <a:pt x="23076" y="74721"/>
                  <a:pt x="23076" y="75390"/>
                </a:cubicBezTo>
                <a:cubicBezTo>
                  <a:pt x="22846" y="76059"/>
                  <a:pt x="22615" y="77174"/>
                  <a:pt x="22615" y="77174"/>
                </a:cubicBezTo>
                <a:cubicBezTo>
                  <a:pt x="22615" y="77174"/>
                  <a:pt x="22384" y="78066"/>
                  <a:pt x="22384" y="78513"/>
                </a:cubicBezTo>
                <a:cubicBezTo>
                  <a:pt x="22153" y="78959"/>
                  <a:pt x="21461" y="80743"/>
                  <a:pt x="21461" y="80743"/>
                </a:cubicBezTo>
                <a:cubicBezTo>
                  <a:pt x="21230" y="82750"/>
                  <a:pt x="21230" y="82750"/>
                  <a:pt x="21230" y="82750"/>
                </a:cubicBezTo>
                <a:cubicBezTo>
                  <a:pt x="19384" y="86542"/>
                  <a:pt x="19384" y="86542"/>
                  <a:pt x="19384" y="86542"/>
                </a:cubicBezTo>
                <a:cubicBezTo>
                  <a:pt x="18000" y="87657"/>
                  <a:pt x="18000" y="87657"/>
                  <a:pt x="18000" y="87657"/>
                </a:cubicBezTo>
                <a:cubicBezTo>
                  <a:pt x="17307" y="88104"/>
                  <a:pt x="17307" y="88104"/>
                  <a:pt x="17307" y="88104"/>
                </a:cubicBezTo>
                <a:cubicBezTo>
                  <a:pt x="18000" y="88327"/>
                  <a:pt x="18461" y="88550"/>
                  <a:pt x="18692" y="89219"/>
                </a:cubicBezTo>
                <a:cubicBezTo>
                  <a:pt x="19153" y="90334"/>
                  <a:pt x="20076" y="92118"/>
                  <a:pt x="20076" y="92118"/>
                </a:cubicBezTo>
                <a:cubicBezTo>
                  <a:pt x="23076" y="93234"/>
                  <a:pt x="23076" y="93234"/>
                  <a:pt x="23076" y="93234"/>
                </a:cubicBezTo>
                <a:cubicBezTo>
                  <a:pt x="23076" y="93234"/>
                  <a:pt x="24692" y="94572"/>
                  <a:pt x="24923" y="95018"/>
                </a:cubicBezTo>
                <a:cubicBezTo>
                  <a:pt x="25153" y="95241"/>
                  <a:pt x="28615" y="96356"/>
                  <a:pt x="28615" y="96356"/>
                </a:cubicBezTo>
                <a:cubicBezTo>
                  <a:pt x="30923" y="98364"/>
                  <a:pt x="30923" y="98364"/>
                  <a:pt x="30923" y="98364"/>
                </a:cubicBezTo>
                <a:cubicBezTo>
                  <a:pt x="34384" y="98364"/>
                  <a:pt x="34384" y="98364"/>
                  <a:pt x="34384" y="98364"/>
                </a:cubicBezTo>
                <a:cubicBezTo>
                  <a:pt x="36692" y="98810"/>
                  <a:pt x="36692" y="98810"/>
                  <a:pt x="36692" y="98810"/>
                </a:cubicBezTo>
                <a:cubicBezTo>
                  <a:pt x="37846" y="97472"/>
                  <a:pt x="37846" y="97472"/>
                  <a:pt x="37846" y="97472"/>
                </a:cubicBezTo>
                <a:cubicBezTo>
                  <a:pt x="37846" y="97472"/>
                  <a:pt x="43615" y="100148"/>
                  <a:pt x="43846" y="100148"/>
                </a:cubicBezTo>
                <a:cubicBezTo>
                  <a:pt x="44076" y="100148"/>
                  <a:pt x="44076" y="100817"/>
                  <a:pt x="44307" y="101486"/>
                </a:cubicBezTo>
                <a:cubicBezTo>
                  <a:pt x="44307" y="101486"/>
                  <a:pt x="44307" y="101486"/>
                  <a:pt x="44307" y="101486"/>
                </a:cubicBezTo>
                <a:cubicBezTo>
                  <a:pt x="44307" y="101486"/>
                  <a:pt x="44307" y="101486"/>
                  <a:pt x="44307" y="101486"/>
                </a:cubicBezTo>
                <a:cubicBezTo>
                  <a:pt x="44538" y="101486"/>
                  <a:pt x="44538" y="101486"/>
                  <a:pt x="44538" y="101486"/>
                </a:cubicBezTo>
                <a:cubicBezTo>
                  <a:pt x="44538" y="101486"/>
                  <a:pt x="44307" y="101263"/>
                  <a:pt x="44307" y="101263"/>
                </a:cubicBezTo>
                <a:cubicBezTo>
                  <a:pt x="44307" y="101040"/>
                  <a:pt x="44307" y="101040"/>
                  <a:pt x="44307" y="101040"/>
                </a:cubicBezTo>
                <a:cubicBezTo>
                  <a:pt x="44538" y="101040"/>
                  <a:pt x="44538" y="101040"/>
                  <a:pt x="44538" y="101040"/>
                </a:cubicBezTo>
                <a:cubicBezTo>
                  <a:pt x="44538" y="101040"/>
                  <a:pt x="44538" y="101040"/>
                  <a:pt x="44538" y="101040"/>
                </a:cubicBezTo>
                <a:cubicBezTo>
                  <a:pt x="44538" y="101040"/>
                  <a:pt x="44538" y="101040"/>
                  <a:pt x="44538" y="101040"/>
                </a:cubicBezTo>
                <a:cubicBezTo>
                  <a:pt x="44769" y="101040"/>
                  <a:pt x="44769" y="101040"/>
                  <a:pt x="44769" y="101040"/>
                </a:cubicBezTo>
                <a:cubicBezTo>
                  <a:pt x="45000" y="100817"/>
                  <a:pt x="45000" y="100817"/>
                  <a:pt x="45000" y="100817"/>
                </a:cubicBezTo>
                <a:cubicBezTo>
                  <a:pt x="45000" y="100817"/>
                  <a:pt x="45000" y="100817"/>
                  <a:pt x="45000" y="100817"/>
                </a:cubicBezTo>
                <a:cubicBezTo>
                  <a:pt x="45000" y="100594"/>
                  <a:pt x="44769" y="100594"/>
                  <a:pt x="44769" y="100594"/>
                </a:cubicBezTo>
                <a:cubicBezTo>
                  <a:pt x="44769" y="100594"/>
                  <a:pt x="45000" y="100594"/>
                  <a:pt x="45000" y="100371"/>
                </a:cubicBezTo>
                <a:cubicBezTo>
                  <a:pt x="45000" y="100371"/>
                  <a:pt x="45000" y="100371"/>
                  <a:pt x="45000" y="100371"/>
                </a:cubicBezTo>
                <a:cubicBezTo>
                  <a:pt x="45230" y="100371"/>
                  <a:pt x="45230" y="100371"/>
                  <a:pt x="45230" y="100371"/>
                </a:cubicBezTo>
                <a:cubicBezTo>
                  <a:pt x="45230" y="100371"/>
                  <a:pt x="45230" y="100371"/>
                  <a:pt x="45230" y="100371"/>
                </a:cubicBezTo>
                <a:cubicBezTo>
                  <a:pt x="45230" y="100371"/>
                  <a:pt x="45230" y="100371"/>
                  <a:pt x="45230" y="100371"/>
                </a:cubicBezTo>
                <a:cubicBezTo>
                  <a:pt x="45461" y="100371"/>
                  <a:pt x="45461" y="100371"/>
                  <a:pt x="45461" y="100371"/>
                </a:cubicBezTo>
                <a:cubicBezTo>
                  <a:pt x="45461" y="100371"/>
                  <a:pt x="45461" y="100371"/>
                  <a:pt x="45461" y="100371"/>
                </a:cubicBezTo>
                <a:cubicBezTo>
                  <a:pt x="45692" y="100371"/>
                  <a:pt x="45692" y="100371"/>
                  <a:pt x="45692" y="100371"/>
                </a:cubicBezTo>
                <a:cubicBezTo>
                  <a:pt x="45692" y="100371"/>
                  <a:pt x="45692" y="100371"/>
                  <a:pt x="45692" y="100371"/>
                </a:cubicBezTo>
                <a:cubicBezTo>
                  <a:pt x="45692" y="100371"/>
                  <a:pt x="45923" y="100371"/>
                  <a:pt x="45923" y="100371"/>
                </a:cubicBezTo>
                <a:cubicBezTo>
                  <a:pt x="45923" y="100371"/>
                  <a:pt x="45923" y="100594"/>
                  <a:pt x="45923" y="100594"/>
                </a:cubicBezTo>
                <a:cubicBezTo>
                  <a:pt x="45923" y="100594"/>
                  <a:pt x="45923" y="100594"/>
                  <a:pt x="45923" y="100594"/>
                </a:cubicBezTo>
                <a:cubicBezTo>
                  <a:pt x="45923" y="100594"/>
                  <a:pt x="46153" y="100594"/>
                  <a:pt x="46153" y="100594"/>
                </a:cubicBezTo>
                <a:cubicBezTo>
                  <a:pt x="46153" y="100594"/>
                  <a:pt x="46153" y="100817"/>
                  <a:pt x="46153" y="100817"/>
                </a:cubicBezTo>
                <a:cubicBezTo>
                  <a:pt x="46153" y="100817"/>
                  <a:pt x="46384" y="100817"/>
                  <a:pt x="46384" y="100817"/>
                </a:cubicBezTo>
                <a:cubicBezTo>
                  <a:pt x="46384" y="100817"/>
                  <a:pt x="46615" y="100817"/>
                  <a:pt x="46615" y="100817"/>
                </a:cubicBezTo>
                <a:cubicBezTo>
                  <a:pt x="46615" y="100817"/>
                  <a:pt x="46615" y="100817"/>
                  <a:pt x="46615" y="101040"/>
                </a:cubicBezTo>
                <a:cubicBezTo>
                  <a:pt x="46846" y="101040"/>
                  <a:pt x="46846" y="101040"/>
                  <a:pt x="46846" y="101040"/>
                </a:cubicBezTo>
                <a:cubicBezTo>
                  <a:pt x="46846" y="100817"/>
                  <a:pt x="47076" y="100817"/>
                  <a:pt x="47076" y="100817"/>
                </a:cubicBezTo>
                <a:cubicBezTo>
                  <a:pt x="47076" y="101040"/>
                  <a:pt x="47076" y="101040"/>
                  <a:pt x="47076" y="101040"/>
                </a:cubicBezTo>
                <a:cubicBezTo>
                  <a:pt x="47307" y="101040"/>
                  <a:pt x="47307" y="101040"/>
                  <a:pt x="47307" y="101040"/>
                </a:cubicBezTo>
                <a:cubicBezTo>
                  <a:pt x="47538" y="101040"/>
                  <a:pt x="47538" y="101040"/>
                  <a:pt x="47538" y="101040"/>
                </a:cubicBezTo>
                <a:cubicBezTo>
                  <a:pt x="47538" y="101263"/>
                  <a:pt x="47538" y="101263"/>
                  <a:pt x="47538" y="101263"/>
                </a:cubicBezTo>
                <a:cubicBezTo>
                  <a:pt x="47307" y="101263"/>
                  <a:pt x="47307" y="101263"/>
                  <a:pt x="47307" y="101263"/>
                </a:cubicBezTo>
                <a:cubicBezTo>
                  <a:pt x="47307" y="101263"/>
                  <a:pt x="47307" y="101263"/>
                  <a:pt x="47307" y="101263"/>
                </a:cubicBezTo>
                <a:cubicBezTo>
                  <a:pt x="47307" y="101486"/>
                  <a:pt x="47307" y="101486"/>
                  <a:pt x="47307" y="101486"/>
                </a:cubicBezTo>
                <a:cubicBezTo>
                  <a:pt x="47538" y="101486"/>
                  <a:pt x="47538" y="101486"/>
                  <a:pt x="47538" y="101486"/>
                </a:cubicBezTo>
                <a:cubicBezTo>
                  <a:pt x="47538" y="101486"/>
                  <a:pt x="47538" y="101486"/>
                  <a:pt x="47538" y="101486"/>
                </a:cubicBezTo>
                <a:cubicBezTo>
                  <a:pt x="48000" y="101710"/>
                  <a:pt x="48000" y="101710"/>
                  <a:pt x="48000" y="101710"/>
                </a:cubicBezTo>
                <a:cubicBezTo>
                  <a:pt x="47769" y="101710"/>
                  <a:pt x="47769" y="101710"/>
                  <a:pt x="47769" y="101710"/>
                </a:cubicBezTo>
                <a:cubicBezTo>
                  <a:pt x="47769" y="101710"/>
                  <a:pt x="47769" y="101710"/>
                  <a:pt x="47769" y="101710"/>
                </a:cubicBezTo>
                <a:cubicBezTo>
                  <a:pt x="47769" y="101710"/>
                  <a:pt x="47538" y="101710"/>
                  <a:pt x="47538" y="101710"/>
                </a:cubicBezTo>
                <a:cubicBezTo>
                  <a:pt x="47538" y="101710"/>
                  <a:pt x="47307" y="101710"/>
                  <a:pt x="47307" y="101710"/>
                </a:cubicBezTo>
                <a:cubicBezTo>
                  <a:pt x="47307" y="101933"/>
                  <a:pt x="47307" y="101933"/>
                  <a:pt x="47307" y="101933"/>
                </a:cubicBezTo>
                <a:cubicBezTo>
                  <a:pt x="47307" y="102379"/>
                  <a:pt x="47307" y="102379"/>
                  <a:pt x="47307" y="102379"/>
                </a:cubicBezTo>
                <a:cubicBezTo>
                  <a:pt x="47076" y="102379"/>
                  <a:pt x="47076" y="102379"/>
                  <a:pt x="47076" y="102379"/>
                </a:cubicBezTo>
                <a:cubicBezTo>
                  <a:pt x="47076" y="102602"/>
                  <a:pt x="47076" y="102602"/>
                  <a:pt x="47076" y="102602"/>
                </a:cubicBezTo>
                <a:cubicBezTo>
                  <a:pt x="47076" y="102602"/>
                  <a:pt x="47076" y="102602"/>
                  <a:pt x="47076" y="102602"/>
                </a:cubicBezTo>
                <a:cubicBezTo>
                  <a:pt x="47076" y="102602"/>
                  <a:pt x="47076" y="102602"/>
                  <a:pt x="47076" y="102602"/>
                </a:cubicBezTo>
                <a:cubicBezTo>
                  <a:pt x="47076" y="102602"/>
                  <a:pt x="47076" y="102602"/>
                  <a:pt x="46846" y="102602"/>
                </a:cubicBezTo>
                <a:cubicBezTo>
                  <a:pt x="46846" y="102602"/>
                  <a:pt x="46846" y="102602"/>
                  <a:pt x="46846" y="102602"/>
                </a:cubicBezTo>
                <a:cubicBezTo>
                  <a:pt x="46615" y="102379"/>
                  <a:pt x="46615" y="102379"/>
                  <a:pt x="46615" y="102379"/>
                </a:cubicBezTo>
                <a:cubicBezTo>
                  <a:pt x="46615" y="102602"/>
                  <a:pt x="46615" y="102602"/>
                  <a:pt x="46615" y="102602"/>
                </a:cubicBezTo>
                <a:cubicBezTo>
                  <a:pt x="46615" y="102825"/>
                  <a:pt x="46615" y="102825"/>
                  <a:pt x="46615" y="102825"/>
                </a:cubicBezTo>
                <a:cubicBezTo>
                  <a:pt x="46615" y="102825"/>
                  <a:pt x="46615" y="102825"/>
                  <a:pt x="46615" y="102825"/>
                </a:cubicBezTo>
                <a:cubicBezTo>
                  <a:pt x="46384" y="102825"/>
                  <a:pt x="46384" y="102825"/>
                  <a:pt x="46384" y="102825"/>
                </a:cubicBezTo>
                <a:cubicBezTo>
                  <a:pt x="46153" y="102825"/>
                  <a:pt x="46153" y="102825"/>
                  <a:pt x="46153" y="102825"/>
                </a:cubicBezTo>
                <a:cubicBezTo>
                  <a:pt x="45923" y="102825"/>
                  <a:pt x="45923" y="102825"/>
                  <a:pt x="45923" y="102825"/>
                </a:cubicBezTo>
                <a:cubicBezTo>
                  <a:pt x="45923" y="102825"/>
                  <a:pt x="45923" y="102825"/>
                  <a:pt x="45923" y="102825"/>
                </a:cubicBezTo>
                <a:cubicBezTo>
                  <a:pt x="45692" y="103048"/>
                  <a:pt x="45692" y="103048"/>
                  <a:pt x="45692" y="103048"/>
                </a:cubicBezTo>
                <a:cubicBezTo>
                  <a:pt x="45692" y="103048"/>
                  <a:pt x="45692" y="103048"/>
                  <a:pt x="45692" y="103048"/>
                </a:cubicBezTo>
                <a:cubicBezTo>
                  <a:pt x="45692" y="103048"/>
                  <a:pt x="45692" y="103048"/>
                  <a:pt x="45692" y="103048"/>
                </a:cubicBezTo>
                <a:cubicBezTo>
                  <a:pt x="45692" y="103048"/>
                  <a:pt x="45692" y="103048"/>
                  <a:pt x="45692" y="103048"/>
                </a:cubicBezTo>
                <a:cubicBezTo>
                  <a:pt x="45461" y="102825"/>
                  <a:pt x="45461" y="102825"/>
                  <a:pt x="45461" y="102825"/>
                </a:cubicBezTo>
                <a:cubicBezTo>
                  <a:pt x="45461" y="103048"/>
                  <a:pt x="45461" y="103048"/>
                  <a:pt x="45461" y="103048"/>
                </a:cubicBezTo>
                <a:cubicBezTo>
                  <a:pt x="45461" y="103048"/>
                  <a:pt x="45461" y="103048"/>
                  <a:pt x="45461" y="103048"/>
                </a:cubicBezTo>
                <a:cubicBezTo>
                  <a:pt x="45461" y="103048"/>
                  <a:pt x="45461" y="103048"/>
                  <a:pt x="45461" y="103048"/>
                </a:cubicBezTo>
                <a:cubicBezTo>
                  <a:pt x="48461" y="103717"/>
                  <a:pt x="48461" y="103717"/>
                  <a:pt x="48461" y="103717"/>
                </a:cubicBezTo>
                <a:cubicBezTo>
                  <a:pt x="49153" y="103940"/>
                  <a:pt x="49153" y="104386"/>
                  <a:pt x="49846" y="104832"/>
                </a:cubicBezTo>
                <a:cubicBezTo>
                  <a:pt x="51692" y="104163"/>
                  <a:pt x="51692" y="104163"/>
                  <a:pt x="51692" y="104163"/>
                </a:cubicBezTo>
                <a:cubicBezTo>
                  <a:pt x="54000" y="105724"/>
                  <a:pt x="54000" y="105724"/>
                  <a:pt x="54000" y="105724"/>
                </a:cubicBezTo>
                <a:cubicBezTo>
                  <a:pt x="56076" y="105055"/>
                  <a:pt x="56076" y="105055"/>
                  <a:pt x="56076" y="105055"/>
                </a:cubicBezTo>
                <a:cubicBezTo>
                  <a:pt x="58153" y="105055"/>
                  <a:pt x="58153" y="105055"/>
                  <a:pt x="58153" y="105055"/>
                </a:cubicBezTo>
                <a:cubicBezTo>
                  <a:pt x="58153" y="104832"/>
                  <a:pt x="59076" y="104832"/>
                  <a:pt x="59769" y="105055"/>
                </a:cubicBezTo>
                <a:cubicBezTo>
                  <a:pt x="59769" y="105055"/>
                  <a:pt x="59769" y="105055"/>
                  <a:pt x="59769" y="105055"/>
                </a:cubicBezTo>
                <a:close/>
                <a:moveTo>
                  <a:pt x="44307" y="101710"/>
                </a:moveTo>
                <a:cubicBezTo>
                  <a:pt x="44307" y="101710"/>
                  <a:pt x="44307" y="101710"/>
                  <a:pt x="44307" y="101710"/>
                </a:cubicBezTo>
                <a:cubicBezTo>
                  <a:pt x="44307" y="101710"/>
                  <a:pt x="44307" y="101710"/>
                  <a:pt x="44307" y="101710"/>
                </a:cubicBezTo>
                <a:cubicBezTo>
                  <a:pt x="44307" y="101710"/>
                  <a:pt x="44538" y="101710"/>
                  <a:pt x="44538" y="101710"/>
                </a:cubicBezTo>
                <a:cubicBezTo>
                  <a:pt x="44538" y="101710"/>
                  <a:pt x="44538" y="101933"/>
                  <a:pt x="44538" y="101933"/>
                </a:cubicBezTo>
                <a:cubicBezTo>
                  <a:pt x="44538" y="101933"/>
                  <a:pt x="44538" y="101933"/>
                  <a:pt x="44538" y="101933"/>
                </a:cubicBezTo>
                <a:cubicBezTo>
                  <a:pt x="44538" y="101933"/>
                  <a:pt x="44538" y="101933"/>
                  <a:pt x="44769" y="102156"/>
                </a:cubicBezTo>
                <a:cubicBezTo>
                  <a:pt x="44769" y="102156"/>
                  <a:pt x="44538" y="102156"/>
                  <a:pt x="44538" y="102156"/>
                </a:cubicBezTo>
                <a:cubicBezTo>
                  <a:pt x="44538" y="102156"/>
                  <a:pt x="44538" y="102156"/>
                  <a:pt x="44538" y="102156"/>
                </a:cubicBezTo>
                <a:cubicBezTo>
                  <a:pt x="44307" y="102156"/>
                  <a:pt x="44307" y="102156"/>
                  <a:pt x="44307" y="102156"/>
                </a:cubicBezTo>
                <a:cubicBezTo>
                  <a:pt x="44307" y="102156"/>
                  <a:pt x="44307" y="102156"/>
                  <a:pt x="44307" y="102156"/>
                </a:cubicBezTo>
                <a:cubicBezTo>
                  <a:pt x="44307" y="101710"/>
                  <a:pt x="44307" y="101710"/>
                  <a:pt x="44307" y="101710"/>
                </a:cubicBezTo>
                <a:close/>
                <a:moveTo>
                  <a:pt x="103846" y="45055"/>
                </a:moveTo>
                <a:cubicBezTo>
                  <a:pt x="103846" y="45055"/>
                  <a:pt x="103846" y="45055"/>
                  <a:pt x="103846" y="45055"/>
                </a:cubicBezTo>
                <a:cubicBezTo>
                  <a:pt x="103615" y="45055"/>
                  <a:pt x="103615" y="45055"/>
                  <a:pt x="103615" y="45055"/>
                </a:cubicBezTo>
                <a:cubicBezTo>
                  <a:pt x="103384" y="44832"/>
                  <a:pt x="103384" y="44832"/>
                  <a:pt x="103384" y="44832"/>
                </a:cubicBezTo>
                <a:cubicBezTo>
                  <a:pt x="103384" y="44832"/>
                  <a:pt x="103384" y="44832"/>
                  <a:pt x="103384" y="44832"/>
                </a:cubicBezTo>
                <a:cubicBezTo>
                  <a:pt x="103384" y="44832"/>
                  <a:pt x="103384" y="44832"/>
                  <a:pt x="103384" y="44832"/>
                </a:cubicBezTo>
                <a:cubicBezTo>
                  <a:pt x="103615" y="44832"/>
                  <a:pt x="103615" y="44609"/>
                  <a:pt x="103615" y="44609"/>
                </a:cubicBezTo>
                <a:cubicBezTo>
                  <a:pt x="103615" y="44832"/>
                  <a:pt x="103846" y="44832"/>
                  <a:pt x="103846" y="45055"/>
                </a:cubicBezTo>
                <a:close/>
                <a:moveTo>
                  <a:pt x="113769" y="115985"/>
                </a:moveTo>
                <a:cubicBezTo>
                  <a:pt x="113769" y="115985"/>
                  <a:pt x="113769" y="115985"/>
                  <a:pt x="113769" y="115985"/>
                </a:cubicBezTo>
                <a:cubicBezTo>
                  <a:pt x="113307" y="116877"/>
                  <a:pt x="113307" y="116877"/>
                  <a:pt x="113307" y="116877"/>
                </a:cubicBezTo>
                <a:cubicBezTo>
                  <a:pt x="112846" y="117546"/>
                  <a:pt x="112846" y="117546"/>
                  <a:pt x="112846" y="117546"/>
                </a:cubicBezTo>
                <a:cubicBezTo>
                  <a:pt x="114000" y="117992"/>
                  <a:pt x="114000" y="117992"/>
                  <a:pt x="114000" y="117992"/>
                </a:cubicBezTo>
                <a:cubicBezTo>
                  <a:pt x="114692" y="118884"/>
                  <a:pt x="114692" y="118884"/>
                  <a:pt x="114692" y="118884"/>
                </a:cubicBezTo>
                <a:cubicBezTo>
                  <a:pt x="114692" y="118884"/>
                  <a:pt x="115153" y="119553"/>
                  <a:pt x="115615" y="119553"/>
                </a:cubicBezTo>
                <a:cubicBezTo>
                  <a:pt x="116076" y="119553"/>
                  <a:pt x="116769" y="120000"/>
                  <a:pt x="116769" y="120000"/>
                </a:cubicBezTo>
                <a:cubicBezTo>
                  <a:pt x="116769" y="120000"/>
                  <a:pt x="117230" y="119330"/>
                  <a:pt x="117230" y="118438"/>
                </a:cubicBezTo>
                <a:cubicBezTo>
                  <a:pt x="117461" y="117769"/>
                  <a:pt x="116538" y="116877"/>
                  <a:pt x="117923" y="116654"/>
                </a:cubicBezTo>
                <a:cubicBezTo>
                  <a:pt x="119307" y="116654"/>
                  <a:pt x="118384" y="115092"/>
                  <a:pt x="118384" y="115092"/>
                </a:cubicBezTo>
                <a:cubicBezTo>
                  <a:pt x="118384" y="113977"/>
                  <a:pt x="118384" y="113977"/>
                  <a:pt x="118384" y="113977"/>
                </a:cubicBezTo>
                <a:cubicBezTo>
                  <a:pt x="118153" y="112639"/>
                  <a:pt x="118153" y="112639"/>
                  <a:pt x="118153" y="112639"/>
                </a:cubicBezTo>
                <a:cubicBezTo>
                  <a:pt x="118384" y="112193"/>
                  <a:pt x="118384" y="112193"/>
                  <a:pt x="118384" y="112193"/>
                </a:cubicBezTo>
                <a:cubicBezTo>
                  <a:pt x="119076" y="111301"/>
                  <a:pt x="119076" y="111301"/>
                  <a:pt x="119076" y="111301"/>
                </a:cubicBezTo>
                <a:cubicBezTo>
                  <a:pt x="119769" y="110631"/>
                  <a:pt x="119769" y="110631"/>
                  <a:pt x="119769" y="110631"/>
                </a:cubicBezTo>
                <a:cubicBezTo>
                  <a:pt x="119769" y="110631"/>
                  <a:pt x="120000" y="109962"/>
                  <a:pt x="120000" y="109516"/>
                </a:cubicBezTo>
                <a:cubicBezTo>
                  <a:pt x="119769" y="109293"/>
                  <a:pt x="119076" y="108178"/>
                  <a:pt x="119076" y="108178"/>
                </a:cubicBezTo>
                <a:cubicBezTo>
                  <a:pt x="119769" y="105501"/>
                  <a:pt x="119769" y="105501"/>
                  <a:pt x="119769" y="105501"/>
                </a:cubicBezTo>
                <a:cubicBezTo>
                  <a:pt x="119538" y="105055"/>
                  <a:pt x="119538" y="105055"/>
                  <a:pt x="119538" y="105055"/>
                </a:cubicBezTo>
                <a:cubicBezTo>
                  <a:pt x="119307" y="104386"/>
                  <a:pt x="119307" y="104386"/>
                  <a:pt x="119307" y="104386"/>
                </a:cubicBezTo>
                <a:cubicBezTo>
                  <a:pt x="118846" y="102379"/>
                  <a:pt x="118846" y="102379"/>
                  <a:pt x="118846" y="102379"/>
                </a:cubicBezTo>
                <a:cubicBezTo>
                  <a:pt x="118846" y="99702"/>
                  <a:pt x="118846" y="99702"/>
                  <a:pt x="118846" y="99702"/>
                </a:cubicBezTo>
                <a:cubicBezTo>
                  <a:pt x="117461" y="100148"/>
                  <a:pt x="117461" y="100148"/>
                  <a:pt x="117461" y="100148"/>
                </a:cubicBezTo>
                <a:cubicBezTo>
                  <a:pt x="117923" y="101263"/>
                  <a:pt x="117923" y="101263"/>
                  <a:pt x="117923" y="101263"/>
                </a:cubicBezTo>
                <a:cubicBezTo>
                  <a:pt x="117461" y="103271"/>
                  <a:pt x="117461" y="103271"/>
                  <a:pt x="117461" y="103271"/>
                </a:cubicBezTo>
                <a:cubicBezTo>
                  <a:pt x="116307" y="103494"/>
                  <a:pt x="116307" y="103494"/>
                  <a:pt x="116307" y="103494"/>
                </a:cubicBezTo>
                <a:cubicBezTo>
                  <a:pt x="115846" y="103717"/>
                  <a:pt x="115846" y="103717"/>
                  <a:pt x="115846" y="103717"/>
                </a:cubicBezTo>
                <a:cubicBezTo>
                  <a:pt x="115153" y="104386"/>
                  <a:pt x="115153" y="104386"/>
                  <a:pt x="115153" y="104386"/>
                </a:cubicBezTo>
                <a:cubicBezTo>
                  <a:pt x="114000" y="104609"/>
                  <a:pt x="114000" y="104609"/>
                  <a:pt x="114000" y="104609"/>
                </a:cubicBezTo>
                <a:cubicBezTo>
                  <a:pt x="112846" y="105501"/>
                  <a:pt x="112846" y="105501"/>
                  <a:pt x="112846" y="105501"/>
                </a:cubicBezTo>
                <a:cubicBezTo>
                  <a:pt x="111923" y="106617"/>
                  <a:pt x="111923" y="106617"/>
                  <a:pt x="111923" y="106617"/>
                </a:cubicBezTo>
                <a:cubicBezTo>
                  <a:pt x="111230" y="107286"/>
                  <a:pt x="111230" y="107286"/>
                  <a:pt x="111230" y="107286"/>
                </a:cubicBezTo>
                <a:cubicBezTo>
                  <a:pt x="111230" y="107286"/>
                  <a:pt x="111230" y="107732"/>
                  <a:pt x="111692" y="108178"/>
                </a:cubicBezTo>
                <a:cubicBezTo>
                  <a:pt x="112153" y="108847"/>
                  <a:pt x="111000" y="111078"/>
                  <a:pt x="111000" y="111078"/>
                </a:cubicBezTo>
                <a:cubicBezTo>
                  <a:pt x="111923" y="111078"/>
                  <a:pt x="111923" y="111078"/>
                  <a:pt x="111923" y="111078"/>
                </a:cubicBezTo>
                <a:cubicBezTo>
                  <a:pt x="112153" y="112193"/>
                  <a:pt x="112153" y="112193"/>
                  <a:pt x="112153" y="112193"/>
                </a:cubicBezTo>
                <a:cubicBezTo>
                  <a:pt x="111461" y="113308"/>
                  <a:pt x="111461" y="113308"/>
                  <a:pt x="111461" y="113308"/>
                </a:cubicBezTo>
                <a:cubicBezTo>
                  <a:pt x="112153" y="113754"/>
                  <a:pt x="112153" y="113754"/>
                  <a:pt x="112153" y="113754"/>
                </a:cubicBezTo>
                <a:cubicBezTo>
                  <a:pt x="112846" y="113754"/>
                  <a:pt x="112846" y="113754"/>
                  <a:pt x="112846" y="113754"/>
                </a:cubicBezTo>
                <a:cubicBezTo>
                  <a:pt x="112153" y="115092"/>
                  <a:pt x="112153" y="115092"/>
                  <a:pt x="112153" y="115092"/>
                </a:cubicBezTo>
                <a:cubicBezTo>
                  <a:pt x="112153" y="115539"/>
                  <a:pt x="112153" y="115539"/>
                  <a:pt x="112153" y="115539"/>
                </a:cubicBezTo>
                <a:lnTo>
                  <a:pt x="113769" y="115985"/>
                </a:ln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" name="Google Shape;3039;p256">
            <a:extLst>
              <a:ext uri="{FF2B5EF4-FFF2-40B4-BE49-F238E27FC236}">
                <a16:creationId xmlns:a16="http://schemas.microsoft.com/office/drawing/2014/main" id="{6A36A951-165C-A29E-FEB9-A81841AD9A18}"/>
              </a:ext>
            </a:extLst>
          </p:cNvPr>
          <p:cNvSpPr/>
          <p:nvPr/>
        </p:nvSpPr>
        <p:spPr>
          <a:xfrm>
            <a:off x="5350657" y="889659"/>
            <a:ext cx="872275" cy="70360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4201" y="44848"/>
                </a:moveTo>
                <a:cubicBezTo>
                  <a:pt x="26218" y="46666"/>
                  <a:pt x="26218" y="46666"/>
                  <a:pt x="26218" y="46666"/>
                </a:cubicBezTo>
                <a:cubicBezTo>
                  <a:pt x="27731" y="45454"/>
                  <a:pt x="27731" y="45454"/>
                  <a:pt x="27731" y="45454"/>
                </a:cubicBezTo>
                <a:cubicBezTo>
                  <a:pt x="28739" y="44242"/>
                  <a:pt x="28739" y="44242"/>
                  <a:pt x="28739" y="44242"/>
                </a:cubicBezTo>
                <a:cubicBezTo>
                  <a:pt x="29747" y="45454"/>
                  <a:pt x="29747" y="45454"/>
                  <a:pt x="29747" y="45454"/>
                </a:cubicBezTo>
                <a:cubicBezTo>
                  <a:pt x="28235" y="47272"/>
                  <a:pt x="28235" y="47272"/>
                  <a:pt x="28235" y="47272"/>
                </a:cubicBezTo>
                <a:cubicBezTo>
                  <a:pt x="27226" y="48484"/>
                  <a:pt x="27226" y="48484"/>
                  <a:pt x="27226" y="48484"/>
                </a:cubicBezTo>
                <a:cubicBezTo>
                  <a:pt x="27226" y="50303"/>
                  <a:pt x="27226" y="50303"/>
                  <a:pt x="27226" y="50303"/>
                </a:cubicBezTo>
                <a:cubicBezTo>
                  <a:pt x="25210" y="49696"/>
                  <a:pt x="25210" y="49696"/>
                  <a:pt x="25210" y="49696"/>
                </a:cubicBezTo>
                <a:cubicBezTo>
                  <a:pt x="23193" y="47272"/>
                  <a:pt x="23193" y="47272"/>
                  <a:pt x="23193" y="47272"/>
                </a:cubicBezTo>
                <a:cubicBezTo>
                  <a:pt x="22184" y="46666"/>
                  <a:pt x="22184" y="46666"/>
                  <a:pt x="22184" y="46666"/>
                </a:cubicBezTo>
                <a:cubicBezTo>
                  <a:pt x="21176" y="46060"/>
                  <a:pt x="21176" y="46060"/>
                  <a:pt x="21176" y="46060"/>
                </a:cubicBezTo>
                <a:cubicBezTo>
                  <a:pt x="20672" y="44242"/>
                  <a:pt x="20672" y="44242"/>
                  <a:pt x="20672" y="44242"/>
                </a:cubicBezTo>
                <a:cubicBezTo>
                  <a:pt x="20168" y="44848"/>
                  <a:pt x="20168" y="44848"/>
                  <a:pt x="20168" y="44848"/>
                </a:cubicBezTo>
                <a:cubicBezTo>
                  <a:pt x="18151" y="45454"/>
                  <a:pt x="18151" y="45454"/>
                  <a:pt x="18151" y="45454"/>
                </a:cubicBezTo>
                <a:cubicBezTo>
                  <a:pt x="17647" y="46060"/>
                  <a:pt x="17647" y="46060"/>
                  <a:pt x="17647" y="46060"/>
                </a:cubicBezTo>
                <a:cubicBezTo>
                  <a:pt x="17142" y="44848"/>
                  <a:pt x="17142" y="44848"/>
                  <a:pt x="17142" y="44848"/>
                </a:cubicBezTo>
                <a:cubicBezTo>
                  <a:pt x="17647" y="43636"/>
                  <a:pt x="17647" y="43636"/>
                  <a:pt x="17647" y="43636"/>
                </a:cubicBezTo>
                <a:cubicBezTo>
                  <a:pt x="16134" y="43636"/>
                  <a:pt x="16134" y="43636"/>
                  <a:pt x="16134" y="43636"/>
                </a:cubicBezTo>
                <a:cubicBezTo>
                  <a:pt x="16134" y="43636"/>
                  <a:pt x="15630" y="44242"/>
                  <a:pt x="15126" y="44242"/>
                </a:cubicBezTo>
                <a:cubicBezTo>
                  <a:pt x="14621" y="44242"/>
                  <a:pt x="14117" y="44242"/>
                  <a:pt x="14117" y="44242"/>
                </a:cubicBezTo>
                <a:cubicBezTo>
                  <a:pt x="13613" y="43636"/>
                  <a:pt x="13109" y="43030"/>
                  <a:pt x="12605" y="43030"/>
                </a:cubicBezTo>
                <a:cubicBezTo>
                  <a:pt x="12100" y="42424"/>
                  <a:pt x="11596" y="41818"/>
                  <a:pt x="11596" y="41818"/>
                </a:cubicBezTo>
                <a:cubicBezTo>
                  <a:pt x="10588" y="42424"/>
                  <a:pt x="10588" y="42424"/>
                  <a:pt x="10588" y="42424"/>
                </a:cubicBezTo>
                <a:cubicBezTo>
                  <a:pt x="9579" y="43636"/>
                  <a:pt x="9579" y="43636"/>
                  <a:pt x="9579" y="43636"/>
                </a:cubicBezTo>
                <a:cubicBezTo>
                  <a:pt x="9579" y="43030"/>
                  <a:pt x="9579" y="43030"/>
                  <a:pt x="9579" y="43030"/>
                </a:cubicBezTo>
                <a:cubicBezTo>
                  <a:pt x="8571" y="42424"/>
                  <a:pt x="8571" y="42424"/>
                  <a:pt x="8571" y="42424"/>
                </a:cubicBezTo>
                <a:cubicBezTo>
                  <a:pt x="6554" y="42424"/>
                  <a:pt x="6554" y="42424"/>
                  <a:pt x="6554" y="42424"/>
                </a:cubicBezTo>
                <a:cubicBezTo>
                  <a:pt x="6050" y="42424"/>
                  <a:pt x="6050" y="42424"/>
                  <a:pt x="6050" y="42424"/>
                </a:cubicBezTo>
                <a:cubicBezTo>
                  <a:pt x="6050" y="42424"/>
                  <a:pt x="6050" y="42424"/>
                  <a:pt x="5042" y="42424"/>
                </a:cubicBezTo>
                <a:cubicBezTo>
                  <a:pt x="4537" y="41818"/>
                  <a:pt x="4537" y="41818"/>
                  <a:pt x="4537" y="41818"/>
                </a:cubicBezTo>
                <a:cubicBezTo>
                  <a:pt x="3025" y="41212"/>
                  <a:pt x="3025" y="41212"/>
                  <a:pt x="3025" y="41212"/>
                </a:cubicBezTo>
                <a:cubicBezTo>
                  <a:pt x="1512" y="40606"/>
                  <a:pt x="1512" y="40606"/>
                  <a:pt x="1512" y="40606"/>
                </a:cubicBezTo>
                <a:cubicBezTo>
                  <a:pt x="1512" y="40606"/>
                  <a:pt x="1008" y="40606"/>
                  <a:pt x="1008" y="41212"/>
                </a:cubicBezTo>
                <a:cubicBezTo>
                  <a:pt x="1008" y="42424"/>
                  <a:pt x="0" y="43030"/>
                  <a:pt x="0" y="43636"/>
                </a:cubicBezTo>
                <a:cubicBezTo>
                  <a:pt x="504" y="44242"/>
                  <a:pt x="1008" y="44242"/>
                  <a:pt x="1512" y="45454"/>
                </a:cubicBezTo>
                <a:cubicBezTo>
                  <a:pt x="2521" y="46060"/>
                  <a:pt x="2521" y="46060"/>
                  <a:pt x="2521" y="46060"/>
                </a:cubicBezTo>
                <a:cubicBezTo>
                  <a:pt x="4033" y="46060"/>
                  <a:pt x="4033" y="46060"/>
                  <a:pt x="4033" y="46060"/>
                </a:cubicBezTo>
                <a:cubicBezTo>
                  <a:pt x="4537" y="45454"/>
                  <a:pt x="4537" y="45454"/>
                  <a:pt x="4537" y="45454"/>
                </a:cubicBezTo>
                <a:cubicBezTo>
                  <a:pt x="6554" y="46060"/>
                  <a:pt x="6554" y="46060"/>
                  <a:pt x="6554" y="46060"/>
                </a:cubicBezTo>
                <a:cubicBezTo>
                  <a:pt x="7058" y="47272"/>
                  <a:pt x="7563" y="48484"/>
                  <a:pt x="8067" y="47878"/>
                </a:cubicBezTo>
                <a:cubicBezTo>
                  <a:pt x="8571" y="47272"/>
                  <a:pt x="8571" y="47272"/>
                  <a:pt x="8571" y="47272"/>
                </a:cubicBezTo>
                <a:cubicBezTo>
                  <a:pt x="9579" y="47878"/>
                  <a:pt x="9579" y="47878"/>
                  <a:pt x="9579" y="47878"/>
                </a:cubicBezTo>
                <a:cubicBezTo>
                  <a:pt x="9579" y="47878"/>
                  <a:pt x="10084" y="50303"/>
                  <a:pt x="11092" y="50303"/>
                </a:cubicBezTo>
                <a:cubicBezTo>
                  <a:pt x="11596" y="50909"/>
                  <a:pt x="12100" y="50909"/>
                  <a:pt x="12100" y="50909"/>
                </a:cubicBezTo>
                <a:cubicBezTo>
                  <a:pt x="14117" y="52121"/>
                  <a:pt x="14117" y="52121"/>
                  <a:pt x="14117" y="52121"/>
                </a:cubicBezTo>
                <a:cubicBezTo>
                  <a:pt x="15126" y="52121"/>
                  <a:pt x="15126" y="52121"/>
                  <a:pt x="15126" y="52121"/>
                </a:cubicBezTo>
                <a:cubicBezTo>
                  <a:pt x="15126" y="52121"/>
                  <a:pt x="16638" y="51515"/>
                  <a:pt x="16638" y="52121"/>
                </a:cubicBezTo>
                <a:cubicBezTo>
                  <a:pt x="16638" y="52727"/>
                  <a:pt x="17647" y="53333"/>
                  <a:pt x="17142" y="53939"/>
                </a:cubicBezTo>
                <a:cubicBezTo>
                  <a:pt x="17142" y="53939"/>
                  <a:pt x="17142" y="54545"/>
                  <a:pt x="17142" y="55151"/>
                </a:cubicBezTo>
                <a:cubicBezTo>
                  <a:pt x="17142" y="55757"/>
                  <a:pt x="17142" y="56363"/>
                  <a:pt x="17142" y="56363"/>
                </a:cubicBezTo>
                <a:cubicBezTo>
                  <a:pt x="15630" y="58181"/>
                  <a:pt x="15630" y="58181"/>
                  <a:pt x="15630" y="58181"/>
                </a:cubicBezTo>
                <a:cubicBezTo>
                  <a:pt x="15630" y="59393"/>
                  <a:pt x="15630" y="59393"/>
                  <a:pt x="15630" y="59393"/>
                </a:cubicBezTo>
                <a:cubicBezTo>
                  <a:pt x="15630" y="59393"/>
                  <a:pt x="15630" y="60606"/>
                  <a:pt x="15126" y="60606"/>
                </a:cubicBezTo>
                <a:cubicBezTo>
                  <a:pt x="15126" y="61212"/>
                  <a:pt x="14621" y="63030"/>
                  <a:pt x="14621" y="63030"/>
                </a:cubicBezTo>
                <a:cubicBezTo>
                  <a:pt x="16134" y="61818"/>
                  <a:pt x="16134" y="61818"/>
                  <a:pt x="16134" y="61818"/>
                </a:cubicBezTo>
                <a:cubicBezTo>
                  <a:pt x="16134" y="61818"/>
                  <a:pt x="16638" y="61818"/>
                  <a:pt x="16638" y="62424"/>
                </a:cubicBezTo>
                <a:cubicBezTo>
                  <a:pt x="16134" y="63636"/>
                  <a:pt x="15630" y="64242"/>
                  <a:pt x="15630" y="64242"/>
                </a:cubicBezTo>
                <a:cubicBezTo>
                  <a:pt x="15630" y="64242"/>
                  <a:pt x="16134" y="66060"/>
                  <a:pt x="16638" y="65454"/>
                </a:cubicBezTo>
                <a:cubicBezTo>
                  <a:pt x="17647" y="64848"/>
                  <a:pt x="17647" y="64848"/>
                  <a:pt x="17647" y="64848"/>
                </a:cubicBezTo>
                <a:cubicBezTo>
                  <a:pt x="18655" y="64242"/>
                  <a:pt x="18655" y="64242"/>
                  <a:pt x="18655" y="64242"/>
                </a:cubicBezTo>
                <a:cubicBezTo>
                  <a:pt x="20168" y="63636"/>
                  <a:pt x="20168" y="63636"/>
                  <a:pt x="20168" y="63636"/>
                </a:cubicBezTo>
                <a:cubicBezTo>
                  <a:pt x="20168" y="63636"/>
                  <a:pt x="20168" y="63636"/>
                  <a:pt x="20672" y="63030"/>
                </a:cubicBezTo>
                <a:cubicBezTo>
                  <a:pt x="21680" y="63030"/>
                  <a:pt x="23193" y="63030"/>
                  <a:pt x="23193" y="63030"/>
                </a:cubicBezTo>
                <a:cubicBezTo>
                  <a:pt x="23193" y="63030"/>
                  <a:pt x="23697" y="64848"/>
                  <a:pt x="23193" y="64848"/>
                </a:cubicBezTo>
                <a:cubicBezTo>
                  <a:pt x="22689" y="64848"/>
                  <a:pt x="20672" y="64242"/>
                  <a:pt x="20672" y="64242"/>
                </a:cubicBezTo>
                <a:cubicBezTo>
                  <a:pt x="19663" y="64848"/>
                  <a:pt x="19663" y="64848"/>
                  <a:pt x="19663" y="64848"/>
                </a:cubicBezTo>
                <a:cubicBezTo>
                  <a:pt x="18655" y="65454"/>
                  <a:pt x="18655" y="65454"/>
                  <a:pt x="18655" y="65454"/>
                </a:cubicBezTo>
                <a:cubicBezTo>
                  <a:pt x="17647" y="66666"/>
                  <a:pt x="17647" y="66666"/>
                  <a:pt x="17647" y="66666"/>
                </a:cubicBezTo>
                <a:cubicBezTo>
                  <a:pt x="17647" y="66666"/>
                  <a:pt x="16638" y="68484"/>
                  <a:pt x="17142" y="68484"/>
                </a:cubicBezTo>
                <a:cubicBezTo>
                  <a:pt x="17647" y="69090"/>
                  <a:pt x="16134" y="69696"/>
                  <a:pt x="16134" y="69696"/>
                </a:cubicBezTo>
                <a:cubicBezTo>
                  <a:pt x="15630" y="69696"/>
                  <a:pt x="15630" y="69696"/>
                  <a:pt x="15630" y="69696"/>
                </a:cubicBezTo>
                <a:cubicBezTo>
                  <a:pt x="15630" y="70303"/>
                  <a:pt x="15630" y="70303"/>
                  <a:pt x="15630" y="70303"/>
                </a:cubicBezTo>
                <a:cubicBezTo>
                  <a:pt x="15630" y="70303"/>
                  <a:pt x="15630" y="70303"/>
                  <a:pt x="16134" y="70909"/>
                </a:cubicBezTo>
                <a:cubicBezTo>
                  <a:pt x="16638" y="70909"/>
                  <a:pt x="18151" y="70909"/>
                  <a:pt x="18151" y="70909"/>
                </a:cubicBezTo>
                <a:cubicBezTo>
                  <a:pt x="18151" y="70909"/>
                  <a:pt x="19159" y="70303"/>
                  <a:pt x="18655" y="70909"/>
                </a:cubicBezTo>
                <a:cubicBezTo>
                  <a:pt x="18655" y="71515"/>
                  <a:pt x="18151" y="73333"/>
                  <a:pt x="18151" y="73333"/>
                </a:cubicBezTo>
                <a:cubicBezTo>
                  <a:pt x="18151" y="73333"/>
                  <a:pt x="17647" y="73939"/>
                  <a:pt x="16134" y="73939"/>
                </a:cubicBezTo>
                <a:cubicBezTo>
                  <a:pt x="15126" y="74545"/>
                  <a:pt x="13613" y="75151"/>
                  <a:pt x="13613" y="75151"/>
                </a:cubicBezTo>
                <a:cubicBezTo>
                  <a:pt x="12605" y="76969"/>
                  <a:pt x="12605" y="76969"/>
                  <a:pt x="12605" y="76969"/>
                </a:cubicBezTo>
                <a:cubicBezTo>
                  <a:pt x="12605" y="76969"/>
                  <a:pt x="13109" y="77575"/>
                  <a:pt x="11596" y="77575"/>
                </a:cubicBezTo>
                <a:cubicBezTo>
                  <a:pt x="10588" y="77575"/>
                  <a:pt x="9579" y="77575"/>
                  <a:pt x="9579" y="77575"/>
                </a:cubicBezTo>
                <a:cubicBezTo>
                  <a:pt x="8571" y="77575"/>
                  <a:pt x="8571" y="77575"/>
                  <a:pt x="8571" y="77575"/>
                </a:cubicBezTo>
                <a:cubicBezTo>
                  <a:pt x="8571" y="77575"/>
                  <a:pt x="7563" y="78181"/>
                  <a:pt x="7563" y="78181"/>
                </a:cubicBezTo>
                <a:cubicBezTo>
                  <a:pt x="7058" y="77575"/>
                  <a:pt x="6554" y="76969"/>
                  <a:pt x="6554" y="76969"/>
                </a:cubicBezTo>
                <a:cubicBezTo>
                  <a:pt x="7058" y="74545"/>
                  <a:pt x="7058" y="74545"/>
                  <a:pt x="7058" y="74545"/>
                </a:cubicBezTo>
                <a:cubicBezTo>
                  <a:pt x="6554" y="73939"/>
                  <a:pt x="6554" y="73939"/>
                  <a:pt x="6554" y="73939"/>
                </a:cubicBezTo>
                <a:cubicBezTo>
                  <a:pt x="6554" y="72121"/>
                  <a:pt x="6554" y="72121"/>
                  <a:pt x="6554" y="72121"/>
                </a:cubicBezTo>
                <a:cubicBezTo>
                  <a:pt x="6554" y="72121"/>
                  <a:pt x="5042" y="73333"/>
                  <a:pt x="5042" y="73939"/>
                </a:cubicBezTo>
                <a:cubicBezTo>
                  <a:pt x="4537" y="73939"/>
                  <a:pt x="4537" y="75151"/>
                  <a:pt x="4537" y="75151"/>
                </a:cubicBezTo>
                <a:cubicBezTo>
                  <a:pt x="3529" y="76969"/>
                  <a:pt x="3529" y="76969"/>
                  <a:pt x="3529" y="76969"/>
                </a:cubicBezTo>
                <a:cubicBezTo>
                  <a:pt x="3025" y="76969"/>
                  <a:pt x="3025" y="76969"/>
                  <a:pt x="3025" y="76969"/>
                </a:cubicBezTo>
                <a:cubicBezTo>
                  <a:pt x="3025" y="79393"/>
                  <a:pt x="3025" y="79393"/>
                  <a:pt x="3025" y="79393"/>
                </a:cubicBezTo>
                <a:cubicBezTo>
                  <a:pt x="2521" y="80606"/>
                  <a:pt x="2521" y="80606"/>
                  <a:pt x="2521" y="80606"/>
                </a:cubicBezTo>
                <a:cubicBezTo>
                  <a:pt x="2521" y="80606"/>
                  <a:pt x="2016" y="80606"/>
                  <a:pt x="2521" y="81212"/>
                </a:cubicBezTo>
                <a:cubicBezTo>
                  <a:pt x="3025" y="81212"/>
                  <a:pt x="5042" y="82424"/>
                  <a:pt x="5042" y="82424"/>
                </a:cubicBezTo>
                <a:cubicBezTo>
                  <a:pt x="5042" y="82424"/>
                  <a:pt x="5546" y="81818"/>
                  <a:pt x="6554" y="83030"/>
                </a:cubicBezTo>
                <a:cubicBezTo>
                  <a:pt x="7058" y="83636"/>
                  <a:pt x="8067" y="84242"/>
                  <a:pt x="8067" y="84242"/>
                </a:cubicBezTo>
                <a:cubicBezTo>
                  <a:pt x="8571" y="84242"/>
                  <a:pt x="8571" y="84242"/>
                  <a:pt x="8571" y="84242"/>
                </a:cubicBezTo>
                <a:cubicBezTo>
                  <a:pt x="10084" y="83636"/>
                  <a:pt x="10084" y="83636"/>
                  <a:pt x="10084" y="83636"/>
                </a:cubicBezTo>
                <a:cubicBezTo>
                  <a:pt x="11092" y="84848"/>
                  <a:pt x="11092" y="84848"/>
                  <a:pt x="11092" y="84848"/>
                </a:cubicBezTo>
                <a:cubicBezTo>
                  <a:pt x="13613" y="85454"/>
                  <a:pt x="13613" y="85454"/>
                  <a:pt x="13613" y="85454"/>
                </a:cubicBezTo>
                <a:cubicBezTo>
                  <a:pt x="13613" y="85454"/>
                  <a:pt x="14117" y="86666"/>
                  <a:pt x="14117" y="87272"/>
                </a:cubicBezTo>
                <a:cubicBezTo>
                  <a:pt x="14621" y="87272"/>
                  <a:pt x="15630" y="89090"/>
                  <a:pt x="15630" y="89090"/>
                </a:cubicBezTo>
                <a:cubicBezTo>
                  <a:pt x="15630" y="89090"/>
                  <a:pt x="15630" y="87878"/>
                  <a:pt x="16638" y="88484"/>
                </a:cubicBezTo>
                <a:cubicBezTo>
                  <a:pt x="18151" y="88484"/>
                  <a:pt x="18655" y="88484"/>
                  <a:pt x="18655" y="88484"/>
                </a:cubicBezTo>
                <a:cubicBezTo>
                  <a:pt x="18655" y="88484"/>
                  <a:pt x="19663" y="88484"/>
                  <a:pt x="20168" y="89090"/>
                </a:cubicBezTo>
                <a:cubicBezTo>
                  <a:pt x="20672" y="89696"/>
                  <a:pt x="22184" y="92727"/>
                  <a:pt x="22184" y="92727"/>
                </a:cubicBezTo>
                <a:cubicBezTo>
                  <a:pt x="23193" y="95757"/>
                  <a:pt x="23193" y="95757"/>
                  <a:pt x="23193" y="95757"/>
                </a:cubicBezTo>
                <a:cubicBezTo>
                  <a:pt x="24201" y="98181"/>
                  <a:pt x="24201" y="98181"/>
                  <a:pt x="24201" y="98181"/>
                </a:cubicBezTo>
                <a:cubicBezTo>
                  <a:pt x="24201" y="98181"/>
                  <a:pt x="24201" y="98787"/>
                  <a:pt x="25210" y="99393"/>
                </a:cubicBezTo>
                <a:cubicBezTo>
                  <a:pt x="26218" y="100606"/>
                  <a:pt x="26722" y="101818"/>
                  <a:pt x="26722" y="101818"/>
                </a:cubicBezTo>
                <a:cubicBezTo>
                  <a:pt x="26722" y="101818"/>
                  <a:pt x="26722" y="102424"/>
                  <a:pt x="27226" y="103030"/>
                </a:cubicBezTo>
                <a:cubicBezTo>
                  <a:pt x="27731" y="104242"/>
                  <a:pt x="28739" y="105454"/>
                  <a:pt x="28739" y="105454"/>
                </a:cubicBezTo>
                <a:cubicBezTo>
                  <a:pt x="28739" y="105454"/>
                  <a:pt x="28739" y="106060"/>
                  <a:pt x="29243" y="106666"/>
                </a:cubicBezTo>
                <a:cubicBezTo>
                  <a:pt x="30252" y="107272"/>
                  <a:pt x="31260" y="107272"/>
                  <a:pt x="31764" y="107878"/>
                </a:cubicBezTo>
                <a:cubicBezTo>
                  <a:pt x="32773" y="109090"/>
                  <a:pt x="33781" y="110303"/>
                  <a:pt x="33781" y="110303"/>
                </a:cubicBezTo>
                <a:cubicBezTo>
                  <a:pt x="33781" y="110303"/>
                  <a:pt x="36302" y="113333"/>
                  <a:pt x="37310" y="114545"/>
                </a:cubicBezTo>
                <a:cubicBezTo>
                  <a:pt x="38319" y="115757"/>
                  <a:pt x="39327" y="116969"/>
                  <a:pt x="39831" y="116969"/>
                </a:cubicBezTo>
                <a:cubicBezTo>
                  <a:pt x="40336" y="117575"/>
                  <a:pt x="42857" y="118181"/>
                  <a:pt x="42857" y="118181"/>
                </a:cubicBezTo>
                <a:cubicBezTo>
                  <a:pt x="42857" y="118181"/>
                  <a:pt x="44369" y="119999"/>
                  <a:pt x="44873" y="119393"/>
                </a:cubicBezTo>
                <a:cubicBezTo>
                  <a:pt x="45882" y="119393"/>
                  <a:pt x="43865" y="118787"/>
                  <a:pt x="46890" y="118787"/>
                </a:cubicBezTo>
                <a:cubicBezTo>
                  <a:pt x="49915" y="118787"/>
                  <a:pt x="51932" y="119999"/>
                  <a:pt x="51932" y="119999"/>
                </a:cubicBezTo>
                <a:cubicBezTo>
                  <a:pt x="53949" y="118181"/>
                  <a:pt x="53949" y="118181"/>
                  <a:pt x="53949" y="118181"/>
                </a:cubicBezTo>
                <a:cubicBezTo>
                  <a:pt x="53949" y="118181"/>
                  <a:pt x="53445" y="119393"/>
                  <a:pt x="53949" y="117575"/>
                </a:cubicBezTo>
                <a:cubicBezTo>
                  <a:pt x="54453" y="116363"/>
                  <a:pt x="54957" y="115151"/>
                  <a:pt x="54957" y="115151"/>
                </a:cubicBezTo>
                <a:cubicBezTo>
                  <a:pt x="54957" y="115151"/>
                  <a:pt x="54453" y="113939"/>
                  <a:pt x="55966" y="113939"/>
                </a:cubicBezTo>
                <a:cubicBezTo>
                  <a:pt x="56974" y="113939"/>
                  <a:pt x="60000" y="113333"/>
                  <a:pt x="60504" y="113333"/>
                </a:cubicBezTo>
                <a:cubicBezTo>
                  <a:pt x="61008" y="113333"/>
                  <a:pt x="61008" y="113939"/>
                  <a:pt x="61512" y="113333"/>
                </a:cubicBezTo>
                <a:cubicBezTo>
                  <a:pt x="61512" y="112727"/>
                  <a:pt x="66050" y="114545"/>
                  <a:pt x="66050" y="114545"/>
                </a:cubicBezTo>
                <a:cubicBezTo>
                  <a:pt x="66554" y="113333"/>
                  <a:pt x="66554" y="113333"/>
                  <a:pt x="66554" y="113333"/>
                </a:cubicBezTo>
                <a:cubicBezTo>
                  <a:pt x="67563" y="112727"/>
                  <a:pt x="67563" y="112727"/>
                  <a:pt x="67563" y="112727"/>
                </a:cubicBezTo>
                <a:cubicBezTo>
                  <a:pt x="68571" y="115151"/>
                  <a:pt x="68571" y="115151"/>
                  <a:pt x="68571" y="115151"/>
                </a:cubicBezTo>
                <a:cubicBezTo>
                  <a:pt x="70588" y="115151"/>
                  <a:pt x="70588" y="115151"/>
                  <a:pt x="70588" y="115151"/>
                </a:cubicBezTo>
                <a:cubicBezTo>
                  <a:pt x="70588" y="115151"/>
                  <a:pt x="72100" y="114545"/>
                  <a:pt x="73109" y="114545"/>
                </a:cubicBezTo>
                <a:cubicBezTo>
                  <a:pt x="73613" y="114545"/>
                  <a:pt x="75630" y="113333"/>
                  <a:pt x="75630" y="113333"/>
                </a:cubicBezTo>
                <a:cubicBezTo>
                  <a:pt x="75630" y="113333"/>
                  <a:pt x="76134" y="112121"/>
                  <a:pt x="76638" y="112121"/>
                </a:cubicBezTo>
                <a:cubicBezTo>
                  <a:pt x="77142" y="111515"/>
                  <a:pt x="78655" y="111515"/>
                  <a:pt x="79159" y="111515"/>
                </a:cubicBezTo>
                <a:cubicBezTo>
                  <a:pt x="80168" y="111515"/>
                  <a:pt x="81680" y="110909"/>
                  <a:pt x="81680" y="110909"/>
                </a:cubicBezTo>
                <a:cubicBezTo>
                  <a:pt x="82689" y="109696"/>
                  <a:pt x="82689" y="109696"/>
                  <a:pt x="82689" y="109696"/>
                </a:cubicBezTo>
                <a:cubicBezTo>
                  <a:pt x="82689" y="109696"/>
                  <a:pt x="83193" y="109090"/>
                  <a:pt x="84201" y="109090"/>
                </a:cubicBezTo>
                <a:cubicBezTo>
                  <a:pt x="84705" y="109696"/>
                  <a:pt x="86722" y="109696"/>
                  <a:pt x="86722" y="109696"/>
                </a:cubicBezTo>
                <a:cubicBezTo>
                  <a:pt x="88235" y="108484"/>
                  <a:pt x="88235" y="108484"/>
                  <a:pt x="88235" y="108484"/>
                </a:cubicBezTo>
                <a:cubicBezTo>
                  <a:pt x="89747" y="107878"/>
                  <a:pt x="89747" y="107878"/>
                  <a:pt x="89747" y="107878"/>
                </a:cubicBezTo>
                <a:cubicBezTo>
                  <a:pt x="89747" y="107878"/>
                  <a:pt x="89747" y="107272"/>
                  <a:pt x="90252" y="107878"/>
                </a:cubicBezTo>
                <a:cubicBezTo>
                  <a:pt x="90756" y="108484"/>
                  <a:pt x="91764" y="109696"/>
                  <a:pt x="91764" y="109696"/>
                </a:cubicBezTo>
                <a:cubicBezTo>
                  <a:pt x="93781" y="110303"/>
                  <a:pt x="93781" y="110303"/>
                  <a:pt x="93781" y="110303"/>
                </a:cubicBezTo>
                <a:cubicBezTo>
                  <a:pt x="95294" y="109696"/>
                  <a:pt x="95294" y="109696"/>
                  <a:pt x="95294" y="109696"/>
                </a:cubicBezTo>
                <a:cubicBezTo>
                  <a:pt x="96302" y="108484"/>
                  <a:pt x="96302" y="108484"/>
                  <a:pt x="96302" y="108484"/>
                </a:cubicBezTo>
                <a:cubicBezTo>
                  <a:pt x="96302" y="108484"/>
                  <a:pt x="96302" y="107878"/>
                  <a:pt x="97815" y="107878"/>
                </a:cubicBezTo>
                <a:cubicBezTo>
                  <a:pt x="99327" y="107878"/>
                  <a:pt x="99831" y="107878"/>
                  <a:pt x="99831" y="107878"/>
                </a:cubicBezTo>
                <a:cubicBezTo>
                  <a:pt x="99831" y="107878"/>
                  <a:pt x="101344" y="107878"/>
                  <a:pt x="101344" y="107272"/>
                </a:cubicBezTo>
                <a:cubicBezTo>
                  <a:pt x="101344" y="106666"/>
                  <a:pt x="101344" y="105454"/>
                  <a:pt x="101848" y="104848"/>
                </a:cubicBezTo>
                <a:cubicBezTo>
                  <a:pt x="101848" y="104242"/>
                  <a:pt x="103865" y="101818"/>
                  <a:pt x="103865" y="101818"/>
                </a:cubicBezTo>
                <a:cubicBezTo>
                  <a:pt x="104873" y="101212"/>
                  <a:pt x="104873" y="101212"/>
                  <a:pt x="104873" y="101212"/>
                </a:cubicBezTo>
                <a:cubicBezTo>
                  <a:pt x="104369" y="99393"/>
                  <a:pt x="104369" y="99393"/>
                  <a:pt x="104369" y="99393"/>
                </a:cubicBezTo>
                <a:cubicBezTo>
                  <a:pt x="104873" y="98181"/>
                  <a:pt x="104873" y="98181"/>
                  <a:pt x="104873" y="98181"/>
                </a:cubicBezTo>
                <a:cubicBezTo>
                  <a:pt x="104873" y="98181"/>
                  <a:pt x="106386" y="97575"/>
                  <a:pt x="105882" y="98787"/>
                </a:cubicBezTo>
                <a:cubicBezTo>
                  <a:pt x="105378" y="99999"/>
                  <a:pt x="105882" y="100606"/>
                  <a:pt x="105882" y="100606"/>
                </a:cubicBezTo>
                <a:cubicBezTo>
                  <a:pt x="105882" y="100606"/>
                  <a:pt x="106386" y="99999"/>
                  <a:pt x="106890" y="99999"/>
                </a:cubicBezTo>
                <a:cubicBezTo>
                  <a:pt x="107899" y="99999"/>
                  <a:pt x="107899" y="99393"/>
                  <a:pt x="108403" y="99393"/>
                </a:cubicBezTo>
                <a:cubicBezTo>
                  <a:pt x="109411" y="99999"/>
                  <a:pt x="109915" y="99393"/>
                  <a:pt x="109915" y="99393"/>
                </a:cubicBezTo>
                <a:cubicBezTo>
                  <a:pt x="109915" y="99393"/>
                  <a:pt x="109411" y="98181"/>
                  <a:pt x="109915" y="98181"/>
                </a:cubicBezTo>
                <a:cubicBezTo>
                  <a:pt x="110420" y="98787"/>
                  <a:pt x="111428" y="98787"/>
                  <a:pt x="111428" y="98787"/>
                </a:cubicBezTo>
                <a:cubicBezTo>
                  <a:pt x="111428" y="98787"/>
                  <a:pt x="111932" y="98787"/>
                  <a:pt x="111932" y="98181"/>
                </a:cubicBezTo>
                <a:cubicBezTo>
                  <a:pt x="111932" y="98181"/>
                  <a:pt x="110420" y="96969"/>
                  <a:pt x="110924" y="96969"/>
                </a:cubicBezTo>
                <a:cubicBezTo>
                  <a:pt x="111428" y="97575"/>
                  <a:pt x="112436" y="96969"/>
                  <a:pt x="112436" y="96969"/>
                </a:cubicBezTo>
                <a:cubicBezTo>
                  <a:pt x="112436" y="96969"/>
                  <a:pt x="113949" y="97575"/>
                  <a:pt x="112436" y="96363"/>
                </a:cubicBezTo>
                <a:cubicBezTo>
                  <a:pt x="111428" y="94545"/>
                  <a:pt x="112941" y="94545"/>
                  <a:pt x="112941" y="94545"/>
                </a:cubicBezTo>
                <a:cubicBezTo>
                  <a:pt x="112941" y="94545"/>
                  <a:pt x="114453" y="95151"/>
                  <a:pt x="113949" y="95151"/>
                </a:cubicBezTo>
                <a:cubicBezTo>
                  <a:pt x="113445" y="94545"/>
                  <a:pt x="111428" y="91515"/>
                  <a:pt x="111428" y="91515"/>
                </a:cubicBezTo>
                <a:cubicBezTo>
                  <a:pt x="111428" y="90909"/>
                  <a:pt x="111428" y="90909"/>
                  <a:pt x="111428" y="90909"/>
                </a:cubicBezTo>
                <a:cubicBezTo>
                  <a:pt x="111428" y="89696"/>
                  <a:pt x="111428" y="89696"/>
                  <a:pt x="111428" y="89696"/>
                </a:cubicBezTo>
                <a:cubicBezTo>
                  <a:pt x="111428" y="89696"/>
                  <a:pt x="112436" y="90303"/>
                  <a:pt x="112941" y="90909"/>
                </a:cubicBezTo>
                <a:cubicBezTo>
                  <a:pt x="112941" y="90909"/>
                  <a:pt x="112941" y="90909"/>
                  <a:pt x="113445" y="91515"/>
                </a:cubicBezTo>
                <a:cubicBezTo>
                  <a:pt x="114453" y="92121"/>
                  <a:pt x="113949" y="93333"/>
                  <a:pt x="114453" y="93333"/>
                </a:cubicBezTo>
                <a:cubicBezTo>
                  <a:pt x="114957" y="93939"/>
                  <a:pt x="116470" y="93333"/>
                  <a:pt x="116470" y="93333"/>
                </a:cubicBezTo>
                <a:cubicBezTo>
                  <a:pt x="117478" y="91515"/>
                  <a:pt x="117478" y="91515"/>
                  <a:pt x="117478" y="91515"/>
                </a:cubicBezTo>
                <a:cubicBezTo>
                  <a:pt x="117478" y="91515"/>
                  <a:pt x="119495" y="89090"/>
                  <a:pt x="118991" y="89090"/>
                </a:cubicBezTo>
                <a:cubicBezTo>
                  <a:pt x="118487" y="88484"/>
                  <a:pt x="115966" y="89696"/>
                  <a:pt x="115966" y="89696"/>
                </a:cubicBezTo>
                <a:cubicBezTo>
                  <a:pt x="116974" y="87272"/>
                  <a:pt x="116974" y="87272"/>
                  <a:pt x="116974" y="87272"/>
                </a:cubicBezTo>
                <a:cubicBezTo>
                  <a:pt x="115462" y="86666"/>
                  <a:pt x="115462" y="86666"/>
                  <a:pt x="115462" y="86666"/>
                </a:cubicBezTo>
                <a:cubicBezTo>
                  <a:pt x="114957" y="86060"/>
                  <a:pt x="114957" y="86060"/>
                  <a:pt x="114957" y="86060"/>
                </a:cubicBezTo>
                <a:cubicBezTo>
                  <a:pt x="114957" y="86060"/>
                  <a:pt x="116470" y="86060"/>
                  <a:pt x="116470" y="86060"/>
                </a:cubicBezTo>
                <a:cubicBezTo>
                  <a:pt x="116974" y="86060"/>
                  <a:pt x="117983" y="85454"/>
                  <a:pt x="117983" y="85454"/>
                </a:cubicBezTo>
                <a:cubicBezTo>
                  <a:pt x="117983" y="84242"/>
                  <a:pt x="117983" y="84242"/>
                  <a:pt x="117983" y="84242"/>
                </a:cubicBezTo>
                <a:cubicBezTo>
                  <a:pt x="116470" y="83030"/>
                  <a:pt x="116470" y="83030"/>
                  <a:pt x="116470" y="83030"/>
                </a:cubicBezTo>
                <a:cubicBezTo>
                  <a:pt x="116974" y="82424"/>
                  <a:pt x="116974" y="82424"/>
                  <a:pt x="116974" y="82424"/>
                </a:cubicBezTo>
                <a:cubicBezTo>
                  <a:pt x="117478" y="81212"/>
                  <a:pt x="117478" y="81212"/>
                  <a:pt x="117478" y="81212"/>
                </a:cubicBezTo>
                <a:cubicBezTo>
                  <a:pt x="118487" y="80606"/>
                  <a:pt x="118487" y="80606"/>
                  <a:pt x="118487" y="80606"/>
                </a:cubicBezTo>
                <a:cubicBezTo>
                  <a:pt x="120000" y="76969"/>
                  <a:pt x="120000" y="76969"/>
                  <a:pt x="120000" y="76969"/>
                </a:cubicBezTo>
                <a:cubicBezTo>
                  <a:pt x="119495" y="75757"/>
                  <a:pt x="119495" y="75757"/>
                  <a:pt x="119495" y="75757"/>
                </a:cubicBezTo>
                <a:cubicBezTo>
                  <a:pt x="118487" y="75757"/>
                  <a:pt x="118487" y="75757"/>
                  <a:pt x="118487" y="75757"/>
                </a:cubicBezTo>
                <a:cubicBezTo>
                  <a:pt x="118487" y="73333"/>
                  <a:pt x="118487" y="73333"/>
                  <a:pt x="118487" y="73333"/>
                </a:cubicBezTo>
                <a:cubicBezTo>
                  <a:pt x="116470" y="72121"/>
                  <a:pt x="116470" y="72121"/>
                  <a:pt x="116470" y="72121"/>
                </a:cubicBezTo>
                <a:cubicBezTo>
                  <a:pt x="116470" y="72121"/>
                  <a:pt x="114957" y="70909"/>
                  <a:pt x="114957" y="70303"/>
                </a:cubicBezTo>
                <a:cubicBezTo>
                  <a:pt x="114957" y="70303"/>
                  <a:pt x="114957" y="69090"/>
                  <a:pt x="114453" y="69696"/>
                </a:cubicBezTo>
                <a:cubicBezTo>
                  <a:pt x="113949" y="69696"/>
                  <a:pt x="113445" y="69090"/>
                  <a:pt x="113445" y="69090"/>
                </a:cubicBezTo>
                <a:cubicBezTo>
                  <a:pt x="113445" y="69090"/>
                  <a:pt x="113445" y="67272"/>
                  <a:pt x="113445" y="67272"/>
                </a:cubicBezTo>
                <a:cubicBezTo>
                  <a:pt x="113445" y="67272"/>
                  <a:pt x="114453" y="66666"/>
                  <a:pt x="114453" y="66060"/>
                </a:cubicBezTo>
                <a:cubicBezTo>
                  <a:pt x="114957" y="65454"/>
                  <a:pt x="114453" y="64242"/>
                  <a:pt x="114453" y="64242"/>
                </a:cubicBezTo>
                <a:cubicBezTo>
                  <a:pt x="113949" y="64242"/>
                  <a:pt x="112941" y="64848"/>
                  <a:pt x="112941" y="64848"/>
                </a:cubicBezTo>
                <a:cubicBezTo>
                  <a:pt x="109915" y="65454"/>
                  <a:pt x="109915" y="65454"/>
                  <a:pt x="109915" y="65454"/>
                </a:cubicBezTo>
                <a:cubicBezTo>
                  <a:pt x="108907" y="64848"/>
                  <a:pt x="108907" y="64848"/>
                  <a:pt x="108907" y="64848"/>
                </a:cubicBezTo>
                <a:cubicBezTo>
                  <a:pt x="108907" y="64848"/>
                  <a:pt x="109411" y="64848"/>
                  <a:pt x="109411" y="64242"/>
                </a:cubicBezTo>
                <a:cubicBezTo>
                  <a:pt x="109915" y="63636"/>
                  <a:pt x="109915" y="63030"/>
                  <a:pt x="110420" y="62424"/>
                </a:cubicBezTo>
                <a:cubicBezTo>
                  <a:pt x="110924" y="61818"/>
                  <a:pt x="110924" y="62424"/>
                  <a:pt x="111428" y="61212"/>
                </a:cubicBezTo>
                <a:cubicBezTo>
                  <a:pt x="112436" y="60606"/>
                  <a:pt x="113445" y="59393"/>
                  <a:pt x="113445" y="59393"/>
                </a:cubicBezTo>
                <a:cubicBezTo>
                  <a:pt x="113445" y="57575"/>
                  <a:pt x="113445" y="57575"/>
                  <a:pt x="113445" y="57575"/>
                </a:cubicBezTo>
                <a:cubicBezTo>
                  <a:pt x="112941" y="55757"/>
                  <a:pt x="112941" y="55757"/>
                  <a:pt x="112941" y="55757"/>
                </a:cubicBezTo>
                <a:cubicBezTo>
                  <a:pt x="112941" y="55757"/>
                  <a:pt x="112436" y="55151"/>
                  <a:pt x="111932" y="55151"/>
                </a:cubicBezTo>
                <a:cubicBezTo>
                  <a:pt x="111428" y="55151"/>
                  <a:pt x="111932" y="56363"/>
                  <a:pt x="110924" y="55151"/>
                </a:cubicBezTo>
                <a:cubicBezTo>
                  <a:pt x="110420" y="54545"/>
                  <a:pt x="110420" y="54545"/>
                  <a:pt x="109915" y="53333"/>
                </a:cubicBezTo>
                <a:cubicBezTo>
                  <a:pt x="109411" y="52727"/>
                  <a:pt x="109411" y="51515"/>
                  <a:pt x="109411" y="51515"/>
                </a:cubicBezTo>
                <a:cubicBezTo>
                  <a:pt x="109411" y="51515"/>
                  <a:pt x="108403" y="50909"/>
                  <a:pt x="108907" y="50909"/>
                </a:cubicBezTo>
                <a:cubicBezTo>
                  <a:pt x="109915" y="50909"/>
                  <a:pt x="110420" y="51515"/>
                  <a:pt x="110924" y="50909"/>
                </a:cubicBezTo>
                <a:cubicBezTo>
                  <a:pt x="111428" y="50303"/>
                  <a:pt x="111428" y="50909"/>
                  <a:pt x="111428" y="50303"/>
                </a:cubicBezTo>
                <a:cubicBezTo>
                  <a:pt x="111428" y="49696"/>
                  <a:pt x="111932" y="47878"/>
                  <a:pt x="111932" y="47878"/>
                </a:cubicBezTo>
                <a:cubicBezTo>
                  <a:pt x="111932" y="47272"/>
                  <a:pt x="111932" y="47272"/>
                  <a:pt x="112941" y="46666"/>
                </a:cubicBezTo>
                <a:cubicBezTo>
                  <a:pt x="114453" y="46060"/>
                  <a:pt x="113949" y="46060"/>
                  <a:pt x="114957" y="46060"/>
                </a:cubicBezTo>
                <a:cubicBezTo>
                  <a:pt x="115462" y="45454"/>
                  <a:pt x="115966" y="44848"/>
                  <a:pt x="115462" y="44848"/>
                </a:cubicBezTo>
                <a:cubicBezTo>
                  <a:pt x="115462" y="44242"/>
                  <a:pt x="114453" y="44242"/>
                  <a:pt x="114453" y="44242"/>
                </a:cubicBezTo>
                <a:cubicBezTo>
                  <a:pt x="113949" y="43636"/>
                  <a:pt x="112941" y="44848"/>
                  <a:pt x="112941" y="44848"/>
                </a:cubicBezTo>
                <a:cubicBezTo>
                  <a:pt x="112941" y="44848"/>
                  <a:pt x="111932" y="45454"/>
                  <a:pt x="111428" y="46060"/>
                </a:cubicBezTo>
                <a:cubicBezTo>
                  <a:pt x="110924" y="46666"/>
                  <a:pt x="110420" y="46060"/>
                  <a:pt x="109915" y="46060"/>
                </a:cubicBezTo>
                <a:cubicBezTo>
                  <a:pt x="109411" y="46060"/>
                  <a:pt x="109411" y="46060"/>
                  <a:pt x="109411" y="46060"/>
                </a:cubicBezTo>
                <a:cubicBezTo>
                  <a:pt x="109411" y="46060"/>
                  <a:pt x="108403" y="45454"/>
                  <a:pt x="107899" y="46666"/>
                </a:cubicBezTo>
                <a:cubicBezTo>
                  <a:pt x="107899" y="47878"/>
                  <a:pt x="106890" y="49090"/>
                  <a:pt x="106890" y="49090"/>
                </a:cubicBezTo>
                <a:cubicBezTo>
                  <a:pt x="106890" y="49090"/>
                  <a:pt x="106386" y="49696"/>
                  <a:pt x="106386" y="48484"/>
                </a:cubicBezTo>
                <a:cubicBezTo>
                  <a:pt x="106386" y="47878"/>
                  <a:pt x="105882" y="46060"/>
                  <a:pt x="105882" y="46060"/>
                </a:cubicBezTo>
                <a:cubicBezTo>
                  <a:pt x="105882" y="46060"/>
                  <a:pt x="105882" y="46060"/>
                  <a:pt x="105882" y="46060"/>
                </a:cubicBezTo>
                <a:cubicBezTo>
                  <a:pt x="105378" y="46060"/>
                  <a:pt x="103865" y="45454"/>
                  <a:pt x="103865" y="45454"/>
                </a:cubicBezTo>
                <a:cubicBezTo>
                  <a:pt x="103865" y="45454"/>
                  <a:pt x="104369" y="45454"/>
                  <a:pt x="104369" y="44242"/>
                </a:cubicBezTo>
                <a:cubicBezTo>
                  <a:pt x="103865" y="43636"/>
                  <a:pt x="103865" y="43030"/>
                  <a:pt x="103865" y="43030"/>
                </a:cubicBezTo>
                <a:cubicBezTo>
                  <a:pt x="104369" y="43030"/>
                  <a:pt x="104873" y="43030"/>
                  <a:pt x="104873" y="43030"/>
                </a:cubicBezTo>
                <a:cubicBezTo>
                  <a:pt x="105378" y="43030"/>
                  <a:pt x="105378" y="43030"/>
                  <a:pt x="105378" y="41818"/>
                </a:cubicBezTo>
                <a:cubicBezTo>
                  <a:pt x="105378" y="40000"/>
                  <a:pt x="104873" y="39393"/>
                  <a:pt x="104873" y="39393"/>
                </a:cubicBezTo>
                <a:cubicBezTo>
                  <a:pt x="104873" y="39393"/>
                  <a:pt x="104369" y="38787"/>
                  <a:pt x="104369" y="38787"/>
                </a:cubicBezTo>
                <a:cubicBezTo>
                  <a:pt x="104369" y="36363"/>
                  <a:pt x="104369" y="36363"/>
                  <a:pt x="104369" y="36363"/>
                </a:cubicBezTo>
                <a:cubicBezTo>
                  <a:pt x="104369" y="36363"/>
                  <a:pt x="104369" y="35757"/>
                  <a:pt x="103865" y="35151"/>
                </a:cubicBezTo>
                <a:cubicBezTo>
                  <a:pt x="103361" y="34545"/>
                  <a:pt x="103361" y="33939"/>
                  <a:pt x="102857" y="34545"/>
                </a:cubicBezTo>
                <a:cubicBezTo>
                  <a:pt x="102857" y="34545"/>
                  <a:pt x="102352" y="35151"/>
                  <a:pt x="101848" y="35151"/>
                </a:cubicBezTo>
                <a:cubicBezTo>
                  <a:pt x="101344" y="34545"/>
                  <a:pt x="100336" y="33939"/>
                  <a:pt x="100336" y="33939"/>
                </a:cubicBezTo>
                <a:cubicBezTo>
                  <a:pt x="98319" y="32727"/>
                  <a:pt x="98319" y="32727"/>
                  <a:pt x="98319" y="32727"/>
                </a:cubicBezTo>
                <a:cubicBezTo>
                  <a:pt x="98319" y="32727"/>
                  <a:pt x="98319" y="32727"/>
                  <a:pt x="97815" y="33333"/>
                </a:cubicBezTo>
                <a:cubicBezTo>
                  <a:pt x="97815" y="33939"/>
                  <a:pt x="97310" y="33333"/>
                  <a:pt x="97310" y="34545"/>
                </a:cubicBezTo>
                <a:cubicBezTo>
                  <a:pt x="97815" y="35151"/>
                  <a:pt x="97815" y="35757"/>
                  <a:pt x="97815" y="36363"/>
                </a:cubicBezTo>
                <a:cubicBezTo>
                  <a:pt x="97310" y="36969"/>
                  <a:pt x="97310" y="37575"/>
                  <a:pt x="97310" y="38787"/>
                </a:cubicBezTo>
                <a:cubicBezTo>
                  <a:pt x="96806" y="39393"/>
                  <a:pt x="96302" y="39393"/>
                  <a:pt x="96302" y="40000"/>
                </a:cubicBezTo>
                <a:cubicBezTo>
                  <a:pt x="96302" y="40606"/>
                  <a:pt x="96806" y="40606"/>
                  <a:pt x="96806" y="41212"/>
                </a:cubicBezTo>
                <a:cubicBezTo>
                  <a:pt x="96806" y="41212"/>
                  <a:pt x="96302" y="42424"/>
                  <a:pt x="95798" y="42424"/>
                </a:cubicBezTo>
                <a:cubicBezTo>
                  <a:pt x="95798" y="43030"/>
                  <a:pt x="95294" y="43636"/>
                  <a:pt x="94789" y="43636"/>
                </a:cubicBezTo>
                <a:cubicBezTo>
                  <a:pt x="94789" y="43030"/>
                  <a:pt x="94285" y="43030"/>
                  <a:pt x="93781" y="43030"/>
                </a:cubicBezTo>
                <a:cubicBezTo>
                  <a:pt x="93277" y="43030"/>
                  <a:pt x="92773" y="43636"/>
                  <a:pt x="92773" y="43636"/>
                </a:cubicBezTo>
                <a:cubicBezTo>
                  <a:pt x="92773" y="43636"/>
                  <a:pt x="92268" y="44242"/>
                  <a:pt x="91764" y="43636"/>
                </a:cubicBezTo>
                <a:cubicBezTo>
                  <a:pt x="90756" y="43030"/>
                  <a:pt x="90252" y="42424"/>
                  <a:pt x="90252" y="42424"/>
                </a:cubicBezTo>
                <a:cubicBezTo>
                  <a:pt x="90252" y="41212"/>
                  <a:pt x="90252" y="41212"/>
                  <a:pt x="90252" y="41212"/>
                </a:cubicBezTo>
                <a:cubicBezTo>
                  <a:pt x="90252" y="41212"/>
                  <a:pt x="92268" y="41818"/>
                  <a:pt x="89747" y="40000"/>
                </a:cubicBezTo>
                <a:cubicBezTo>
                  <a:pt x="87731" y="38787"/>
                  <a:pt x="87731" y="38787"/>
                  <a:pt x="87731" y="38787"/>
                </a:cubicBezTo>
                <a:cubicBezTo>
                  <a:pt x="87731" y="38787"/>
                  <a:pt x="87731" y="39393"/>
                  <a:pt x="87226" y="40000"/>
                </a:cubicBezTo>
                <a:cubicBezTo>
                  <a:pt x="86722" y="40000"/>
                  <a:pt x="86722" y="40606"/>
                  <a:pt x="86722" y="40606"/>
                </a:cubicBezTo>
                <a:cubicBezTo>
                  <a:pt x="86218" y="41818"/>
                  <a:pt x="86218" y="41818"/>
                  <a:pt x="86218" y="41818"/>
                </a:cubicBezTo>
                <a:cubicBezTo>
                  <a:pt x="85714" y="41818"/>
                  <a:pt x="85714" y="41818"/>
                  <a:pt x="85714" y="41818"/>
                </a:cubicBezTo>
                <a:cubicBezTo>
                  <a:pt x="84705" y="43636"/>
                  <a:pt x="84705" y="43636"/>
                  <a:pt x="84705" y="43636"/>
                </a:cubicBezTo>
                <a:cubicBezTo>
                  <a:pt x="84705" y="43636"/>
                  <a:pt x="84201" y="44242"/>
                  <a:pt x="83697" y="44242"/>
                </a:cubicBezTo>
                <a:cubicBezTo>
                  <a:pt x="83697" y="44242"/>
                  <a:pt x="83193" y="44242"/>
                  <a:pt x="83193" y="44242"/>
                </a:cubicBezTo>
                <a:cubicBezTo>
                  <a:pt x="82689" y="44242"/>
                  <a:pt x="82184" y="44242"/>
                  <a:pt x="82184" y="43636"/>
                </a:cubicBezTo>
                <a:cubicBezTo>
                  <a:pt x="81680" y="43636"/>
                  <a:pt x="81680" y="43636"/>
                  <a:pt x="81680" y="43030"/>
                </a:cubicBezTo>
                <a:cubicBezTo>
                  <a:pt x="81680" y="42424"/>
                  <a:pt x="81680" y="41212"/>
                  <a:pt x="81176" y="40606"/>
                </a:cubicBezTo>
                <a:cubicBezTo>
                  <a:pt x="81176" y="40000"/>
                  <a:pt x="81176" y="40000"/>
                  <a:pt x="80672" y="38787"/>
                </a:cubicBezTo>
                <a:cubicBezTo>
                  <a:pt x="80168" y="38181"/>
                  <a:pt x="79663" y="36969"/>
                  <a:pt x="79663" y="36969"/>
                </a:cubicBezTo>
                <a:cubicBezTo>
                  <a:pt x="77142" y="35151"/>
                  <a:pt x="77142" y="35151"/>
                  <a:pt x="77142" y="35151"/>
                </a:cubicBezTo>
                <a:cubicBezTo>
                  <a:pt x="77142" y="35151"/>
                  <a:pt x="77647" y="34545"/>
                  <a:pt x="76638" y="34545"/>
                </a:cubicBezTo>
                <a:cubicBezTo>
                  <a:pt x="76134" y="35151"/>
                  <a:pt x="75126" y="36363"/>
                  <a:pt x="75126" y="36363"/>
                </a:cubicBezTo>
                <a:cubicBezTo>
                  <a:pt x="75126" y="36363"/>
                  <a:pt x="75126" y="37575"/>
                  <a:pt x="75126" y="38181"/>
                </a:cubicBezTo>
                <a:cubicBezTo>
                  <a:pt x="75126" y="38181"/>
                  <a:pt x="74621" y="38787"/>
                  <a:pt x="74621" y="39393"/>
                </a:cubicBezTo>
                <a:cubicBezTo>
                  <a:pt x="75126" y="40606"/>
                  <a:pt x="75630" y="41818"/>
                  <a:pt x="75126" y="42424"/>
                </a:cubicBezTo>
                <a:cubicBezTo>
                  <a:pt x="75126" y="42424"/>
                  <a:pt x="74621" y="43636"/>
                  <a:pt x="74621" y="44848"/>
                </a:cubicBezTo>
                <a:cubicBezTo>
                  <a:pt x="74621" y="46060"/>
                  <a:pt x="75126" y="47272"/>
                  <a:pt x="74621" y="47272"/>
                </a:cubicBezTo>
                <a:cubicBezTo>
                  <a:pt x="74117" y="47878"/>
                  <a:pt x="74117" y="48484"/>
                  <a:pt x="74117" y="48484"/>
                </a:cubicBezTo>
                <a:cubicBezTo>
                  <a:pt x="73613" y="48484"/>
                  <a:pt x="73613" y="48484"/>
                  <a:pt x="73613" y="48484"/>
                </a:cubicBezTo>
                <a:cubicBezTo>
                  <a:pt x="73613" y="48484"/>
                  <a:pt x="73613" y="47878"/>
                  <a:pt x="74117" y="46060"/>
                </a:cubicBezTo>
                <a:cubicBezTo>
                  <a:pt x="74117" y="44242"/>
                  <a:pt x="73613" y="43636"/>
                  <a:pt x="73613" y="43030"/>
                </a:cubicBezTo>
                <a:cubicBezTo>
                  <a:pt x="73109" y="43030"/>
                  <a:pt x="73109" y="43030"/>
                  <a:pt x="73109" y="42424"/>
                </a:cubicBezTo>
                <a:cubicBezTo>
                  <a:pt x="73109" y="41818"/>
                  <a:pt x="73109" y="41212"/>
                  <a:pt x="73109" y="41212"/>
                </a:cubicBezTo>
                <a:cubicBezTo>
                  <a:pt x="73109" y="41212"/>
                  <a:pt x="72100" y="40000"/>
                  <a:pt x="72100" y="39393"/>
                </a:cubicBezTo>
                <a:cubicBezTo>
                  <a:pt x="72100" y="38787"/>
                  <a:pt x="72605" y="38181"/>
                  <a:pt x="72605" y="36969"/>
                </a:cubicBezTo>
                <a:cubicBezTo>
                  <a:pt x="72605" y="35151"/>
                  <a:pt x="73109" y="35151"/>
                  <a:pt x="72605" y="34545"/>
                </a:cubicBezTo>
                <a:cubicBezTo>
                  <a:pt x="72100" y="33939"/>
                  <a:pt x="72605" y="33333"/>
                  <a:pt x="72100" y="32727"/>
                </a:cubicBezTo>
                <a:cubicBezTo>
                  <a:pt x="71596" y="32727"/>
                  <a:pt x="71596" y="33333"/>
                  <a:pt x="71092" y="32727"/>
                </a:cubicBezTo>
                <a:cubicBezTo>
                  <a:pt x="71092" y="32727"/>
                  <a:pt x="71092" y="33333"/>
                  <a:pt x="71092" y="33333"/>
                </a:cubicBezTo>
                <a:cubicBezTo>
                  <a:pt x="71596" y="32121"/>
                  <a:pt x="71596" y="32121"/>
                  <a:pt x="71596" y="32121"/>
                </a:cubicBezTo>
                <a:cubicBezTo>
                  <a:pt x="71596" y="32121"/>
                  <a:pt x="72100" y="29696"/>
                  <a:pt x="71596" y="30909"/>
                </a:cubicBezTo>
                <a:cubicBezTo>
                  <a:pt x="71092" y="31515"/>
                  <a:pt x="69579" y="32121"/>
                  <a:pt x="69579" y="31515"/>
                </a:cubicBezTo>
                <a:cubicBezTo>
                  <a:pt x="70084" y="30909"/>
                  <a:pt x="69579" y="30303"/>
                  <a:pt x="69579" y="30303"/>
                </a:cubicBezTo>
                <a:cubicBezTo>
                  <a:pt x="69579" y="30303"/>
                  <a:pt x="67563" y="30303"/>
                  <a:pt x="67563" y="30303"/>
                </a:cubicBezTo>
                <a:cubicBezTo>
                  <a:pt x="67563" y="30303"/>
                  <a:pt x="67563" y="29696"/>
                  <a:pt x="67563" y="30909"/>
                </a:cubicBezTo>
                <a:cubicBezTo>
                  <a:pt x="67563" y="31515"/>
                  <a:pt x="68067" y="32727"/>
                  <a:pt x="67058" y="32727"/>
                </a:cubicBezTo>
                <a:cubicBezTo>
                  <a:pt x="66050" y="33333"/>
                  <a:pt x="65546" y="33333"/>
                  <a:pt x="65546" y="33333"/>
                </a:cubicBezTo>
                <a:cubicBezTo>
                  <a:pt x="65546" y="32727"/>
                  <a:pt x="64537" y="32121"/>
                  <a:pt x="64537" y="32121"/>
                </a:cubicBezTo>
                <a:cubicBezTo>
                  <a:pt x="64537" y="32121"/>
                  <a:pt x="64033" y="32121"/>
                  <a:pt x="63529" y="32121"/>
                </a:cubicBezTo>
                <a:cubicBezTo>
                  <a:pt x="63529" y="32727"/>
                  <a:pt x="62521" y="32727"/>
                  <a:pt x="62521" y="32727"/>
                </a:cubicBezTo>
                <a:cubicBezTo>
                  <a:pt x="62521" y="33939"/>
                  <a:pt x="62521" y="33939"/>
                  <a:pt x="62521" y="33939"/>
                </a:cubicBezTo>
                <a:cubicBezTo>
                  <a:pt x="62521" y="34545"/>
                  <a:pt x="62521" y="34545"/>
                  <a:pt x="62521" y="34545"/>
                </a:cubicBezTo>
                <a:cubicBezTo>
                  <a:pt x="62521" y="34545"/>
                  <a:pt x="62016" y="34545"/>
                  <a:pt x="62016" y="34545"/>
                </a:cubicBezTo>
                <a:cubicBezTo>
                  <a:pt x="61512" y="35151"/>
                  <a:pt x="61008" y="35151"/>
                  <a:pt x="61512" y="35757"/>
                </a:cubicBezTo>
                <a:cubicBezTo>
                  <a:pt x="61512" y="35757"/>
                  <a:pt x="61512" y="35757"/>
                  <a:pt x="61512" y="36969"/>
                </a:cubicBezTo>
                <a:cubicBezTo>
                  <a:pt x="61512" y="37575"/>
                  <a:pt x="61512" y="37575"/>
                  <a:pt x="61512" y="38181"/>
                </a:cubicBezTo>
                <a:cubicBezTo>
                  <a:pt x="61008" y="38787"/>
                  <a:pt x="61008" y="39393"/>
                  <a:pt x="60504" y="40000"/>
                </a:cubicBezTo>
                <a:cubicBezTo>
                  <a:pt x="60504" y="40000"/>
                  <a:pt x="60000" y="40606"/>
                  <a:pt x="60000" y="40606"/>
                </a:cubicBezTo>
                <a:cubicBezTo>
                  <a:pt x="59495" y="41212"/>
                  <a:pt x="59495" y="41212"/>
                  <a:pt x="58991" y="41212"/>
                </a:cubicBezTo>
                <a:cubicBezTo>
                  <a:pt x="58487" y="41212"/>
                  <a:pt x="58487" y="41818"/>
                  <a:pt x="58487" y="41212"/>
                </a:cubicBezTo>
                <a:cubicBezTo>
                  <a:pt x="58487" y="40000"/>
                  <a:pt x="58487" y="39393"/>
                  <a:pt x="58487" y="38181"/>
                </a:cubicBezTo>
                <a:cubicBezTo>
                  <a:pt x="58487" y="37575"/>
                  <a:pt x="58991" y="37575"/>
                  <a:pt x="57983" y="36363"/>
                </a:cubicBezTo>
                <a:cubicBezTo>
                  <a:pt x="57478" y="35151"/>
                  <a:pt x="56974" y="35151"/>
                  <a:pt x="56974" y="34545"/>
                </a:cubicBezTo>
                <a:cubicBezTo>
                  <a:pt x="56974" y="34545"/>
                  <a:pt x="56974" y="33939"/>
                  <a:pt x="56974" y="33333"/>
                </a:cubicBezTo>
                <a:cubicBezTo>
                  <a:pt x="56974" y="32727"/>
                  <a:pt x="56974" y="33939"/>
                  <a:pt x="56974" y="31515"/>
                </a:cubicBezTo>
                <a:cubicBezTo>
                  <a:pt x="57478" y="29696"/>
                  <a:pt x="56974" y="29090"/>
                  <a:pt x="56974" y="29090"/>
                </a:cubicBezTo>
                <a:cubicBezTo>
                  <a:pt x="56974" y="29090"/>
                  <a:pt x="57478" y="26060"/>
                  <a:pt x="57478" y="26060"/>
                </a:cubicBezTo>
                <a:cubicBezTo>
                  <a:pt x="56974" y="26060"/>
                  <a:pt x="55462" y="26060"/>
                  <a:pt x="54957" y="26060"/>
                </a:cubicBezTo>
                <a:cubicBezTo>
                  <a:pt x="54453" y="26060"/>
                  <a:pt x="54453" y="26060"/>
                  <a:pt x="53949" y="26060"/>
                </a:cubicBezTo>
                <a:cubicBezTo>
                  <a:pt x="53949" y="26666"/>
                  <a:pt x="53445" y="26060"/>
                  <a:pt x="53445" y="27272"/>
                </a:cubicBezTo>
                <a:cubicBezTo>
                  <a:pt x="52941" y="28484"/>
                  <a:pt x="52436" y="28484"/>
                  <a:pt x="52436" y="29696"/>
                </a:cubicBezTo>
                <a:cubicBezTo>
                  <a:pt x="52436" y="30303"/>
                  <a:pt x="52436" y="31515"/>
                  <a:pt x="52436" y="31515"/>
                </a:cubicBezTo>
                <a:cubicBezTo>
                  <a:pt x="52436" y="32121"/>
                  <a:pt x="51932" y="32727"/>
                  <a:pt x="51932" y="32727"/>
                </a:cubicBezTo>
                <a:cubicBezTo>
                  <a:pt x="51932" y="32727"/>
                  <a:pt x="51932" y="33333"/>
                  <a:pt x="51932" y="34545"/>
                </a:cubicBezTo>
                <a:cubicBezTo>
                  <a:pt x="51428" y="35757"/>
                  <a:pt x="51428" y="36363"/>
                  <a:pt x="51428" y="36969"/>
                </a:cubicBezTo>
                <a:cubicBezTo>
                  <a:pt x="51428" y="36969"/>
                  <a:pt x="51428" y="36969"/>
                  <a:pt x="50924" y="37575"/>
                </a:cubicBezTo>
                <a:cubicBezTo>
                  <a:pt x="50420" y="38181"/>
                  <a:pt x="49411" y="40000"/>
                  <a:pt x="48907" y="40000"/>
                </a:cubicBezTo>
                <a:cubicBezTo>
                  <a:pt x="48907" y="40000"/>
                  <a:pt x="48907" y="40000"/>
                  <a:pt x="48403" y="40606"/>
                </a:cubicBezTo>
                <a:cubicBezTo>
                  <a:pt x="48403" y="40606"/>
                  <a:pt x="47394" y="42424"/>
                  <a:pt x="46890" y="42424"/>
                </a:cubicBezTo>
                <a:cubicBezTo>
                  <a:pt x="46386" y="43030"/>
                  <a:pt x="46890" y="43030"/>
                  <a:pt x="46386" y="43030"/>
                </a:cubicBezTo>
                <a:cubicBezTo>
                  <a:pt x="46386" y="42424"/>
                  <a:pt x="45882" y="42424"/>
                  <a:pt x="45882" y="41818"/>
                </a:cubicBezTo>
                <a:cubicBezTo>
                  <a:pt x="45882" y="40606"/>
                  <a:pt x="45882" y="40606"/>
                  <a:pt x="46386" y="39393"/>
                </a:cubicBezTo>
                <a:cubicBezTo>
                  <a:pt x="46386" y="38787"/>
                  <a:pt x="46890" y="37575"/>
                  <a:pt x="46890" y="37575"/>
                </a:cubicBezTo>
                <a:cubicBezTo>
                  <a:pt x="46890" y="37575"/>
                  <a:pt x="47394" y="36969"/>
                  <a:pt x="46890" y="36969"/>
                </a:cubicBezTo>
                <a:cubicBezTo>
                  <a:pt x="46386" y="36969"/>
                  <a:pt x="45882" y="36969"/>
                  <a:pt x="45378" y="36969"/>
                </a:cubicBezTo>
                <a:cubicBezTo>
                  <a:pt x="44369" y="36969"/>
                  <a:pt x="43361" y="37575"/>
                  <a:pt x="42857" y="38181"/>
                </a:cubicBezTo>
                <a:cubicBezTo>
                  <a:pt x="42352" y="38181"/>
                  <a:pt x="42352" y="38787"/>
                  <a:pt x="41344" y="40000"/>
                </a:cubicBezTo>
                <a:cubicBezTo>
                  <a:pt x="40336" y="40606"/>
                  <a:pt x="40336" y="40606"/>
                  <a:pt x="40336" y="40606"/>
                </a:cubicBezTo>
                <a:cubicBezTo>
                  <a:pt x="39831" y="41818"/>
                  <a:pt x="39831" y="41818"/>
                  <a:pt x="39831" y="41818"/>
                </a:cubicBezTo>
                <a:cubicBezTo>
                  <a:pt x="39831" y="42424"/>
                  <a:pt x="39831" y="42424"/>
                  <a:pt x="39831" y="42424"/>
                </a:cubicBezTo>
                <a:cubicBezTo>
                  <a:pt x="39831" y="42424"/>
                  <a:pt x="39831" y="41212"/>
                  <a:pt x="39831" y="41212"/>
                </a:cubicBezTo>
                <a:cubicBezTo>
                  <a:pt x="39831" y="41212"/>
                  <a:pt x="39327" y="41212"/>
                  <a:pt x="39327" y="41818"/>
                </a:cubicBezTo>
                <a:cubicBezTo>
                  <a:pt x="39327" y="41818"/>
                  <a:pt x="38823" y="42424"/>
                  <a:pt x="38823" y="42424"/>
                </a:cubicBezTo>
                <a:cubicBezTo>
                  <a:pt x="38319" y="43030"/>
                  <a:pt x="38319" y="43636"/>
                  <a:pt x="38319" y="44242"/>
                </a:cubicBezTo>
                <a:cubicBezTo>
                  <a:pt x="37815" y="44848"/>
                  <a:pt x="37815" y="46060"/>
                  <a:pt x="37310" y="46060"/>
                </a:cubicBezTo>
                <a:cubicBezTo>
                  <a:pt x="37310" y="46060"/>
                  <a:pt x="37310" y="46666"/>
                  <a:pt x="37310" y="46666"/>
                </a:cubicBezTo>
                <a:cubicBezTo>
                  <a:pt x="36806" y="46666"/>
                  <a:pt x="36302" y="47272"/>
                  <a:pt x="36302" y="47272"/>
                </a:cubicBezTo>
                <a:cubicBezTo>
                  <a:pt x="36302" y="47878"/>
                  <a:pt x="35798" y="46666"/>
                  <a:pt x="35798" y="45454"/>
                </a:cubicBezTo>
                <a:cubicBezTo>
                  <a:pt x="36302" y="44848"/>
                  <a:pt x="36302" y="44848"/>
                  <a:pt x="36302" y="44242"/>
                </a:cubicBezTo>
                <a:cubicBezTo>
                  <a:pt x="36806" y="44242"/>
                  <a:pt x="36806" y="43030"/>
                  <a:pt x="37310" y="43030"/>
                </a:cubicBezTo>
                <a:cubicBezTo>
                  <a:pt x="37310" y="43030"/>
                  <a:pt x="37310" y="43636"/>
                  <a:pt x="37310" y="42424"/>
                </a:cubicBezTo>
                <a:cubicBezTo>
                  <a:pt x="37815" y="41212"/>
                  <a:pt x="37815" y="40606"/>
                  <a:pt x="37815" y="40606"/>
                </a:cubicBezTo>
                <a:cubicBezTo>
                  <a:pt x="37815" y="40606"/>
                  <a:pt x="37815" y="40606"/>
                  <a:pt x="37815" y="40000"/>
                </a:cubicBezTo>
                <a:cubicBezTo>
                  <a:pt x="37310" y="39393"/>
                  <a:pt x="37310" y="40000"/>
                  <a:pt x="37310" y="39393"/>
                </a:cubicBezTo>
                <a:cubicBezTo>
                  <a:pt x="37815" y="38787"/>
                  <a:pt x="37815" y="38181"/>
                  <a:pt x="37815" y="37575"/>
                </a:cubicBezTo>
                <a:cubicBezTo>
                  <a:pt x="38319" y="37575"/>
                  <a:pt x="38319" y="36969"/>
                  <a:pt x="38319" y="36969"/>
                </a:cubicBezTo>
                <a:cubicBezTo>
                  <a:pt x="38319" y="36969"/>
                  <a:pt x="38319" y="36969"/>
                  <a:pt x="38319" y="36363"/>
                </a:cubicBezTo>
                <a:cubicBezTo>
                  <a:pt x="38319" y="36363"/>
                  <a:pt x="37815" y="35757"/>
                  <a:pt x="37815" y="35757"/>
                </a:cubicBezTo>
                <a:cubicBezTo>
                  <a:pt x="37815" y="35757"/>
                  <a:pt x="37815" y="35151"/>
                  <a:pt x="37815" y="35151"/>
                </a:cubicBezTo>
                <a:cubicBezTo>
                  <a:pt x="37815" y="35151"/>
                  <a:pt x="38319" y="34545"/>
                  <a:pt x="38319" y="33939"/>
                </a:cubicBezTo>
                <a:cubicBezTo>
                  <a:pt x="37815" y="33939"/>
                  <a:pt x="37815" y="33333"/>
                  <a:pt x="37310" y="32727"/>
                </a:cubicBezTo>
                <a:cubicBezTo>
                  <a:pt x="36806" y="32727"/>
                  <a:pt x="36806" y="32727"/>
                  <a:pt x="36806" y="32121"/>
                </a:cubicBezTo>
                <a:cubicBezTo>
                  <a:pt x="36806" y="32121"/>
                  <a:pt x="35798" y="31515"/>
                  <a:pt x="35798" y="31515"/>
                </a:cubicBezTo>
                <a:cubicBezTo>
                  <a:pt x="35798" y="31515"/>
                  <a:pt x="36302" y="30303"/>
                  <a:pt x="36302" y="30303"/>
                </a:cubicBezTo>
                <a:cubicBezTo>
                  <a:pt x="36302" y="30303"/>
                  <a:pt x="36302" y="29696"/>
                  <a:pt x="36806" y="29696"/>
                </a:cubicBezTo>
                <a:cubicBezTo>
                  <a:pt x="36806" y="30303"/>
                  <a:pt x="36806" y="30909"/>
                  <a:pt x="36806" y="30909"/>
                </a:cubicBezTo>
                <a:cubicBezTo>
                  <a:pt x="36806" y="31515"/>
                  <a:pt x="38319" y="32121"/>
                  <a:pt x="38319" y="32121"/>
                </a:cubicBezTo>
                <a:cubicBezTo>
                  <a:pt x="38319" y="32121"/>
                  <a:pt x="39327" y="31515"/>
                  <a:pt x="39327" y="31515"/>
                </a:cubicBezTo>
                <a:cubicBezTo>
                  <a:pt x="39831" y="31515"/>
                  <a:pt x="39831" y="30303"/>
                  <a:pt x="39831" y="30303"/>
                </a:cubicBezTo>
                <a:cubicBezTo>
                  <a:pt x="39831" y="30303"/>
                  <a:pt x="39327" y="30303"/>
                  <a:pt x="39831" y="29696"/>
                </a:cubicBezTo>
                <a:cubicBezTo>
                  <a:pt x="40336" y="29696"/>
                  <a:pt x="41344" y="29090"/>
                  <a:pt x="41344" y="29090"/>
                </a:cubicBezTo>
                <a:cubicBezTo>
                  <a:pt x="41344" y="28484"/>
                  <a:pt x="41848" y="28484"/>
                  <a:pt x="41848" y="28484"/>
                </a:cubicBezTo>
                <a:cubicBezTo>
                  <a:pt x="41848" y="28484"/>
                  <a:pt x="42352" y="27878"/>
                  <a:pt x="42352" y="27878"/>
                </a:cubicBezTo>
                <a:cubicBezTo>
                  <a:pt x="42352" y="27272"/>
                  <a:pt x="42857" y="27272"/>
                  <a:pt x="42352" y="26666"/>
                </a:cubicBezTo>
                <a:cubicBezTo>
                  <a:pt x="42352" y="26666"/>
                  <a:pt x="42352" y="26060"/>
                  <a:pt x="42352" y="25454"/>
                </a:cubicBezTo>
                <a:cubicBezTo>
                  <a:pt x="42352" y="25454"/>
                  <a:pt x="43361" y="26060"/>
                  <a:pt x="42352" y="24848"/>
                </a:cubicBezTo>
                <a:cubicBezTo>
                  <a:pt x="41344" y="24242"/>
                  <a:pt x="40336" y="23636"/>
                  <a:pt x="40840" y="23636"/>
                </a:cubicBezTo>
                <a:cubicBezTo>
                  <a:pt x="41344" y="23636"/>
                  <a:pt x="41848" y="23636"/>
                  <a:pt x="41848" y="23636"/>
                </a:cubicBezTo>
                <a:cubicBezTo>
                  <a:pt x="42352" y="23636"/>
                  <a:pt x="42857" y="24242"/>
                  <a:pt x="42857" y="23636"/>
                </a:cubicBezTo>
                <a:cubicBezTo>
                  <a:pt x="43361" y="23636"/>
                  <a:pt x="43361" y="23636"/>
                  <a:pt x="43361" y="23030"/>
                </a:cubicBezTo>
                <a:cubicBezTo>
                  <a:pt x="42857" y="22424"/>
                  <a:pt x="42857" y="22424"/>
                  <a:pt x="42857" y="22424"/>
                </a:cubicBezTo>
                <a:cubicBezTo>
                  <a:pt x="42352" y="21818"/>
                  <a:pt x="42352" y="21818"/>
                  <a:pt x="41848" y="21818"/>
                </a:cubicBezTo>
                <a:cubicBezTo>
                  <a:pt x="41848" y="21818"/>
                  <a:pt x="41344" y="22424"/>
                  <a:pt x="41848" y="21212"/>
                </a:cubicBezTo>
                <a:cubicBezTo>
                  <a:pt x="41848" y="20000"/>
                  <a:pt x="41848" y="20000"/>
                  <a:pt x="41848" y="19393"/>
                </a:cubicBezTo>
                <a:cubicBezTo>
                  <a:pt x="41848" y="19393"/>
                  <a:pt x="42857" y="19393"/>
                  <a:pt x="41848" y="19393"/>
                </a:cubicBezTo>
                <a:cubicBezTo>
                  <a:pt x="41344" y="18787"/>
                  <a:pt x="41344" y="18787"/>
                  <a:pt x="41344" y="18787"/>
                </a:cubicBezTo>
                <a:cubicBezTo>
                  <a:pt x="40840" y="18787"/>
                  <a:pt x="41344" y="18787"/>
                  <a:pt x="40336" y="18787"/>
                </a:cubicBezTo>
                <a:cubicBezTo>
                  <a:pt x="39831" y="18787"/>
                  <a:pt x="40336" y="17575"/>
                  <a:pt x="40336" y="17575"/>
                </a:cubicBezTo>
                <a:cubicBezTo>
                  <a:pt x="40336" y="16969"/>
                  <a:pt x="40840" y="14545"/>
                  <a:pt x="40840" y="14545"/>
                </a:cubicBezTo>
                <a:cubicBezTo>
                  <a:pt x="40336" y="13939"/>
                  <a:pt x="40336" y="13939"/>
                  <a:pt x="40336" y="13939"/>
                </a:cubicBezTo>
                <a:cubicBezTo>
                  <a:pt x="40336" y="13939"/>
                  <a:pt x="39831" y="12727"/>
                  <a:pt x="39831" y="12727"/>
                </a:cubicBezTo>
                <a:cubicBezTo>
                  <a:pt x="39831" y="12121"/>
                  <a:pt x="39831" y="11515"/>
                  <a:pt x="39327" y="11515"/>
                </a:cubicBezTo>
                <a:cubicBezTo>
                  <a:pt x="39327" y="11515"/>
                  <a:pt x="38823" y="10909"/>
                  <a:pt x="38823" y="10909"/>
                </a:cubicBezTo>
                <a:cubicBezTo>
                  <a:pt x="38823" y="10909"/>
                  <a:pt x="38319" y="10909"/>
                  <a:pt x="38319" y="10303"/>
                </a:cubicBezTo>
                <a:cubicBezTo>
                  <a:pt x="38319" y="9696"/>
                  <a:pt x="38319" y="9090"/>
                  <a:pt x="38319" y="9090"/>
                </a:cubicBezTo>
                <a:cubicBezTo>
                  <a:pt x="38319" y="8484"/>
                  <a:pt x="38319" y="7878"/>
                  <a:pt x="38319" y="7878"/>
                </a:cubicBezTo>
                <a:cubicBezTo>
                  <a:pt x="37310" y="4848"/>
                  <a:pt x="37310" y="4848"/>
                  <a:pt x="37310" y="4848"/>
                </a:cubicBezTo>
                <a:cubicBezTo>
                  <a:pt x="37310" y="4242"/>
                  <a:pt x="37310" y="4242"/>
                  <a:pt x="37310" y="4242"/>
                </a:cubicBezTo>
                <a:cubicBezTo>
                  <a:pt x="36806" y="3030"/>
                  <a:pt x="36806" y="3030"/>
                  <a:pt x="36806" y="3030"/>
                </a:cubicBezTo>
                <a:cubicBezTo>
                  <a:pt x="36302" y="3030"/>
                  <a:pt x="36302" y="3030"/>
                  <a:pt x="36302" y="3030"/>
                </a:cubicBezTo>
                <a:cubicBezTo>
                  <a:pt x="36302" y="1818"/>
                  <a:pt x="36302" y="1818"/>
                  <a:pt x="36302" y="1818"/>
                </a:cubicBezTo>
                <a:cubicBezTo>
                  <a:pt x="36302" y="1818"/>
                  <a:pt x="35798" y="1818"/>
                  <a:pt x="35798" y="2424"/>
                </a:cubicBezTo>
                <a:cubicBezTo>
                  <a:pt x="35798" y="2424"/>
                  <a:pt x="35798" y="3030"/>
                  <a:pt x="35294" y="3030"/>
                </a:cubicBezTo>
                <a:cubicBezTo>
                  <a:pt x="34789" y="3030"/>
                  <a:pt x="34285" y="2424"/>
                  <a:pt x="34285" y="2424"/>
                </a:cubicBezTo>
                <a:cubicBezTo>
                  <a:pt x="34285" y="2424"/>
                  <a:pt x="34285" y="1818"/>
                  <a:pt x="34285" y="1212"/>
                </a:cubicBezTo>
                <a:cubicBezTo>
                  <a:pt x="33781" y="1212"/>
                  <a:pt x="32268" y="0"/>
                  <a:pt x="32268" y="0"/>
                </a:cubicBezTo>
                <a:cubicBezTo>
                  <a:pt x="32268" y="0"/>
                  <a:pt x="32268" y="0"/>
                  <a:pt x="32268" y="606"/>
                </a:cubicBezTo>
                <a:cubicBezTo>
                  <a:pt x="32268" y="606"/>
                  <a:pt x="31764" y="1212"/>
                  <a:pt x="31764" y="606"/>
                </a:cubicBezTo>
                <a:cubicBezTo>
                  <a:pt x="31260" y="606"/>
                  <a:pt x="30252" y="0"/>
                  <a:pt x="30252" y="0"/>
                </a:cubicBezTo>
                <a:cubicBezTo>
                  <a:pt x="30252" y="0"/>
                  <a:pt x="30252" y="606"/>
                  <a:pt x="30252" y="606"/>
                </a:cubicBezTo>
                <a:cubicBezTo>
                  <a:pt x="30252" y="1212"/>
                  <a:pt x="30756" y="1818"/>
                  <a:pt x="30756" y="1818"/>
                </a:cubicBezTo>
                <a:cubicBezTo>
                  <a:pt x="30252" y="1818"/>
                  <a:pt x="29747" y="1818"/>
                  <a:pt x="29747" y="1818"/>
                </a:cubicBezTo>
                <a:cubicBezTo>
                  <a:pt x="29747" y="1818"/>
                  <a:pt x="29747" y="1818"/>
                  <a:pt x="29243" y="1818"/>
                </a:cubicBezTo>
                <a:cubicBezTo>
                  <a:pt x="29243" y="1212"/>
                  <a:pt x="28739" y="1212"/>
                  <a:pt x="28739" y="1212"/>
                </a:cubicBezTo>
                <a:cubicBezTo>
                  <a:pt x="28739" y="1818"/>
                  <a:pt x="28235" y="1818"/>
                  <a:pt x="28235" y="3030"/>
                </a:cubicBezTo>
                <a:cubicBezTo>
                  <a:pt x="28739" y="3636"/>
                  <a:pt x="28235" y="3636"/>
                  <a:pt x="28739" y="4242"/>
                </a:cubicBezTo>
                <a:cubicBezTo>
                  <a:pt x="29243" y="4242"/>
                  <a:pt x="29243" y="4242"/>
                  <a:pt x="29747" y="4848"/>
                </a:cubicBezTo>
                <a:cubicBezTo>
                  <a:pt x="30252" y="4848"/>
                  <a:pt x="30252" y="4848"/>
                  <a:pt x="30756" y="4848"/>
                </a:cubicBezTo>
                <a:cubicBezTo>
                  <a:pt x="30756" y="4848"/>
                  <a:pt x="31260" y="4848"/>
                  <a:pt x="31764" y="4848"/>
                </a:cubicBezTo>
                <a:cubicBezTo>
                  <a:pt x="31764" y="4848"/>
                  <a:pt x="32268" y="4242"/>
                  <a:pt x="32268" y="4242"/>
                </a:cubicBezTo>
                <a:cubicBezTo>
                  <a:pt x="32268" y="4242"/>
                  <a:pt x="32268" y="4848"/>
                  <a:pt x="32268" y="4848"/>
                </a:cubicBezTo>
                <a:cubicBezTo>
                  <a:pt x="32268" y="4848"/>
                  <a:pt x="31764" y="4848"/>
                  <a:pt x="32268" y="5454"/>
                </a:cubicBezTo>
                <a:cubicBezTo>
                  <a:pt x="32268" y="5454"/>
                  <a:pt x="32268" y="5454"/>
                  <a:pt x="32268" y="5454"/>
                </a:cubicBezTo>
                <a:cubicBezTo>
                  <a:pt x="32773" y="6060"/>
                  <a:pt x="32773" y="6060"/>
                  <a:pt x="32773" y="6060"/>
                </a:cubicBezTo>
                <a:cubicBezTo>
                  <a:pt x="32773" y="6060"/>
                  <a:pt x="32773" y="6060"/>
                  <a:pt x="32773" y="6060"/>
                </a:cubicBezTo>
                <a:cubicBezTo>
                  <a:pt x="32773" y="6060"/>
                  <a:pt x="32773" y="6666"/>
                  <a:pt x="32773" y="6666"/>
                </a:cubicBezTo>
                <a:cubicBezTo>
                  <a:pt x="32773" y="7272"/>
                  <a:pt x="32773" y="7272"/>
                  <a:pt x="33277" y="7272"/>
                </a:cubicBezTo>
                <a:cubicBezTo>
                  <a:pt x="33781" y="7878"/>
                  <a:pt x="33781" y="7272"/>
                  <a:pt x="33781" y="7272"/>
                </a:cubicBezTo>
                <a:cubicBezTo>
                  <a:pt x="33781" y="7272"/>
                  <a:pt x="34789" y="8484"/>
                  <a:pt x="34285" y="8484"/>
                </a:cubicBezTo>
                <a:cubicBezTo>
                  <a:pt x="34285" y="8484"/>
                  <a:pt x="33781" y="7878"/>
                  <a:pt x="34285" y="8484"/>
                </a:cubicBezTo>
                <a:cubicBezTo>
                  <a:pt x="34789" y="9090"/>
                  <a:pt x="35294" y="9090"/>
                  <a:pt x="35294" y="9090"/>
                </a:cubicBezTo>
                <a:cubicBezTo>
                  <a:pt x="35294" y="9090"/>
                  <a:pt x="34789" y="9696"/>
                  <a:pt x="33781" y="9090"/>
                </a:cubicBezTo>
                <a:cubicBezTo>
                  <a:pt x="33277" y="9090"/>
                  <a:pt x="33277" y="9090"/>
                  <a:pt x="33277" y="9090"/>
                </a:cubicBezTo>
                <a:cubicBezTo>
                  <a:pt x="33277" y="9090"/>
                  <a:pt x="32773" y="8484"/>
                  <a:pt x="32773" y="8484"/>
                </a:cubicBezTo>
                <a:cubicBezTo>
                  <a:pt x="32268" y="7878"/>
                  <a:pt x="32268" y="7272"/>
                  <a:pt x="32268" y="7272"/>
                </a:cubicBezTo>
                <a:cubicBezTo>
                  <a:pt x="32268" y="7272"/>
                  <a:pt x="31764" y="6666"/>
                  <a:pt x="31260" y="6666"/>
                </a:cubicBezTo>
                <a:cubicBezTo>
                  <a:pt x="30756" y="6060"/>
                  <a:pt x="30252" y="6666"/>
                  <a:pt x="29747" y="6666"/>
                </a:cubicBezTo>
                <a:cubicBezTo>
                  <a:pt x="29747" y="6666"/>
                  <a:pt x="29243" y="7272"/>
                  <a:pt x="28739" y="7272"/>
                </a:cubicBezTo>
                <a:cubicBezTo>
                  <a:pt x="28739" y="7272"/>
                  <a:pt x="28739" y="7878"/>
                  <a:pt x="28739" y="8484"/>
                </a:cubicBezTo>
                <a:cubicBezTo>
                  <a:pt x="29243" y="9090"/>
                  <a:pt x="30252" y="11515"/>
                  <a:pt x="30252" y="11515"/>
                </a:cubicBezTo>
                <a:cubicBezTo>
                  <a:pt x="30252" y="11515"/>
                  <a:pt x="31260" y="12727"/>
                  <a:pt x="31260" y="12727"/>
                </a:cubicBezTo>
                <a:cubicBezTo>
                  <a:pt x="31260" y="12727"/>
                  <a:pt x="31764" y="13939"/>
                  <a:pt x="31764" y="13939"/>
                </a:cubicBezTo>
                <a:cubicBezTo>
                  <a:pt x="31764" y="13939"/>
                  <a:pt x="31764" y="13939"/>
                  <a:pt x="32268" y="14545"/>
                </a:cubicBezTo>
                <a:cubicBezTo>
                  <a:pt x="32773" y="14545"/>
                  <a:pt x="32268" y="14545"/>
                  <a:pt x="32268" y="14545"/>
                </a:cubicBezTo>
                <a:cubicBezTo>
                  <a:pt x="32268" y="15151"/>
                  <a:pt x="31764" y="15757"/>
                  <a:pt x="31764" y="16363"/>
                </a:cubicBezTo>
                <a:cubicBezTo>
                  <a:pt x="31764" y="16363"/>
                  <a:pt x="31764" y="15757"/>
                  <a:pt x="31764" y="16363"/>
                </a:cubicBezTo>
                <a:cubicBezTo>
                  <a:pt x="31764" y="17575"/>
                  <a:pt x="31764" y="18787"/>
                  <a:pt x="31764" y="18787"/>
                </a:cubicBezTo>
                <a:cubicBezTo>
                  <a:pt x="31260" y="20000"/>
                  <a:pt x="31260" y="20000"/>
                  <a:pt x="31260" y="20000"/>
                </a:cubicBezTo>
                <a:cubicBezTo>
                  <a:pt x="30756" y="20606"/>
                  <a:pt x="30756" y="20606"/>
                  <a:pt x="30756" y="20606"/>
                </a:cubicBezTo>
                <a:cubicBezTo>
                  <a:pt x="30756" y="20606"/>
                  <a:pt x="30756" y="20606"/>
                  <a:pt x="30756" y="20606"/>
                </a:cubicBezTo>
                <a:cubicBezTo>
                  <a:pt x="30252" y="20606"/>
                  <a:pt x="30756" y="20000"/>
                  <a:pt x="30756" y="20000"/>
                </a:cubicBezTo>
                <a:cubicBezTo>
                  <a:pt x="30756" y="19393"/>
                  <a:pt x="30756" y="19393"/>
                  <a:pt x="30756" y="19393"/>
                </a:cubicBezTo>
                <a:cubicBezTo>
                  <a:pt x="31260" y="18181"/>
                  <a:pt x="31260" y="18181"/>
                  <a:pt x="31260" y="18181"/>
                </a:cubicBezTo>
                <a:cubicBezTo>
                  <a:pt x="31260" y="18181"/>
                  <a:pt x="30756" y="17575"/>
                  <a:pt x="30252" y="17575"/>
                </a:cubicBezTo>
                <a:cubicBezTo>
                  <a:pt x="30252" y="16969"/>
                  <a:pt x="30252" y="17575"/>
                  <a:pt x="29747" y="17575"/>
                </a:cubicBezTo>
                <a:cubicBezTo>
                  <a:pt x="29747" y="17575"/>
                  <a:pt x="29243" y="18787"/>
                  <a:pt x="29243" y="18787"/>
                </a:cubicBezTo>
                <a:cubicBezTo>
                  <a:pt x="29243" y="18787"/>
                  <a:pt x="28739" y="18787"/>
                  <a:pt x="29243" y="18181"/>
                </a:cubicBezTo>
                <a:cubicBezTo>
                  <a:pt x="29243" y="18181"/>
                  <a:pt x="29243" y="16969"/>
                  <a:pt x="29747" y="16969"/>
                </a:cubicBezTo>
                <a:cubicBezTo>
                  <a:pt x="29747" y="16969"/>
                  <a:pt x="29747" y="16969"/>
                  <a:pt x="29747" y="16969"/>
                </a:cubicBezTo>
                <a:cubicBezTo>
                  <a:pt x="29747" y="16363"/>
                  <a:pt x="30252" y="16363"/>
                  <a:pt x="30252" y="15757"/>
                </a:cubicBezTo>
                <a:cubicBezTo>
                  <a:pt x="30252" y="15151"/>
                  <a:pt x="30252" y="15151"/>
                  <a:pt x="30252" y="14545"/>
                </a:cubicBezTo>
                <a:cubicBezTo>
                  <a:pt x="29747" y="14545"/>
                  <a:pt x="29747" y="13939"/>
                  <a:pt x="29747" y="13333"/>
                </a:cubicBezTo>
                <a:cubicBezTo>
                  <a:pt x="29243" y="13333"/>
                  <a:pt x="28739" y="13939"/>
                  <a:pt x="28739" y="13939"/>
                </a:cubicBezTo>
                <a:cubicBezTo>
                  <a:pt x="28739" y="14545"/>
                  <a:pt x="28739" y="14545"/>
                  <a:pt x="28739" y="14545"/>
                </a:cubicBezTo>
                <a:cubicBezTo>
                  <a:pt x="28235" y="15151"/>
                  <a:pt x="28235" y="15151"/>
                  <a:pt x="27731" y="15757"/>
                </a:cubicBezTo>
                <a:cubicBezTo>
                  <a:pt x="27226" y="16363"/>
                  <a:pt x="27226" y="16363"/>
                  <a:pt x="27226" y="16363"/>
                </a:cubicBezTo>
                <a:cubicBezTo>
                  <a:pt x="27226" y="16363"/>
                  <a:pt x="27731" y="15151"/>
                  <a:pt x="27731" y="15151"/>
                </a:cubicBezTo>
                <a:cubicBezTo>
                  <a:pt x="27731" y="15151"/>
                  <a:pt x="28235" y="14545"/>
                  <a:pt x="27731" y="14545"/>
                </a:cubicBezTo>
                <a:cubicBezTo>
                  <a:pt x="27731" y="14545"/>
                  <a:pt x="27731" y="14545"/>
                  <a:pt x="27731" y="13939"/>
                </a:cubicBezTo>
                <a:cubicBezTo>
                  <a:pt x="27731" y="13939"/>
                  <a:pt x="27731" y="13333"/>
                  <a:pt x="27731" y="13333"/>
                </a:cubicBezTo>
                <a:cubicBezTo>
                  <a:pt x="27731" y="13333"/>
                  <a:pt x="28235" y="13333"/>
                  <a:pt x="27731" y="13333"/>
                </a:cubicBezTo>
                <a:cubicBezTo>
                  <a:pt x="27226" y="13333"/>
                  <a:pt x="27226" y="13333"/>
                  <a:pt x="27226" y="13333"/>
                </a:cubicBezTo>
                <a:cubicBezTo>
                  <a:pt x="27226" y="13333"/>
                  <a:pt x="26722" y="13333"/>
                  <a:pt x="26722" y="13333"/>
                </a:cubicBezTo>
                <a:cubicBezTo>
                  <a:pt x="26722" y="12727"/>
                  <a:pt x="27226" y="12727"/>
                  <a:pt x="27226" y="12727"/>
                </a:cubicBezTo>
                <a:cubicBezTo>
                  <a:pt x="27226" y="12121"/>
                  <a:pt x="27731" y="11515"/>
                  <a:pt x="27731" y="11515"/>
                </a:cubicBezTo>
                <a:cubicBezTo>
                  <a:pt x="27731" y="11515"/>
                  <a:pt x="27226" y="10909"/>
                  <a:pt x="27226" y="10909"/>
                </a:cubicBezTo>
                <a:cubicBezTo>
                  <a:pt x="26722" y="10303"/>
                  <a:pt x="26722" y="9696"/>
                  <a:pt x="26722" y="9696"/>
                </a:cubicBezTo>
                <a:cubicBezTo>
                  <a:pt x="26722" y="9696"/>
                  <a:pt x="26722" y="10909"/>
                  <a:pt x="26722" y="9090"/>
                </a:cubicBezTo>
                <a:cubicBezTo>
                  <a:pt x="26218" y="7272"/>
                  <a:pt x="26218" y="7272"/>
                  <a:pt x="26218" y="7272"/>
                </a:cubicBezTo>
                <a:cubicBezTo>
                  <a:pt x="25714" y="6666"/>
                  <a:pt x="25714" y="6666"/>
                  <a:pt x="25714" y="6666"/>
                </a:cubicBezTo>
                <a:cubicBezTo>
                  <a:pt x="25714" y="6666"/>
                  <a:pt x="25714" y="6060"/>
                  <a:pt x="25210" y="6060"/>
                </a:cubicBezTo>
                <a:cubicBezTo>
                  <a:pt x="25210" y="5454"/>
                  <a:pt x="24201" y="4848"/>
                  <a:pt x="24201" y="4848"/>
                </a:cubicBezTo>
                <a:cubicBezTo>
                  <a:pt x="24201" y="4242"/>
                  <a:pt x="24201" y="4242"/>
                  <a:pt x="24201" y="4242"/>
                </a:cubicBezTo>
                <a:cubicBezTo>
                  <a:pt x="24201" y="4242"/>
                  <a:pt x="24201" y="3636"/>
                  <a:pt x="24201" y="3636"/>
                </a:cubicBezTo>
                <a:cubicBezTo>
                  <a:pt x="23697" y="3636"/>
                  <a:pt x="23193" y="3030"/>
                  <a:pt x="23193" y="3636"/>
                </a:cubicBezTo>
                <a:cubicBezTo>
                  <a:pt x="23193" y="4242"/>
                  <a:pt x="23193" y="4242"/>
                  <a:pt x="23193" y="4848"/>
                </a:cubicBezTo>
                <a:cubicBezTo>
                  <a:pt x="22689" y="4848"/>
                  <a:pt x="21680" y="4848"/>
                  <a:pt x="21680" y="4848"/>
                </a:cubicBezTo>
                <a:cubicBezTo>
                  <a:pt x="21680" y="4848"/>
                  <a:pt x="21680" y="5454"/>
                  <a:pt x="21680" y="5454"/>
                </a:cubicBezTo>
                <a:cubicBezTo>
                  <a:pt x="20672" y="6060"/>
                  <a:pt x="20672" y="6060"/>
                  <a:pt x="20672" y="6060"/>
                </a:cubicBezTo>
                <a:cubicBezTo>
                  <a:pt x="20672" y="6060"/>
                  <a:pt x="20672" y="5454"/>
                  <a:pt x="20672" y="6060"/>
                </a:cubicBezTo>
                <a:cubicBezTo>
                  <a:pt x="21176" y="6666"/>
                  <a:pt x="21176" y="7272"/>
                  <a:pt x="21176" y="7878"/>
                </a:cubicBezTo>
                <a:cubicBezTo>
                  <a:pt x="21176" y="7878"/>
                  <a:pt x="22184" y="8484"/>
                  <a:pt x="21680" y="8484"/>
                </a:cubicBezTo>
                <a:cubicBezTo>
                  <a:pt x="21680" y="8484"/>
                  <a:pt x="20672" y="8484"/>
                  <a:pt x="20672" y="8484"/>
                </a:cubicBezTo>
                <a:cubicBezTo>
                  <a:pt x="20672" y="8484"/>
                  <a:pt x="20168" y="7878"/>
                  <a:pt x="20168" y="7272"/>
                </a:cubicBezTo>
                <a:cubicBezTo>
                  <a:pt x="20168" y="7272"/>
                  <a:pt x="19663" y="6666"/>
                  <a:pt x="19159" y="6666"/>
                </a:cubicBezTo>
                <a:cubicBezTo>
                  <a:pt x="19159" y="6666"/>
                  <a:pt x="18655" y="6666"/>
                  <a:pt x="18151" y="7272"/>
                </a:cubicBezTo>
                <a:cubicBezTo>
                  <a:pt x="18151" y="7878"/>
                  <a:pt x="18151" y="7272"/>
                  <a:pt x="18151" y="8484"/>
                </a:cubicBezTo>
                <a:cubicBezTo>
                  <a:pt x="18151" y="9696"/>
                  <a:pt x="18151" y="10909"/>
                  <a:pt x="18151" y="10909"/>
                </a:cubicBezTo>
                <a:cubicBezTo>
                  <a:pt x="18151" y="10909"/>
                  <a:pt x="18655" y="11515"/>
                  <a:pt x="19159" y="12121"/>
                </a:cubicBezTo>
                <a:cubicBezTo>
                  <a:pt x="19159" y="12121"/>
                  <a:pt x="19663" y="13939"/>
                  <a:pt x="19663" y="13939"/>
                </a:cubicBezTo>
                <a:cubicBezTo>
                  <a:pt x="19663" y="14545"/>
                  <a:pt x="20168" y="15151"/>
                  <a:pt x="20168" y="15151"/>
                </a:cubicBezTo>
                <a:cubicBezTo>
                  <a:pt x="20168" y="15151"/>
                  <a:pt x="17647" y="13939"/>
                  <a:pt x="17647" y="13333"/>
                </a:cubicBezTo>
                <a:cubicBezTo>
                  <a:pt x="17647" y="12727"/>
                  <a:pt x="17647" y="11515"/>
                  <a:pt x="17142" y="11515"/>
                </a:cubicBezTo>
                <a:cubicBezTo>
                  <a:pt x="17142" y="11515"/>
                  <a:pt x="17142" y="10909"/>
                  <a:pt x="16638" y="11515"/>
                </a:cubicBezTo>
                <a:cubicBezTo>
                  <a:pt x="16134" y="11515"/>
                  <a:pt x="16134" y="11515"/>
                  <a:pt x="15630" y="11515"/>
                </a:cubicBezTo>
                <a:cubicBezTo>
                  <a:pt x="15630" y="12121"/>
                  <a:pt x="15630" y="12727"/>
                  <a:pt x="15630" y="12727"/>
                </a:cubicBezTo>
                <a:cubicBezTo>
                  <a:pt x="15630" y="12727"/>
                  <a:pt x="15630" y="13333"/>
                  <a:pt x="15630" y="13939"/>
                </a:cubicBezTo>
                <a:cubicBezTo>
                  <a:pt x="16134" y="15151"/>
                  <a:pt x="16134" y="15151"/>
                  <a:pt x="16134" y="15757"/>
                </a:cubicBezTo>
                <a:cubicBezTo>
                  <a:pt x="16638" y="16363"/>
                  <a:pt x="17142" y="16363"/>
                  <a:pt x="17142" y="16969"/>
                </a:cubicBezTo>
                <a:cubicBezTo>
                  <a:pt x="17142" y="16969"/>
                  <a:pt x="17647" y="17575"/>
                  <a:pt x="17647" y="17575"/>
                </a:cubicBezTo>
                <a:cubicBezTo>
                  <a:pt x="17647" y="17575"/>
                  <a:pt x="17142" y="18787"/>
                  <a:pt x="17142" y="18787"/>
                </a:cubicBezTo>
                <a:cubicBezTo>
                  <a:pt x="17142" y="19393"/>
                  <a:pt x="16638" y="20000"/>
                  <a:pt x="16638" y="20000"/>
                </a:cubicBezTo>
                <a:cubicBezTo>
                  <a:pt x="16638" y="20000"/>
                  <a:pt x="17647" y="20606"/>
                  <a:pt x="17647" y="20606"/>
                </a:cubicBezTo>
                <a:cubicBezTo>
                  <a:pt x="17647" y="20606"/>
                  <a:pt x="18151" y="21212"/>
                  <a:pt x="17647" y="21818"/>
                </a:cubicBezTo>
                <a:cubicBezTo>
                  <a:pt x="17142" y="21818"/>
                  <a:pt x="17142" y="21818"/>
                  <a:pt x="16638" y="21818"/>
                </a:cubicBezTo>
                <a:cubicBezTo>
                  <a:pt x="16638" y="21212"/>
                  <a:pt x="16134" y="21818"/>
                  <a:pt x="16134" y="20606"/>
                </a:cubicBezTo>
                <a:cubicBezTo>
                  <a:pt x="16638" y="20000"/>
                  <a:pt x="16638" y="19393"/>
                  <a:pt x="16638" y="19393"/>
                </a:cubicBezTo>
                <a:cubicBezTo>
                  <a:pt x="16134" y="19393"/>
                  <a:pt x="15630" y="18181"/>
                  <a:pt x="15630" y="18181"/>
                </a:cubicBezTo>
                <a:cubicBezTo>
                  <a:pt x="15630" y="18181"/>
                  <a:pt x="16638" y="20000"/>
                  <a:pt x="15126" y="16969"/>
                </a:cubicBezTo>
                <a:cubicBezTo>
                  <a:pt x="14117" y="14545"/>
                  <a:pt x="14117" y="14545"/>
                  <a:pt x="14117" y="14545"/>
                </a:cubicBezTo>
                <a:cubicBezTo>
                  <a:pt x="14117" y="13333"/>
                  <a:pt x="14117" y="13333"/>
                  <a:pt x="14117" y="13333"/>
                </a:cubicBezTo>
                <a:cubicBezTo>
                  <a:pt x="14117" y="13333"/>
                  <a:pt x="13613" y="13333"/>
                  <a:pt x="13613" y="13333"/>
                </a:cubicBezTo>
                <a:cubicBezTo>
                  <a:pt x="13613" y="13333"/>
                  <a:pt x="13109" y="12727"/>
                  <a:pt x="13109" y="12727"/>
                </a:cubicBezTo>
                <a:cubicBezTo>
                  <a:pt x="13109" y="12727"/>
                  <a:pt x="12100" y="12727"/>
                  <a:pt x="12100" y="12727"/>
                </a:cubicBezTo>
                <a:cubicBezTo>
                  <a:pt x="12100" y="13333"/>
                  <a:pt x="12100" y="13333"/>
                  <a:pt x="12100" y="13939"/>
                </a:cubicBezTo>
                <a:cubicBezTo>
                  <a:pt x="11596" y="13939"/>
                  <a:pt x="11596" y="15151"/>
                  <a:pt x="11596" y="15151"/>
                </a:cubicBezTo>
                <a:cubicBezTo>
                  <a:pt x="11092" y="15151"/>
                  <a:pt x="11092" y="16363"/>
                  <a:pt x="11092" y="16363"/>
                </a:cubicBezTo>
                <a:cubicBezTo>
                  <a:pt x="11092" y="16363"/>
                  <a:pt x="11596" y="16363"/>
                  <a:pt x="11596" y="16969"/>
                </a:cubicBezTo>
                <a:cubicBezTo>
                  <a:pt x="12100" y="17575"/>
                  <a:pt x="12100" y="18181"/>
                  <a:pt x="12100" y="18181"/>
                </a:cubicBezTo>
                <a:cubicBezTo>
                  <a:pt x="12100" y="18181"/>
                  <a:pt x="11596" y="17575"/>
                  <a:pt x="11596" y="17575"/>
                </a:cubicBezTo>
                <a:cubicBezTo>
                  <a:pt x="11092" y="17575"/>
                  <a:pt x="11092" y="17575"/>
                  <a:pt x="11092" y="17575"/>
                </a:cubicBezTo>
                <a:cubicBezTo>
                  <a:pt x="10588" y="18181"/>
                  <a:pt x="10588" y="18181"/>
                  <a:pt x="10588" y="18181"/>
                </a:cubicBezTo>
                <a:cubicBezTo>
                  <a:pt x="10588" y="18181"/>
                  <a:pt x="10588" y="18181"/>
                  <a:pt x="10588" y="18181"/>
                </a:cubicBezTo>
                <a:cubicBezTo>
                  <a:pt x="10588" y="18181"/>
                  <a:pt x="10588" y="19393"/>
                  <a:pt x="10588" y="19393"/>
                </a:cubicBezTo>
                <a:cubicBezTo>
                  <a:pt x="10588" y="19393"/>
                  <a:pt x="11092" y="20000"/>
                  <a:pt x="11092" y="20000"/>
                </a:cubicBezTo>
                <a:cubicBezTo>
                  <a:pt x="11092" y="20000"/>
                  <a:pt x="11092" y="20606"/>
                  <a:pt x="11092" y="20606"/>
                </a:cubicBezTo>
                <a:cubicBezTo>
                  <a:pt x="11092" y="20606"/>
                  <a:pt x="11596" y="21212"/>
                  <a:pt x="11596" y="21212"/>
                </a:cubicBezTo>
                <a:cubicBezTo>
                  <a:pt x="11596" y="21818"/>
                  <a:pt x="11596" y="21818"/>
                  <a:pt x="11596" y="21818"/>
                </a:cubicBezTo>
                <a:cubicBezTo>
                  <a:pt x="11596" y="21818"/>
                  <a:pt x="11596" y="21818"/>
                  <a:pt x="11596" y="21818"/>
                </a:cubicBezTo>
                <a:cubicBezTo>
                  <a:pt x="11092" y="21818"/>
                  <a:pt x="11596" y="22424"/>
                  <a:pt x="11092" y="21818"/>
                </a:cubicBezTo>
                <a:cubicBezTo>
                  <a:pt x="10588" y="21212"/>
                  <a:pt x="10588" y="21818"/>
                  <a:pt x="10084" y="21212"/>
                </a:cubicBezTo>
                <a:cubicBezTo>
                  <a:pt x="10084" y="20000"/>
                  <a:pt x="10084" y="20000"/>
                  <a:pt x="10084" y="20000"/>
                </a:cubicBezTo>
                <a:cubicBezTo>
                  <a:pt x="10084" y="20000"/>
                  <a:pt x="10588" y="19393"/>
                  <a:pt x="9579" y="18787"/>
                </a:cubicBezTo>
                <a:cubicBezTo>
                  <a:pt x="9075" y="17575"/>
                  <a:pt x="9075" y="16969"/>
                  <a:pt x="9075" y="16969"/>
                </a:cubicBezTo>
                <a:cubicBezTo>
                  <a:pt x="9075" y="16969"/>
                  <a:pt x="8571" y="16363"/>
                  <a:pt x="8067" y="16363"/>
                </a:cubicBezTo>
                <a:cubicBezTo>
                  <a:pt x="8067" y="16969"/>
                  <a:pt x="8067" y="16969"/>
                  <a:pt x="7563" y="16969"/>
                </a:cubicBezTo>
                <a:cubicBezTo>
                  <a:pt x="7058" y="17575"/>
                  <a:pt x="7058" y="17575"/>
                  <a:pt x="6554" y="17575"/>
                </a:cubicBezTo>
                <a:cubicBezTo>
                  <a:pt x="6554" y="17575"/>
                  <a:pt x="5546" y="17575"/>
                  <a:pt x="5546" y="17575"/>
                </a:cubicBezTo>
                <a:cubicBezTo>
                  <a:pt x="5546" y="17575"/>
                  <a:pt x="5546" y="17575"/>
                  <a:pt x="4537" y="18181"/>
                </a:cubicBezTo>
                <a:cubicBezTo>
                  <a:pt x="4033" y="19393"/>
                  <a:pt x="3529" y="19393"/>
                  <a:pt x="4033" y="19393"/>
                </a:cubicBezTo>
                <a:cubicBezTo>
                  <a:pt x="4537" y="20000"/>
                  <a:pt x="5546" y="20000"/>
                  <a:pt x="5546" y="20000"/>
                </a:cubicBezTo>
                <a:cubicBezTo>
                  <a:pt x="5546" y="20000"/>
                  <a:pt x="6050" y="20000"/>
                  <a:pt x="6554" y="20606"/>
                </a:cubicBezTo>
                <a:cubicBezTo>
                  <a:pt x="7058" y="20606"/>
                  <a:pt x="8067" y="21818"/>
                  <a:pt x="8067" y="21818"/>
                </a:cubicBezTo>
                <a:cubicBezTo>
                  <a:pt x="9075" y="23636"/>
                  <a:pt x="9075" y="23636"/>
                  <a:pt x="9075" y="23636"/>
                </a:cubicBezTo>
                <a:cubicBezTo>
                  <a:pt x="9075" y="23636"/>
                  <a:pt x="9075" y="24242"/>
                  <a:pt x="9075" y="24242"/>
                </a:cubicBezTo>
                <a:cubicBezTo>
                  <a:pt x="9075" y="24242"/>
                  <a:pt x="9075" y="24242"/>
                  <a:pt x="9075" y="24848"/>
                </a:cubicBezTo>
                <a:cubicBezTo>
                  <a:pt x="9075" y="24848"/>
                  <a:pt x="9075" y="25454"/>
                  <a:pt x="9075" y="25454"/>
                </a:cubicBezTo>
                <a:cubicBezTo>
                  <a:pt x="9075" y="25454"/>
                  <a:pt x="9579" y="26060"/>
                  <a:pt x="10084" y="26666"/>
                </a:cubicBezTo>
                <a:cubicBezTo>
                  <a:pt x="10588" y="26666"/>
                  <a:pt x="10588" y="26666"/>
                  <a:pt x="11092" y="26666"/>
                </a:cubicBezTo>
                <a:cubicBezTo>
                  <a:pt x="11596" y="26666"/>
                  <a:pt x="11092" y="26666"/>
                  <a:pt x="11596" y="26666"/>
                </a:cubicBezTo>
                <a:cubicBezTo>
                  <a:pt x="12605" y="26060"/>
                  <a:pt x="12605" y="26060"/>
                  <a:pt x="12605" y="26060"/>
                </a:cubicBezTo>
                <a:cubicBezTo>
                  <a:pt x="12605" y="26060"/>
                  <a:pt x="12605" y="26060"/>
                  <a:pt x="13109" y="26060"/>
                </a:cubicBezTo>
                <a:cubicBezTo>
                  <a:pt x="14117" y="26060"/>
                  <a:pt x="13613" y="26666"/>
                  <a:pt x="14117" y="26666"/>
                </a:cubicBezTo>
                <a:cubicBezTo>
                  <a:pt x="14117" y="26060"/>
                  <a:pt x="15126" y="26060"/>
                  <a:pt x="15126" y="26060"/>
                </a:cubicBezTo>
                <a:cubicBezTo>
                  <a:pt x="15630" y="26060"/>
                  <a:pt x="15630" y="25454"/>
                  <a:pt x="16134" y="26060"/>
                </a:cubicBezTo>
                <a:cubicBezTo>
                  <a:pt x="16134" y="26666"/>
                  <a:pt x="16134" y="26666"/>
                  <a:pt x="16134" y="27272"/>
                </a:cubicBezTo>
                <a:cubicBezTo>
                  <a:pt x="16638" y="27272"/>
                  <a:pt x="17142" y="27878"/>
                  <a:pt x="17142" y="27878"/>
                </a:cubicBezTo>
                <a:cubicBezTo>
                  <a:pt x="18151" y="27878"/>
                  <a:pt x="18151" y="27878"/>
                  <a:pt x="18151" y="27878"/>
                </a:cubicBezTo>
                <a:cubicBezTo>
                  <a:pt x="18151" y="27878"/>
                  <a:pt x="18151" y="27272"/>
                  <a:pt x="18655" y="27272"/>
                </a:cubicBezTo>
                <a:cubicBezTo>
                  <a:pt x="18655" y="26666"/>
                  <a:pt x="19159" y="26060"/>
                  <a:pt x="19159" y="26060"/>
                </a:cubicBezTo>
                <a:cubicBezTo>
                  <a:pt x="19159" y="26060"/>
                  <a:pt x="18655" y="26060"/>
                  <a:pt x="19159" y="26666"/>
                </a:cubicBezTo>
                <a:cubicBezTo>
                  <a:pt x="19663" y="26666"/>
                  <a:pt x="19663" y="26666"/>
                  <a:pt x="20168" y="27272"/>
                </a:cubicBezTo>
                <a:cubicBezTo>
                  <a:pt x="20168" y="27272"/>
                  <a:pt x="21176" y="26666"/>
                  <a:pt x="21176" y="26666"/>
                </a:cubicBezTo>
                <a:cubicBezTo>
                  <a:pt x="21680" y="26666"/>
                  <a:pt x="21680" y="26666"/>
                  <a:pt x="21680" y="26666"/>
                </a:cubicBezTo>
                <a:cubicBezTo>
                  <a:pt x="21680" y="26666"/>
                  <a:pt x="21176" y="27272"/>
                  <a:pt x="21680" y="27272"/>
                </a:cubicBezTo>
                <a:cubicBezTo>
                  <a:pt x="21680" y="27272"/>
                  <a:pt x="21176" y="27272"/>
                  <a:pt x="21680" y="27272"/>
                </a:cubicBezTo>
                <a:cubicBezTo>
                  <a:pt x="22184" y="27272"/>
                  <a:pt x="22689" y="26666"/>
                  <a:pt x="22689" y="26666"/>
                </a:cubicBezTo>
                <a:cubicBezTo>
                  <a:pt x="22689" y="26666"/>
                  <a:pt x="22184" y="27272"/>
                  <a:pt x="22184" y="27878"/>
                </a:cubicBezTo>
                <a:cubicBezTo>
                  <a:pt x="22184" y="27878"/>
                  <a:pt x="22184" y="28484"/>
                  <a:pt x="22184" y="28484"/>
                </a:cubicBezTo>
                <a:cubicBezTo>
                  <a:pt x="22184" y="28484"/>
                  <a:pt x="22184" y="29090"/>
                  <a:pt x="22689" y="29696"/>
                </a:cubicBezTo>
                <a:cubicBezTo>
                  <a:pt x="23193" y="29696"/>
                  <a:pt x="23697" y="29696"/>
                  <a:pt x="23697" y="29696"/>
                </a:cubicBezTo>
                <a:cubicBezTo>
                  <a:pt x="23697" y="29696"/>
                  <a:pt x="24705" y="29696"/>
                  <a:pt x="24705" y="29696"/>
                </a:cubicBezTo>
                <a:cubicBezTo>
                  <a:pt x="24705" y="30303"/>
                  <a:pt x="24705" y="29696"/>
                  <a:pt x="24705" y="30303"/>
                </a:cubicBezTo>
                <a:cubicBezTo>
                  <a:pt x="24705" y="30303"/>
                  <a:pt x="25210" y="29696"/>
                  <a:pt x="25210" y="29696"/>
                </a:cubicBezTo>
                <a:cubicBezTo>
                  <a:pt x="25714" y="29696"/>
                  <a:pt x="26218" y="29696"/>
                  <a:pt x="26218" y="29696"/>
                </a:cubicBezTo>
                <a:cubicBezTo>
                  <a:pt x="26218" y="30303"/>
                  <a:pt x="25714" y="30909"/>
                  <a:pt x="25714" y="30909"/>
                </a:cubicBezTo>
                <a:cubicBezTo>
                  <a:pt x="25714" y="30909"/>
                  <a:pt x="25714" y="30909"/>
                  <a:pt x="25714" y="31515"/>
                </a:cubicBezTo>
                <a:cubicBezTo>
                  <a:pt x="25714" y="31515"/>
                  <a:pt x="26722" y="31515"/>
                  <a:pt x="26722" y="31515"/>
                </a:cubicBezTo>
                <a:cubicBezTo>
                  <a:pt x="26722" y="31515"/>
                  <a:pt x="26722" y="30909"/>
                  <a:pt x="27226" y="31515"/>
                </a:cubicBezTo>
                <a:cubicBezTo>
                  <a:pt x="27226" y="32121"/>
                  <a:pt x="27226" y="32121"/>
                  <a:pt x="27226" y="32121"/>
                </a:cubicBezTo>
                <a:cubicBezTo>
                  <a:pt x="26722" y="32121"/>
                  <a:pt x="26722" y="31515"/>
                  <a:pt x="26722" y="32727"/>
                </a:cubicBezTo>
                <a:cubicBezTo>
                  <a:pt x="26218" y="33333"/>
                  <a:pt x="26722" y="33939"/>
                  <a:pt x="26722" y="33939"/>
                </a:cubicBezTo>
                <a:cubicBezTo>
                  <a:pt x="27226" y="35151"/>
                  <a:pt x="27226" y="35151"/>
                  <a:pt x="27226" y="35151"/>
                </a:cubicBezTo>
                <a:cubicBezTo>
                  <a:pt x="27226" y="35151"/>
                  <a:pt x="27731" y="35151"/>
                  <a:pt x="28235" y="35151"/>
                </a:cubicBezTo>
                <a:cubicBezTo>
                  <a:pt x="28235" y="35151"/>
                  <a:pt x="28235" y="35151"/>
                  <a:pt x="28235" y="35151"/>
                </a:cubicBezTo>
                <a:cubicBezTo>
                  <a:pt x="28739" y="34545"/>
                  <a:pt x="28739" y="34545"/>
                  <a:pt x="29243" y="34545"/>
                </a:cubicBezTo>
                <a:cubicBezTo>
                  <a:pt x="29243" y="34545"/>
                  <a:pt x="29747" y="35151"/>
                  <a:pt x="29747" y="35151"/>
                </a:cubicBezTo>
                <a:cubicBezTo>
                  <a:pt x="29747" y="35757"/>
                  <a:pt x="29747" y="35757"/>
                  <a:pt x="29747" y="35757"/>
                </a:cubicBezTo>
                <a:cubicBezTo>
                  <a:pt x="29747" y="35757"/>
                  <a:pt x="29747" y="36363"/>
                  <a:pt x="29747" y="36363"/>
                </a:cubicBezTo>
                <a:cubicBezTo>
                  <a:pt x="30252" y="36969"/>
                  <a:pt x="30756" y="36969"/>
                  <a:pt x="30756" y="36969"/>
                </a:cubicBezTo>
                <a:cubicBezTo>
                  <a:pt x="30756" y="36969"/>
                  <a:pt x="30756" y="36969"/>
                  <a:pt x="30756" y="37575"/>
                </a:cubicBezTo>
                <a:cubicBezTo>
                  <a:pt x="31260" y="38181"/>
                  <a:pt x="32268" y="38787"/>
                  <a:pt x="32268" y="38787"/>
                </a:cubicBezTo>
                <a:cubicBezTo>
                  <a:pt x="32268" y="38787"/>
                  <a:pt x="30756" y="38181"/>
                  <a:pt x="30756" y="38181"/>
                </a:cubicBezTo>
                <a:cubicBezTo>
                  <a:pt x="30252" y="38181"/>
                  <a:pt x="29243" y="38181"/>
                  <a:pt x="29243" y="38181"/>
                </a:cubicBezTo>
                <a:cubicBezTo>
                  <a:pt x="28739" y="38181"/>
                  <a:pt x="27731" y="38181"/>
                  <a:pt x="27731" y="38181"/>
                </a:cubicBezTo>
                <a:cubicBezTo>
                  <a:pt x="26218" y="38787"/>
                  <a:pt x="26218" y="38787"/>
                  <a:pt x="26218" y="38787"/>
                </a:cubicBezTo>
                <a:cubicBezTo>
                  <a:pt x="26218" y="38787"/>
                  <a:pt x="25210" y="39393"/>
                  <a:pt x="24705" y="39393"/>
                </a:cubicBezTo>
                <a:cubicBezTo>
                  <a:pt x="24705" y="39393"/>
                  <a:pt x="24201" y="39393"/>
                  <a:pt x="23697" y="39393"/>
                </a:cubicBezTo>
                <a:cubicBezTo>
                  <a:pt x="23697" y="40000"/>
                  <a:pt x="23193" y="40000"/>
                  <a:pt x="22689" y="40000"/>
                </a:cubicBezTo>
                <a:cubicBezTo>
                  <a:pt x="22689" y="40000"/>
                  <a:pt x="21680" y="40000"/>
                  <a:pt x="21176" y="40000"/>
                </a:cubicBezTo>
                <a:cubicBezTo>
                  <a:pt x="21176" y="40000"/>
                  <a:pt x="20672" y="40000"/>
                  <a:pt x="20672" y="40000"/>
                </a:cubicBezTo>
                <a:cubicBezTo>
                  <a:pt x="19159" y="40606"/>
                  <a:pt x="19159" y="40606"/>
                  <a:pt x="19159" y="40606"/>
                </a:cubicBezTo>
                <a:cubicBezTo>
                  <a:pt x="19663" y="41212"/>
                  <a:pt x="19663" y="41212"/>
                  <a:pt x="19663" y="41212"/>
                </a:cubicBezTo>
                <a:cubicBezTo>
                  <a:pt x="20672" y="41818"/>
                  <a:pt x="20672" y="41818"/>
                  <a:pt x="20672" y="41818"/>
                </a:cubicBezTo>
                <a:cubicBezTo>
                  <a:pt x="20672" y="41818"/>
                  <a:pt x="20672" y="41818"/>
                  <a:pt x="20672" y="41818"/>
                </a:cubicBezTo>
                <a:cubicBezTo>
                  <a:pt x="21176" y="41818"/>
                  <a:pt x="21680" y="42424"/>
                  <a:pt x="21680" y="42424"/>
                </a:cubicBezTo>
                <a:cubicBezTo>
                  <a:pt x="21680" y="42424"/>
                  <a:pt x="22184" y="43030"/>
                  <a:pt x="22689" y="43636"/>
                </a:cubicBezTo>
                <a:cubicBezTo>
                  <a:pt x="22689" y="43636"/>
                  <a:pt x="23193" y="44242"/>
                  <a:pt x="23193" y="44242"/>
                </a:cubicBezTo>
                <a:lnTo>
                  <a:pt x="24201" y="44848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" name="Google Shape;3040;p256">
            <a:extLst>
              <a:ext uri="{FF2B5EF4-FFF2-40B4-BE49-F238E27FC236}">
                <a16:creationId xmlns:a16="http://schemas.microsoft.com/office/drawing/2014/main" id="{75E9D0F2-FBFA-D76A-008A-1D6DCDEBC436}"/>
              </a:ext>
            </a:extLst>
          </p:cNvPr>
          <p:cNvSpPr/>
          <p:nvPr/>
        </p:nvSpPr>
        <p:spPr>
          <a:xfrm>
            <a:off x="9114271" y="2811659"/>
            <a:ext cx="1289136" cy="104914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2840" y="9355"/>
                </a:moveTo>
                <a:cubicBezTo>
                  <a:pt x="53522" y="9355"/>
                  <a:pt x="56590" y="6508"/>
                  <a:pt x="56590" y="6508"/>
                </a:cubicBezTo>
                <a:cubicBezTo>
                  <a:pt x="56590" y="6508"/>
                  <a:pt x="58295" y="7322"/>
                  <a:pt x="59318" y="6915"/>
                </a:cubicBezTo>
                <a:cubicBezTo>
                  <a:pt x="60340" y="6915"/>
                  <a:pt x="63750" y="6508"/>
                  <a:pt x="63750" y="6508"/>
                </a:cubicBezTo>
                <a:cubicBezTo>
                  <a:pt x="63750" y="6508"/>
                  <a:pt x="65454" y="6508"/>
                  <a:pt x="66136" y="6508"/>
                </a:cubicBezTo>
                <a:cubicBezTo>
                  <a:pt x="66818" y="6508"/>
                  <a:pt x="69886" y="6101"/>
                  <a:pt x="70568" y="6101"/>
                </a:cubicBezTo>
                <a:cubicBezTo>
                  <a:pt x="71250" y="6101"/>
                  <a:pt x="73295" y="5694"/>
                  <a:pt x="73636" y="5288"/>
                </a:cubicBezTo>
                <a:cubicBezTo>
                  <a:pt x="74318" y="5288"/>
                  <a:pt x="78409" y="4881"/>
                  <a:pt x="78750" y="4881"/>
                </a:cubicBezTo>
                <a:cubicBezTo>
                  <a:pt x="79431" y="4881"/>
                  <a:pt x="85909" y="4067"/>
                  <a:pt x="85909" y="4067"/>
                </a:cubicBezTo>
                <a:cubicBezTo>
                  <a:pt x="88636" y="2033"/>
                  <a:pt x="88636" y="2033"/>
                  <a:pt x="88636" y="2033"/>
                </a:cubicBezTo>
                <a:cubicBezTo>
                  <a:pt x="91704" y="1220"/>
                  <a:pt x="91704" y="1220"/>
                  <a:pt x="91704" y="1220"/>
                </a:cubicBezTo>
                <a:cubicBezTo>
                  <a:pt x="91704" y="1220"/>
                  <a:pt x="92727" y="0"/>
                  <a:pt x="92727" y="406"/>
                </a:cubicBezTo>
                <a:cubicBezTo>
                  <a:pt x="93068" y="1220"/>
                  <a:pt x="93750" y="2440"/>
                  <a:pt x="93750" y="2440"/>
                </a:cubicBezTo>
                <a:cubicBezTo>
                  <a:pt x="93750" y="2440"/>
                  <a:pt x="97500" y="2440"/>
                  <a:pt x="97500" y="2440"/>
                </a:cubicBezTo>
                <a:cubicBezTo>
                  <a:pt x="97500" y="2847"/>
                  <a:pt x="98522" y="5288"/>
                  <a:pt x="98522" y="5288"/>
                </a:cubicBezTo>
                <a:cubicBezTo>
                  <a:pt x="99545" y="6508"/>
                  <a:pt x="99545" y="6508"/>
                  <a:pt x="99545" y="6508"/>
                </a:cubicBezTo>
                <a:cubicBezTo>
                  <a:pt x="99545" y="6508"/>
                  <a:pt x="99886" y="8542"/>
                  <a:pt x="99886" y="9762"/>
                </a:cubicBezTo>
                <a:cubicBezTo>
                  <a:pt x="100227" y="10576"/>
                  <a:pt x="102613" y="15457"/>
                  <a:pt x="102613" y="15457"/>
                </a:cubicBezTo>
                <a:cubicBezTo>
                  <a:pt x="104318" y="19932"/>
                  <a:pt x="104318" y="19932"/>
                  <a:pt x="104318" y="19932"/>
                </a:cubicBezTo>
                <a:cubicBezTo>
                  <a:pt x="107045" y="24406"/>
                  <a:pt x="107045" y="24406"/>
                  <a:pt x="107045" y="24406"/>
                </a:cubicBezTo>
                <a:cubicBezTo>
                  <a:pt x="107386" y="27661"/>
                  <a:pt x="107386" y="27661"/>
                  <a:pt x="107386" y="27661"/>
                </a:cubicBezTo>
                <a:cubicBezTo>
                  <a:pt x="107386" y="27661"/>
                  <a:pt x="108409" y="28881"/>
                  <a:pt x="108409" y="29694"/>
                </a:cubicBezTo>
                <a:cubicBezTo>
                  <a:pt x="108409" y="30101"/>
                  <a:pt x="108409" y="31322"/>
                  <a:pt x="108409" y="31728"/>
                </a:cubicBezTo>
                <a:cubicBezTo>
                  <a:pt x="108750" y="31728"/>
                  <a:pt x="109090" y="33762"/>
                  <a:pt x="108750" y="33762"/>
                </a:cubicBezTo>
                <a:cubicBezTo>
                  <a:pt x="108409" y="34169"/>
                  <a:pt x="107045" y="36610"/>
                  <a:pt x="107045" y="36610"/>
                </a:cubicBezTo>
                <a:cubicBezTo>
                  <a:pt x="105681" y="37423"/>
                  <a:pt x="105681" y="37423"/>
                  <a:pt x="105681" y="37423"/>
                </a:cubicBezTo>
                <a:cubicBezTo>
                  <a:pt x="103977" y="40271"/>
                  <a:pt x="103977" y="40271"/>
                  <a:pt x="103977" y="40271"/>
                </a:cubicBezTo>
                <a:cubicBezTo>
                  <a:pt x="102954" y="43932"/>
                  <a:pt x="102954" y="43932"/>
                  <a:pt x="102954" y="43932"/>
                </a:cubicBezTo>
                <a:cubicBezTo>
                  <a:pt x="102613" y="45152"/>
                  <a:pt x="102613" y="45152"/>
                  <a:pt x="102613" y="45152"/>
                </a:cubicBezTo>
                <a:cubicBezTo>
                  <a:pt x="102613" y="45152"/>
                  <a:pt x="102954" y="46372"/>
                  <a:pt x="103295" y="46372"/>
                </a:cubicBezTo>
                <a:cubicBezTo>
                  <a:pt x="103977" y="46372"/>
                  <a:pt x="106363" y="46779"/>
                  <a:pt x="106363" y="46779"/>
                </a:cubicBezTo>
                <a:cubicBezTo>
                  <a:pt x="108409" y="48406"/>
                  <a:pt x="108409" y="48406"/>
                  <a:pt x="108409" y="48406"/>
                </a:cubicBezTo>
                <a:cubicBezTo>
                  <a:pt x="108409" y="50033"/>
                  <a:pt x="108409" y="50033"/>
                  <a:pt x="108409" y="50033"/>
                </a:cubicBezTo>
                <a:cubicBezTo>
                  <a:pt x="108409" y="50033"/>
                  <a:pt x="108750" y="53288"/>
                  <a:pt x="108750" y="53694"/>
                </a:cubicBezTo>
                <a:cubicBezTo>
                  <a:pt x="108750" y="53694"/>
                  <a:pt x="108409" y="56542"/>
                  <a:pt x="108409" y="56542"/>
                </a:cubicBezTo>
                <a:cubicBezTo>
                  <a:pt x="108409" y="56542"/>
                  <a:pt x="109090" y="58169"/>
                  <a:pt x="109090" y="58576"/>
                </a:cubicBezTo>
                <a:cubicBezTo>
                  <a:pt x="109431" y="58983"/>
                  <a:pt x="110113" y="59796"/>
                  <a:pt x="110113" y="60203"/>
                </a:cubicBezTo>
                <a:cubicBezTo>
                  <a:pt x="110454" y="60203"/>
                  <a:pt x="110454" y="60610"/>
                  <a:pt x="110454" y="60610"/>
                </a:cubicBezTo>
                <a:cubicBezTo>
                  <a:pt x="111136" y="62644"/>
                  <a:pt x="111136" y="62644"/>
                  <a:pt x="111136" y="62644"/>
                </a:cubicBezTo>
                <a:cubicBezTo>
                  <a:pt x="111136" y="64271"/>
                  <a:pt x="111136" y="64271"/>
                  <a:pt x="111136" y="64271"/>
                </a:cubicBezTo>
                <a:cubicBezTo>
                  <a:pt x="111136" y="64271"/>
                  <a:pt x="111136" y="65491"/>
                  <a:pt x="111818" y="65491"/>
                </a:cubicBezTo>
                <a:cubicBezTo>
                  <a:pt x="112500" y="65491"/>
                  <a:pt x="112840" y="65898"/>
                  <a:pt x="112840" y="66711"/>
                </a:cubicBezTo>
                <a:cubicBezTo>
                  <a:pt x="112840" y="67525"/>
                  <a:pt x="114545" y="68338"/>
                  <a:pt x="114545" y="68338"/>
                </a:cubicBezTo>
                <a:cubicBezTo>
                  <a:pt x="114545" y="68338"/>
                  <a:pt x="114545" y="69966"/>
                  <a:pt x="114886" y="70372"/>
                </a:cubicBezTo>
                <a:cubicBezTo>
                  <a:pt x="115568" y="70779"/>
                  <a:pt x="116250" y="71186"/>
                  <a:pt x="117272" y="71186"/>
                </a:cubicBezTo>
                <a:cubicBezTo>
                  <a:pt x="118295" y="71593"/>
                  <a:pt x="117954" y="73220"/>
                  <a:pt x="118636" y="73627"/>
                </a:cubicBezTo>
                <a:cubicBezTo>
                  <a:pt x="119318" y="74033"/>
                  <a:pt x="120000" y="74847"/>
                  <a:pt x="119318" y="74847"/>
                </a:cubicBezTo>
                <a:cubicBezTo>
                  <a:pt x="118977" y="75254"/>
                  <a:pt x="117954" y="75254"/>
                  <a:pt x="117954" y="75254"/>
                </a:cubicBezTo>
                <a:cubicBezTo>
                  <a:pt x="117954" y="75254"/>
                  <a:pt x="117613" y="75661"/>
                  <a:pt x="117613" y="76474"/>
                </a:cubicBezTo>
                <a:cubicBezTo>
                  <a:pt x="117954" y="76881"/>
                  <a:pt x="117954" y="76881"/>
                  <a:pt x="117954" y="76881"/>
                </a:cubicBezTo>
                <a:cubicBezTo>
                  <a:pt x="119318" y="78915"/>
                  <a:pt x="119318" y="78915"/>
                  <a:pt x="119318" y="78915"/>
                </a:cubicBezTo>
                <a:cubicBezTo>
                  <a:pt x="119318" y="81355"/>
                  <a:pt x="119318" y="81355"/>
                  <a:pt x="119318" y="81355"/>
                </a:cubicBezTo>
                <a:cubicBezTo>
                  <a:pt x="119318" y="81355"/>
                  <a:pt x="119318" y="82169"/>
                  <a:pt x="119318" y="82983"/>
                </a:cubicBezTo>
                <a:cubicBezTo>
                  <a:pt x="119318" y="83389"/>
                  <a:pt x="118977" y="84203"/>
                  <a:pt x="118295" y="84203"/>
                </a:cubicBezTo>
                <a:cubicBezTo>
                  <a:pt x="117613" y="84203"/>
                  <a:pt x="117613" y="85423"/>
                  <a:pt x="117272" y="85423"/>
                </a:cubicBezTo>
                <a:cubicBezTo>
                  <a:pt x="116931" y="85830"/>
                  <a:pt x="116250" y="84610"/>
                  <a:pt x="115909" y="85830"/>
                </a:cubicBezTo>
                <a:cubicBezTo>
                  <a:pt x="115568" y="87457"/>
                  <a:pt x="114886" y="88677"/>
                  <a:pt x="114886" y="89084"/>
                </a:cubicBezTo>
                <a:cubicBezTo>
                  <a:pt x="114545" y="89491"/>
                  <a:pt x="113522" y="89898"/>
                  <a:pt x="113522" y="90711"/>
                </a:cubicBezTo>
                <a:cubicBezTo>
                  <a:pt x="113181" y="91525"/>
                  <a:pt x="113181" y="90711"/>
                  <a:pt x="112500" y="92745"/>
                </a:cubicBezTo>
                <a:cubicBezTo>
                  <a:pt x="111818" y="94779"/>
                  <a:pt x="111477" y="95593"/>
                  <a:pt x="111477" y="95593"/>
                </a:cubicBezTo>
                <a:cubicBezTo>
                  <a:pt x="108409" y="100474"/>
                  <a:pt x="108409" y="100474"/>
                  <a:pt x="108409" y="100474"/>
                </a:cubicBezTo>
                <a:cubicBezTo>
                  <a:pt x="108409" y="100474"/>
                  <a:pt x="106704" y="103728"/>
                  <a:pt x="106704" y="104135"/>
                </a:cubicBezTo>
                <a:cubicBezTo>
                  <a:pt x="106704" y="104542"/>
                  <a:pt x="106704" y="106169"/>
                  <a:pt x="106704" y="106169"/>
                </a:cubicBezTo>
                <a:cubicBezTo>
                  <a:pt x="108068" y="107796"/>
                  <a:pt x="108068" y="107796"/>
                  <a:pt x="108068" y="107796"/>
                </a:cubicBezTo>
                <a:cubicBezTo>
                  <a:pt x="108068" y="109423"/>
                  <a:pt x="108068" y="109423"/>
                  <a:pt x="108068" y="109423"/>
                </a:cubicBezTo>
                <a:cubicBezTo>
                  <a:pt x="108068" y="109423"/>
                  <a:pt x="108068" y="110644"/>
                  <a:pt x="108409" y="111050"/>
                </a:cubicBezTo>
                <a:cubicBezTo>
                  <a:pt x="108750" y="111050"/>
                  <a:pt x="108750" y="111050"/>
                  <a:pt x="108750" y="111050"/>
                </a:cubicBezTo>
                <a:cubicBezTo>
                  <a:pt x="108409" y="112271"/>
                  <a:pt x="108409" y="112271"/>
                  <a:pt x="108409" y="112271"/>
                </a:cubicBezTo>
                <a:cubicBezTo>
                  <a:pt x="108409" y="112271"/>
                  <a:pt x="108750" y="113491"/>
                  <a:pt x="109090" y="113491"/>
                </a:cubicBezTo>
                <a:cubicBezTo>
                  <a:pt x="109090" y="113491"/>
                  <a:pt x="109772" y="113898"/>
                  <a:pt x="109772" y="113898"/>
                </a:cubicBezTo>
                <a:cubicBezTo>
                  <a:pt x="109772" y="113898"/>
                  <a:pt x="110454" y="114711"/>
                  <a:pt x="110454" y="114711"/>
                </a:cubicBezTo>
                <a:cubicBezTo>
                  <a:pt x="110795" y="115118"/>
                  <a:pt x="110454" y="115932"/>
                  <a:pt x="110454" y="115932"/>
                </a:cubicBezTo>
                <a:cubicBezTo>
                  <a:pt x="110454" y="115932"/>
                  <a:pt x="110454" y="116338"/>
                  <a:pt x="110113" y="116338"/>
                </a:cubicBezTo>
                <a:cubicBezTo>
                  <a:pt x="109772" y="116338"/>
                  <a:pt x="109772" y="116338"/>
                  <a:pt x="109090" y="116338"/>
                </a:cubicBezTo>
                <a:cubicBezTo>
                  <a:pt x="108750" y="115932"/>
                  <a:pt x="107727" y="115932"/>
                  <a:pt x="107386" y="115932"/>
                </a:cubicBezTo>
                <a:cubicBezTo>
                  <a:pt x="107045" y="115932"/>
                  <a:pt x="107045" y="115932"/>
                  <a:pt x="107045" y="115932"/>
                </a:cubicBezTo>
                <a:cubicBezTo>
                  <a:pt x="106704" y="115932"/>
                  <a:pt x="106704" y="115932"/>
                  <a:pt x="106363" y="116338"/>
                </a:cubicBezTo>
                <a:cubicBezTo>
                  <a:pt x="106363" y="115932"/>
                  <a:pt x="106363" y="115932"/>
                  <a:pt x="106363" y="115932"/>
                </a:cubicBezTo>
                <a:cubicBezTo>
                  <a:pt x="106363" y="115525"/>
                  <a:pt x="106363" y="115118"/>
                  <a:pt x="106363" y="115118"/>
                </a:cubicBezTo>
                <a:cubicBezTo>
                  <a:pt x="106363" y="115118"/>
                  <a:pt x="105340" y="115118"/>
                  <a:pt x="105340" y="115118"/>
                </a:cubicBezTo>
                <a:cubicBezTo>
                  <a:pt x="105000" y="115118"/>
                  <a:pt x="104659" y="115118"/>
                  <a:pt x="104659" y="115118"/>
                </a:cubicBezTo>
                <a:cubicBezTo>
                  <a:pt x="104659" y="115118"/>
                  <a:pt x="103977" y="114711"/>
                  <a:pt x="103977" y="114711"/>
                </a:cubicBezTo>
                <a:cubicBezTo>
                  <a:pt x="103977" y="114711"/>
                  <a:pt x="103636" y="114711"/>
                  <a:pt x="103636" y="114711"/>
                </a:cubicBezTo>
                <a:cubicBezTo>
                  <a:pt x="103636" y="114305"/>
                  <a:pt x="103295" y="114711"/>
                  <a:pt x="103295" y="114711"/>
                </a:cubicBezTo>
                <a:cubicBezTo>
                  <a:pt x="102954" y="114711"/>
                  <a:pt x="102954" y="114711"/>
                  <a:pt x="102954" y="114711"/>
                </a:cubicBezTo>
                <a:cubicBezTo>
                  <a:pt x="102272" y="114711"/>
                  <a:pt x="102272" y="114711"/>
                  <a:pt x="102272" y="114711"/>
                </a:cubicBezTo>
                <a:cubicBezTo>
                  <a:pt x="102272" y="114711"/>
                  <a:pt x="102272" y="114305"/>
                  <a:pt x="102272" y="114305"/>
                </a:cubicBezTo>
                <a:cubicBezTo>
                  <a:pt x="102272" y="113898"/>
                  <a:pt x="101931" y="114305"/>
                  <a:pt x="101931" y="114305"/>
                </a:cubicBezTo>
                <a:cubicBezTo>
                  <a:pt x="101931" y="114305"/>
                  <a:pt x="101250" y="114305"/>
                  <a:pt x="101250" y="114305"/>
                </a:cubicBezTo>
                <a:cubicBezTo>
                  <a:pt x="101250" y="113898"/>
                  <a:pt x="100909" y="113898"/>
                  <a:pt x="100909" y="113898"/>
                </a:cubicBezTo>
                <a:cubicBezTo>
                  <a:pt x="100909" y="113898"/>
                  <a:pt x="99886" y="113898"/>
                  <a:pt x="99545" y="113898"/>
                </a:cubicBezTo>
                <a:cubicBezTo>
                  <a:pt x="99545" y="113491"/>
                  <a:pt x="99545" y="113491"/>
                  <a:pt x="99545" y="113491"/>
                </a:cubicBezTo>
                <a:cubicBezTo>
                  <a:pt x="99545" y="113491"/>
                  <a:pt x="99545" y="113084"/>
                  <a:pt x="99545" y="112677"/>
                </a:cubicBezTo>
                <a:cubicBezTo>
                  <a:pt x="99545" y="112677"/>
                  <a:pt x="99204" y="112677"/>
                  <a:pt x="99204" y="112271"/>
                </a:cubicBezTo>
                <a:cubicBezTo>
                  <a:pt x="99204" y="112271"/>
                  <a:pt x="98863" y="111864"/>
                  <a:pt x="98863" y="111864"/>
                </a:cubicBezTo>
                <a:cubicBezTo>
                  <a:pt x="98863" y="111457"/>
                  <a:pt x="98522" y="111457"/>
                  <a:pt x="98522" y="111050"/>
                </a:cubicBezTo>
                <a:cubicBezTo>
                  <a:pt x="98522" y="111050"/>
                  <a:pt x="98181" y="111457"/>
                  <a:pt x="98181" y="111457"/>
                </a:cubicBezTo>
                <a:cubicBezTo>
                  <a:pt x="97840" y="111457"/>
                  <a:pt x="97500" y="111050"/>
                  <a:pt x="97500" y="111050"/>
                </a:cubicBezTo>
                <a:cubicBezTo>
                  <a:pt x="97159" y="110644"/>
                  <a:pt x="97159" y="110644"/>
                  <a:pt x="97159" y="110644"/>
                </a:cubicBezTo>
                <a:cubicBezTo>
                  <a:pt x="97159" y="110644"/>
                  <a:pt x="96818" y="110644"/>
                  <a:pt x="96477" y="110644"/>
                </a:cubicBezTo>
                <a:cubicBezTo>
                  <a:pt x="96477" y="110644"/>
                  <a:pt x="96477" y="111457"/>
                  <a:pt x="96477" y="111457"/>
                </a:cubicBezTo>
                <a:cubicBezTo>
                  <a:pt x="96477" y="111457"/>
                  <a:pt x="96136" y="111457"/>
                  <a:pt x="95795" y="111050"/>
                </a:cubicBezTo>
                <a:cubicBezTo>
                  <a:pt x="95795" y="111050"/>
                  <a:pt x="95454" y="110644"/>
                  <a:pt x="95113" y="110644"/>
                </a:cubicBezTo>
                <a:cubicBezTo>
                  <a:pt x="95113" y="110644"/>
                  <a:pt x="94772" y="110644"/>
                  <a:pt x="94431" y="110237"/>
                </a:cubicBezTo>
                <a:cubicBezTo>
                  <a:pt x="94431" y="110237"/>
                  <a:pt x="94090" y="110237"/>
                  <a:pt x="94090" y="110237"/>
                </a:cubicBezTo>
                <a:cubicBezTo>
                  <a:pt x="94090" y="110237"/>
                  <a:pt x="92727" y="110644"/>
                  <a:pt x="92727" y="110644"/>
                </a:cubicBezTo>
                <a:cubicBezTo>
                  <a:pt x="92727" y="110644"/>
                  <a:pt x="92727" y="111050"/>
                  <a:pt x="92386" y="111050"/>
                </a:cubicBezTo>
                <a:cubicBezTo>
                  <a:pt x="92386" y="111457"/>
                  <a:pt x="92045" y="111050"/>
                  <a:pt x="92045" y="111050"/>
                </a:cubicBezTo>
                <a:cubicBezTo>
                  <a:pt x="92045" y="111050"/>
                  <a:pt x="91704" y="111050"/>
                  <a:pt x="91363" y="111050"/>
                </a:cubicBezTo>
                <a:cubicBezTo>
                  <a:pt x="91363" y="111050"/>
                  <a:pt x="91022" y="111050"/>
                  <a:pt x="91022" y="111050"/>
                </a:cubicBezTo>
                <a:cubicBezTo>
                  <a:pt x="91022" y="111050"/>
                  <a:pt x="90681" y="110644"/>
                  <a:pt x="90340" y="110644"/>
                </a:cubicBezTo>
                <a:cubicBezTo>
                  <a:pt x="90340" y="110644"/>
                  <a:pt x="90000" y="110644"/>
                  <a:pt x="90000" y="110644"/>
                </a:cubicBezTo>
                <a:cubicBezTo>
                  <a:pt x="90000" y="110644"/>
                  <a:pt x="89659" y="111050"/>
                  <a:pt x="89659" y="111050"/>
                </a:cubicBezTo>
                <a:cubicBezTo>
                  <a:pt x="89318" y="111457"/>
                  <a:pt x="89318" y="111457"/>
                  <a:pt x="89318" y="111457"/>
                </a:cubicBezTo>
                <a:cubicBezTo>
                  <a:pt x="89318" y="111864"/>
                  <a:pt x="89318" y="111864"/>
                  <a:pt x="89318" y="111864"/>
                </a:cubicBezTo>
                <a:cubicBezTo>
                  <a:pt x="88636" y="111457"/>
                  <a:pt x="88636" y="111457"/>
                  <a:pt x="88636" y="111457"/>
                </a:cubicBezTo>
                <a:cubicBezTo>
                  <a:pt x="88636" y="111457"/>
                  <a:pt x="88295" y="111457"/>
                  <a:pt x="87954" y="111457"/>
                </a:cubicBezTo>
                <a:cubicBezTo>
                  <a:pt x="87272" y="111864"/>
                  <a:pt x="87613" y="112271"/>
                  <a:pt x="87613" y="112271"/>
                </a:cubicBezTo>
                <a:cubicBezTo>
                  <a:pt x="87954" y="112271"/>
                  <a:pt x="88295" y="113084"/>
                  <a:pt x="88295" y="113084"/>
                </a:cubicBezTo>
                <a:cubicBezTo>
                  <a:pt x="88295" y="113084"/>
                  <a:pt x="87272" y="113491"/>
                  <a:pt x="87272" y="113491"/>
                </a:cubicBezTo>
                <a:cubicBezTo>
                  <a:pt x="86931" y="113898"/>
                  <a:pt x="86931" y="113898"/>
                  <a:pt x="86931" y="114305"/>
                </a:cubicBezTo>
                <a:cubicBezTo>
                  <a:pt x="86931" y="114305"/>
                  <a:pt x="86590" y="114711"/>
                  <a:pt x="86590" y="115118"/>
                </a:cubicBezTo>
                <a:cubicBezTo>
                  <a:pt x="86590" y="115118"/>
                  <a:pt x="86250" y="114711"/>
                  <a:pt x="85909" y="114711"/>
                </a:cubicBezTo>
                <a:cubicBezTo>
                  <a:pt x="85568" y="114711"/>
                  <a:pt x="85568" y="114305"/>
                  <a:pt x="85568" y="114305"/>
                </a:cubicBezTo>
                <a:cubicBezTo>
                  <a:pt x="85227" y="114711"/>
                  <a:pt x="85227" y="114711"/>
                  <a:pt x="85227" y="114711"/>
                </a:cubicBezTo>
                <a:cubicBezTo>
                  <a:pt x="84886" y="114711"/>
                  <a:pt x="84886" y="114711"/>
                  <a:pt x="84886" y="114711"/>
                </a:cubicBezTo>
                <a:cubicBezTo>
                  <a:pt x="84886" y="114711"/>
                  <a:pt x="84545" y="114305"/>
                  <a:pt x="84545" y="113898"/>
                </a:cubicBezTo>
                <a:cubicBezTo>
                  <a:pt x="84545" y="113898"/>
                  <a:pt x="84545" y="113898"/>
                  <a:pt x="84545" y="113898"/>
                </a:cubicBezTo>
                <a:cubicBezTo>
                  <a:pt x="84204" y="113898"/>
                  <a:pt x="83863" y="113898"/>
                  <a:pt x="83863" y="113491"/>
                </a:cubicBezTo>
                <a:cubicBezTo>
                  <a:pt x="83522" y="112677"/>
                  <a:pt x="83522" y="112677"/>
                  <a:pt x="83522" y="112677"/>
                </a:cubicBezTo>
                <a:cubicBezTo>
                  <a:pt x="83522" y="112677"/>
                  <a:pt x="82840" y="113084"/>
                  <a:pt x="82840" y="113491"/>
                </a:cubicBezTo>
                <a:cubicBezTo>
                  <a:pt x="82500" y="113491"/>
                  <a:pt x="82840" y="113491"/>
                  <a:pt x="82500" y="113084"/>
                </a:cubicBezTo>
                <a:cubicBezTo>
                  <a:pt x="82159" y="113084"/>
                  <a:pt x="82159" y="113491"/>
                  <a:pt x="82159" y="113491"/>
                </a:cubicBezTo>
                <a:cubicBezTo>
                  <a:pt x="82159" y="113491"/>
                  <a:pt x="82159" y="113491"/>
                  <a:pt x="82159" y="113491"/>
                </a:cubicBezTo>
                <a:cubicBezTo>
                  <a:pt x="82159" y="113898"/>
                  <a:pt x="81818" y="113898"/>
                  <a:pt x="81818" y="113898"/>
                </a:cubicBezTo>
                <a:cubicBezTo>
                  <a:pt x="81818" y="114305"/>
                  <a:pt x="81477" y="113898"/>
                  <a:pt x="81477" y="113898"/>
                </a:cubicBezTo>
                <a:cubicBezTo>
                  <a:pt x="81136" y="113898"/>
                  <a:pt x="80795" y="113898"/>
                  <a:pt x="80795" y="113898"/>
                </a:cubicBezTo>
                <a:cubicBezTo>
                  <a:pt x="80795" y="113898"/>
                  <a:pt x="80795" y="113491"/>
                  <a:pt x="80795" y="113491"/>
                </a:cubicBezTo>
                <a:cubicBezTo>
                  <a:pt x="80113" y="113898"/>
                  <a:pt x="80113" y="113898"/>
                  <a:pt x="80113" y="113898"/>
                </a:cubicBezTo>
                <a:cubicBezTo>
                  <a:pt x="80113" y="113898"/>
                  <a:pt x="80113" y="114305"/>
                  <a:pt x="80113" y="114305"/>
                </a:cubicBezTo>
                <a:cubicBezTo>
                  <a:pt x="80113" y="114305"/>
                  <a:pt x="79772" y="114305"/>
                  <a:pt x="79431" y="114711"/>
                </a:cubicBezTo>
                <a:cubicBezTo>
                  <a:pt x="78750" y="114711"/>
                  <a:pt x="79090" y="114305"/>
                  <a:pt x="78750" y="114711"/>
                </a:cubicBezTo>
                <a:cubicBezTo>
                  <a:pt x="78750" y="114711"/>
                  <a:pt x="78750" y="114711"/>
                  <a:pt x="78750" y="115118"/>
                </a:cubicBezTo>
                <a:cubicBezTo>
                  <a:pt x="78750" y="115118"/>
                  <a:pt x="79090" y="115118"/>
                  <a:pt x="78750" y="115525"/>
                </a:cubicBezTo>
                <a:cubicBezTo>
                  <a:pt x="78409" y="115932"/>
                  <a:pt x="78409" y="115525"/>
                  <a:pt x="78409" y="115525"/>
                </a:cubicBezTo>
                <a:cubicBezTo>
                  <a:pt x="78068" y="115525"/>
                  <a:pt x="77727" y="115932"/>
                  <a:pt x="77727" y="115932"/>
                </a:cubicBezTo>
                <a:cubicBezTo>
                  <a:pt x="77727" y="115932"/>
                  <a:pt x="77727" y="116338"/>
                  <a:pt x="77727" y="116338"/>
                </a:cubicBezTo>
                <a:cubicBezTo>
                  <a:pt x="77727" y="116338"/>
                  <a:pt x="77386" y="116338"/>
                  <a:pt x="77045" y="116338"/>
                </a:cubicBezTo>
                <a:cubicBezTo>
                  <a:pt x="76704" y="116338"/>
                  <a:pt x="77045" y="116745"/>
                  <a:pt x="77045" y="116745"/>
                </a:cubicBezTo>
                <a:cubicBezTo>
                  <a:pt x="77045" y="116745"/>
                  <a:pt x="77045" y="117152"/>
                  <a:pt x="76704" y="117559"/>
                </a:cubicBezTo>
                <a:cubicBezTo>
                  <a:pt x="76704" y="117559"/>
                  <a:pt x="76704" y="117966"/>
                  <a:pt x="76704" y="118372"/>
                </a:cubicBezTo>
                <a:cubicBezTo>
                  <a:pt x="76704" y="118372"/>
                  <a:pt x="76704" y="118372"/>
                  <a:pt x="76704" y="119186"/>
                </a:cubicBezTo>
                <a:cubicBezTo>
                  <a:pt x="76704" y="119593"/>
                  <a:pt x="76704" y="119593"/>
                  <a:pt x="76704" y="119593"/>
                </a:cubicBezTo>
                <a:cubicBezTo>
                  <a:pt x="76704" y="119593"/>
                  <a:pt x="76363" y="119593"/>
                  <a:pt x="76363" y="119593"/>
                </a:cubicBezTo>
                <a:cubicBezTo>
                  <a:pt x="76363" y="119186"/>
                  <a:pt x="76022" y="119593"/>
                  <a:pt x="76022" y="119593"/>
                </a:cubicBezTo>
                <a:cubicBezTo>
                  <a:pt x="76022" y="119593"/>
                  <a:pt x="75681" y="119186"/>
                  <a:pt x="75681" y="118779"/>
                </a:cubicBezTo>
                <a:cubicBezTo>
                  <a:pt x="75681" y="118779"/>
                  <a:pt x="75340" y="118779"/>
                  <a:pt x="75340" y="118779"/>
                </a:cubicBezTo>
                <a:cubicBezTo>
                  <a:pt x="75340" y="118779"/>
                  <a:pt x="74659" y="119186"/>
                  <a:pt x="74659" y="119186"/>
                </a:cubicBezTo>
                <a:cubicBezTo>
                  <a:pt x="74659" y="119186"/>
                  <a:pt x="74659" y="119593"/>
                  <a:pt x="74659" y="119593"/>
                </a:cubicBezTo>
                <a:cubicBezTo>
                  <a:pt x="74318" y="119593"/>
                  <a:pt x="73636" y="120000"/>
                  <a:pt x="73636" y="120000"/>
                </a:cubicBezTo>
                <a:cubicBezTo>
                  <a:pt x="73636" y="120000"/>
                  <a:pt x="73295" y="120000"/>
                  <a:pt x="73295" y="120000"/>
                </a:cubicBezTo>
                <a:cubicBezTo>
                  <a:pt x="72954" y="119593"/>
                  <a:pt x="72954" y="119593"/>
                  <a:pt x="72954" y="119593"/>
                </a:cubicBezTo>
                <a:cubicBezTo>
                  <a:pt x="72954" y="119186"/>
                  <a:pt x="72954" y="119186"/>
                  <a:pt x="72954" y="119186"/>
                </a:cubicBezTo>
                <a:cubicBezTo>
                  <a:pt x="73636" y="118372"/>
                  <a:pt x="73636" y="118372"/>
                  <a:pt x="73636" y="118372"/>
                </a:cubicBezTo>
                <a:cubicBezTo>
                  <a:pt x="73295" y="117152"/>
                  <a:pt x="73295" y="117152"/>
                  <a:pt x="73295" y="117152"/>
                </a:cubicBezTo>
                <a:cubicBezTo>
                  <a:pt x="72613" y="116338"/>
                  <a:pt x="72613" y="116338"/>
                  <a:pt x="72613" y="116338"/>
                </a:cubicBezTo>
                <a:cubicBezTo>
                  <a:pt x="72613" y="115932"/>
                  <a:pt x="72613" y="115932"/>
                  <a:pt x="72613" y="115932"/>
                </a:cubicBezTo>
                <a:cubicBezTo>
                  <a:pt x="71590" y="115932"/>
                  <a:pt x="71590" y="115932"/>
                  <a:pt x="71590" y="115932"/>
                </a:cubicBezTo>
                <a:cubicBezTo>
                  <a:pt x="70909" y="115525"/>
                  <a:pt x="70909" y="115525"/>
                  <a:pt x="70909" y="115525"/>
                </a:cubicBezTo>
                <a:cubicBezTo>
                  <a:pt x="70568" y="115118"/>
                  <a:pt x="70568" y="115118"/>
                  <a:pt x="70568" y="115118"/>
                </a:cubicBezTo>
                <a:cubicBezTo>
                  <a:pt x="69545" y="114305"/>
                  <a:pt x="69545" y="114305"/>
                  <a:pt x="69545" y="114305"/>
                </a:cubicBezTo>
                <a:cubicBezTo>
                  <a:pt x="68863" y="111864"/>
                  <a:pt x="68863" y="111864"/>
                  <a:pt x="68863" y="111864"/>
                </a:cubicBezTo>
                <a:cubicBezTo>
                  <a:pt x="67840" y="111864"/>
                  <a:pt x="67840" y="111864"/>
                  <a:pt x="67840" y="111864"/>
                </a:cubicBezTo>
                <a:cubicBezTo>
                  <a:pt x="67840" y="111864"/>
                  <a:pt x="67159" y="112677"/>
                  <a:pt x="67159" y="113084"/>
                </a:cubicBezTo>
                <a:cubicBezTo>
                  <a:pt x="67159" y="113491"/>
                  <a:pt x="66477" y="113491"/>
                  <a:pt x="66477" y="113491"/>
                </a:cubicBezTo>
                <a:cubicBezTo>
                  <a:pt x="65795" y="114711"/>
                  <a:pt x="65795" y="114711"/>
                  <a:pt x="65795" y="114711"/>
                </a:cubicBezTo>
                <a:cubicBezTo>
                  <a:pt x="65795" y="114711"/>
                  <a:pt x="65795" y="116338"/>
                  <a:pt x="65795" y="116745"/>
                </a:cubicBezTo>
                <a:cubicBezTo>
                  <a:pt x="65795" y="117152"/>
                  <a:pt x="65113" y="116338"/>
                  <a:pt x="65113" y="116338"/>
                </a:cubicBezTo>
                <a:cubicBezTo>
                  <a:pt x="65113" y="116338"/>
                  <a:pt x="64431" y="116745"/>
                  <a:pt x="64090" y="117152"/>
                </a:cubicBezTo>
                <a:cubicBezTo>
                  <a:pt x="63750" y="117559"/>
                  <a:pt x="63068" y="117559"/>
                  <a:pt x="63068" y="117559"/>
                </a:cubicBezTo>
                <a:cubicBezTo>
                  <a:pt x="63068" y="117559"/>
                  <a:pt x="62727" y="116745"/>
                  <a:pt x="62386" y="116338"/>
                </a:cubicBezTo>
                <a:cubicBezTo>
                  <a:pt x="62386" y="116338"/>
                  <a:pt x="62386" y="115932"/>
                  <a:pt x="62386" y="115118"/>
                </a:cubicBezTo>
                <a:cubicBezTo>
                  <a:pt x="62386" y="114711"/>
                  <a:pt x="61704" y="115525"/>
                  <a:pt x="61704" y="115525"/>
                </a:cubicBezTo>
                <a:cubicBezTo>
                  <a:pt x="61704" y="115525"/>
                  <a:pt x="61704" y="115525"/>
                  <a:pt x="61704" y="115525"/>
                </a:cubicBezTo>
                <a:cubicBezTo>
                  <a:pt x="61704" y="115118"/>
                  <a:pt x="61704" y="115118"/>
                  <a:pt x="61704" y="115118"/>
                </a:cubicBezTo>
                <a:cubicBezTo>
                  <a:pt x="61363" y="114305"/>
                  <a:pt x="61022" y="113898"/>
                  <a:pt x="61022" y="113898"/>
                </a:cubicBezTo>
                <a:cubicBezTo>
                  <a:pt x="61022" y="113898"/>
                  <a:pt x="60681" y="113084"/>
                  <a:pt x="60681" y="112271"/>
                </a:cubicBezTo>
                <a:cubicBezTo>
                  <a:pt x="60681" y="111864"/>
                  <a:pt x="59318" y="111050"/>
                  <a:pt x="59318" y="111050"/>
                </a:cubicBezTo>
                <a:cubicBezTo>
                  <a:pt x="59318" y="111050"/>
                  <a:pt x="59659" y="111864"/>
                  <a:pt x="58977" y="111050"/>
                </a:cubicBezTo>
                <a:cubicBezTo>
                  <a:pt x="58295" y="109830"/>
                  <a:pt x="57613" y="109830"/>
                  <a:pt x="57613" y="109830"/>
                </a:cubicBezTo>
                <a:cubicBezTo>
                  <a:pt x="57272" y="106576"/>
                  <a:pt x="57272" y="106576"/>
                  <a:pt x="57272" y="106576"/>
                </a:cubicBezTo>
                <a:cubicBezTo>
                  <a:pt x="54545" y="107389"/>
                  <a:pt x="54545" y="107389"/>
                  <a:pt x="54545" y="107389"/>
                </a:cubicBezTo>
                <a:cubicBezTo>
                  <a:pt x="54545" y="107389"/>
                  <a:pt x="52840" y="106576"/>
                  <a:pt x="52500" y="106169"/>
                </a:cubicBezTo>
                <a:cubicBezTo>
                  <a:pt x="52159" y="105762"/>
                  <a:pt x="51136" y="105355"/>
                  <a:pt x="51136" y="105355"/>
                </a:cubicBezTo>
                <a:cubicBezTo>
                  <a:pt x="50113" y="106576"/>
                  <a:pt x="50113" y="106576"/>
                  <a:pt x="50113" y="106576"/>
                </a:cubicBezTo>
                <a:cubicBezTo>
                  <a:pt x="49090" y="106576"/>
                  <a:pt x="49090" y="106576"/>
                  <a:pt x="49090" y="106576"/>
                </a:cubicBezTo>
                <a:cubicBezTo>
                  <a:pt x="49090" y="106576"/>
                  <a:pt x="47727" y="106169"/>
                  <a:pt x="47386" y="105762"/>
                </a:cubicBezTo>
                <a:cubicBezTo>
                  <a:pt x="46704" y="104949"/>
                  <a:pt x="47045" y="104542"/>
                  <a:pt x="46704" y="104542"/>
                </a:cubicBezTo>
                <a:cubicBezTo>
                  <a:pt x="46022" y="104542"/>
                  <a:pt x="45681" y="103728"/>
                  <a:pt x="45681" y="103728"/>
                </a:cubicBezTo>
                <a:cubicBezTo>
                  <a:pt x="45681" y="103728"/>
                  <a:pt x="46363" y="102508"/>
                  <a:pt x="46704" y="102101"/>
                </a:cubicBezTo>
                <a:cubicBezTo>
                  <a:pt x="46704" y="101694"/>
                  <a:pt x="47386" y="102101"/>
                  <a:pt x="47045" y="100881"/>
                </a:cubicBezTo>
                <a:cubicBezTo>
                  <a:pt x="46363" y="100067"/>
                  <a:pt x="46022" y="99661"/>
                  <a:pt x="46022" y="99661"/>
                </a:cubicBezTo>
                <a:cubicBezTo>
                  <a:pt x="46022" y="99661"/>
                  <a:pt x="46022" y="100474"/>
                  <a:pt x="45340" y="100881"/>
                </a:cubicBezTo>
                <a:cubicBezTo>
                  <a:pt x="44659" y="100881"/>
                  <a:pt x="43636" y="101288"/>
                  <a:pt x="43636" y="101288"/>
                </a:cubicBezTo>
                <a:cubicBezTo>
                  <a:pt x="39886" y="99254"/>
                  <a:pt x="39886" y="99254"/>
                  <a:pt x="39886" y="99254"/>
                </a:cubicBezTo>
                <a:cubicBezTo>
                  <a:pt x="39886" y="99254"/>
                  <a:pt x="38863" y="98847"/>
                  <a:pt x="38522" y="98847"/>
                </a:cubicBezTo>
                <a:cubicBezTo>
                  <a:pt x="38181" y="99254"/>
                  <a:pt x="36818" y="98847"/>
                  <a:pt x="36818" y="98847"/>
                </a:cubicBezTo>
                <a:cubicBezTo>
                  <a:pt x="37500" y="100474"/>
                  <a:pt x="37500" y="100474"/>
                  <a:pt x="37500" y="100474"/>
                </a:cubicBezTo>
                <a:cubicBezTo>
                  <a:pt x="38181" y="102915"/>
                  <a:pt x="38181" y="102915"/>
                  <a:pt x="38181" y="102915"/>
                </a:cubicBezTo>
                <a:cubicBezTo>
                  <a:pt x="36136" y="103728"/>
                  <a:pt x="36136" y="103728"/>
                  <a:pt x="36136" y="103728"/>
                </a:cubicBezTo>
                <a:cubicBezTo>
                  <a:pt x="35795" y="105762"/>
                  <a:pt x="35795" y="105762"/>
                  <a:pt x="35795" y="105762"/>
                </a:cubicBezTo>
                <a:cubicBezTo>
                  <a:pt x="35795" y="105762"/>
                  <a:pt x="33750" y="107389"/>
                  <a:pt x="33750" y="106576"/>
                </a:cubicBezTo>
                <a:cubicBezTo>
                  <a:pt x="33409" y="106169"/>
                  <a:pt x="33068" y="104542"/>
                  <a:pt x="33068" y="104542"/>
                </a:cubicBezTo>
                <a:cubicBezTo>
                  <a:pt x="33068" y="104542"/>
                  <a:pt x="32727" y="103728"/>
                  <a:pt x="32386" y="103322"/>
                </a:cubicBezTo>
                <a:cubicBezTo>
                  <a:pt x="31704" y="102915"/>
                  <a:pt x="31363" y="102508"/>
                  <a:pt x="31363" y="102508"/>
                </a:cubicBezTo>
                <a:cubicBezTo>
                  <a:pt x="30340" y="102101"/>
                  <a:pt x="30340" y="102101"/>
                  <a:pt x="30340" y="102101"/>
                </a:cubicBezTo>
                <a:cubicBezTo>
                  <a:pt x="30340" y="102101"/>
                  <a:pt x="30000" y="100474"/>
                  <a:pt x="29659" y="100474"/>
                </a:cubicBezTo>
                <a:cubicBezTo>
                  <a:pt x="29318" y="100474"/>
                  <a:pt x="28977" y="100474"/>
                  <a:pt x="28977" y="100474"/>
                </a:cubicBezTo>
                <a:cubicBezTo>
                  <a:pt x="28977" y="99254"/>
                  <a:pt x="28977" y="99254"/>
                  <a:pt x="28977" y="99254"/>
                </a:cubicBezTo>
                <a:cubicBezTo>
                  <a:pt x="29659" y="98033"/>
                  <a:pt x="29659" y="98033"/>
                  <a:pt x="29659" y="98033"/>
                </a:cubicBezTo>
                <a:cubicBezTo>
                  <a:pt x="29659" y="98033"/>
                  <a:pt x="30000" y="98440"/>
                  <a:pt x="30000" y="96813"/>
                </a:cubicBezTo>
                <a:cubicBezTo>
                  <a:pt x="30340" y="94779"/>
                  <a:pt x="29318" y="94779"/>
                  <a:pt x="29318" y="94779"/>
                </a:cubicBezTo>
                <a:cubicBezTo>
                  <a:pt x="28295" y="95186"/>
                  <a:pt x="28295" y="95186"/>
                  <a:pt x="28295" y="95186"/>
                </a:cubicBezTo>
                <a:cubicBezTo>
                  <a:pt x="26931" y="96000"/>
                  <a:pt x="26931" y="96000"/>
                  <a:pt x="26931" y="96000"/>
                </a:cubicBezTo>
                <a:cubicBezTo>
                  <a:pt x="26250" y="96000"/>
                  <a:pt x="26250" y="96000"/>
                  <a:pt x="26250" y="96000"/>
                </a:cubicBezTo>
                <a:cubicBezTo>
                  <a:pt x="25909" y="96000"/>
                  <a:pt x="25227" y="94779"/>
                  <a:pt x="25227" y="94779"/>
                </a:cubicBezTo>
                <a:cubicBezTo>
                  <a:pt x="25227" y="94779"/>
                  <a:pt x="25909" y="93559"/>
                  <a:pt x="24886" y="94779"/>
                </a:cubicBezTo>
                <a:cubicBezTo>
                  <a:pt x="23863" y="96000"/>
                  <a:pt x="23181" y="94372"/>
                  <a:pt x="23181" y="94372"/>
                </a:cubicBezTo>
                <a:cubicBezTo>
                  <a:pt x="22840" y="93966"/>
                  <a:pt x="22840" y="93966"/>
                  <a:pt x="22840" y="93966"/>
                </a:cubicBezTo>
                <a:cubicBezTo>
                  <a:pt x="22840" y="93966"/>
                  <a:pt x="22840" y="93966"/>
                  <a:pt x="22500" y="93966"/>
                </a:cubicBezTo>
                <a:cubicBezTo>
                  <a:pt x="22159" y="94372"/>
                  <a:pt x="21136" y="94372"/>
                  <a:pt x="21136" y="93966"/>
                </a:cubicBezTo>
                <a:cubicBezTo>
                  <a:pt x="20795" y="93152"/>
                  <a:pt x="20113" y="92745"/>
                  <a:pt x="20113" y="92745"/>
                </a:cubicBezTo>
                <a:cubicBezTo>
                  <a:pt x="19090" y="93152"/>
                  <a:pt x="19090" y="93152"/>
                  <a:pt x="19090" y="93152"/>
                </a:cubicBezTo>
                <a:cubicBezTo>
                  <a:pt x="19090" y="93152"/>
                  <a:pt x="18409" y="93152"/>
                  <a:pt x="18068" y="93152"/>
                </a:cubicBezTo>
                <a:cubicBezTo>
                  <a:pt x="18068" y="92745"/>
                  <a:pt x="18068" y="92338"/>
                  <a:pt x="17386" y="91932"/>
                </a:cubicBezTo>
                <a:cubicBezTo>
                  <a:pt x="16704" y="91525"/>
                  <a:pt x="16363" y="90305"/>
                  <a:pt x="16363" y="90305"/>
                </a:cubicBezTo>
                <a:cubicBezTo>
                  <a:pt x="16363" y="90305"/>
                  <a:pt x="16704" y="89491"/>
                  <a:pt x="16022" y="89491"/>
                </a:cubicBezTo>
                <a:cubicBezTo>
                  <a:pt x="15681" y="89491"/>
                  <a:pt x="15000" y="89084"/>
                  <a:pt x="15000" y="89084"/>
                </a:cubicBezTo>
                <a:cubicBezTo>
                  <a:pt x="15000" y="89084"/>
                  <a:pt x="13977" y="88271"/>
                  <a:pt x="13977" y="88677"/>
                </a:cubicBezTo>
                <a:cubicBezTo>
                  <a:pt x="13636" y="89084"/>
                  <a:pt x="13636" y="89898"/>
                  <a:pt x="13636" y="90305"/>
                </a:cubicBezTo>
                <a:cubicBezTo>
                  <a:pt x="13636" y="90305"/>
                  <a:pt x="13977" y="91525"/>
                  <a:pt x="13977" y="91525"/>
                </a:cubicBezTo>
                <a:cubicBezTo>
                  <a:pt x="13977" y="91525"/>
                  <a:pt x="12613" y="92338"/>
                  <a:pt x="12272" y="92338"/>
                </a:cubicBezTo>
                <a:cubicBezTo>
                  <a:pt x="11931" y="92338"/>
                  <a:pt x="11590" y="92745"/>
                  <a:pt x="11590" y="91932"/>
                </a:cubicBezTo>
                <a:cubicBezTo>
                  <a:pt x="11590" y="91525"/>
                  <a:pt x="12272" y="89491"/>
                  <a:pt x="12272" y="89491"/>
                </a:cubicBezTo>
                <a:cubicBezTo>
                  <a:pt x="12613" y="89084"/>
                  <a:pt x="12954" y="88677"/>
                  <a:pt x="12954" y="88677"/>
                </a:cubicBezTo>
                <a:cubicBezTo>
                  <a:pt x="12954" y="88677"/>
                  <a:pt x="12613" y="87864"/>
                  <a:pt x="12613" y="87457"/>
                </a:cubicBezTo>
                <a:cubicBezTo>
                  <a:pt x="12613" y="87050"/>
                  <a:pt x="12272" y="87050"/>
                  <a:pt x="12954" y="85830"/>
                </a:cubicBezTo>
                <a:cubicBezTo>
                  <a:pt x="13977" y="84610"/>
                  <a:pt x="13977" y="83796"/>
                  <a:pt x="13977" y="83796"/>
                </a:cubicBezTo>
                <a:cubicBezTo>
                  <a:pt x="13977" y="83796"/>
                  <a:pt x="13295" y="82576"/>
                  <a:pt x="12954" y="82169"/>
                </a:cubicBezTo>
                <a:cubicBezTo>
                  <a:pt x="12954" y="82169"/>
                  <a:pt x="11931" y="80542"/>
                  <a:pt x="11931" y="80542"/>
                </a:cubicBezTo>
                <a:cubicBezTo>
                  <a:pt x="11931" y="80135"/>
                  <a:pt x="11931" y="79322"/>
                  <a:pt x="11931" y="79322"/>
                </a:cubicBezTo>
                <a:cubicBezTo>
                  <a:pt x="11931" y="79322"/>
                  <a:pt x="11250" y="78508"/>
                  <a:pt x="10909" y="78508"/>
                </a:cubicBezTo>
                <a:cubicBezTo>
                  <a:pt x="10568" y="78508"/>
                  <a:pt x="9545" y="78101"/>
                  <a:pt x="9545" y="78101"/>
                </a:cubicBezTo>
                <a:cubicBezTo>
                  <a:pt x="9545" y="76881"/>
                  <a:pt x="9545" y="76881"/>
                  <a:pt x="9545" y="76881"/>
                </a:cubicBezTo>
                <a:cubicBezTo>
                  <a:pt x="9545" y="74847"/>
                  <a:pt x="9545" y="74847"/>
                  <a:pt x="9545" y="74847"/>
                </a:cubicBezTo>
                <a:cubicBezTo>
                  <a:pt x="8181" y="72813"/>
                  <a:pt x="8181" y="72813"/>
                  <a:pt x="8181" y="72813"/>
                </a:cubicBezTo>
                <a:cubicBezTo>
                  <a:pt x="7840" y="71593"/>
                  <a:pt x="7840" y="71593"/>
                  <a:pt x="7840" y="71593"/>
                </a:cubicBezTo>
                <a:cubicBezTo>
                  <a:pt x="7840" y="71593"/>
                  <a:pt x="8181" y="70779"/>
                  <a:pt x="8181" y="69966"/>
                </a:cubicBezTo>
                <a:cubicBezTo>
                  <a:pt x="8522" y="69559"/>
                  <a:pt x="8863" y="68338"/>
                  <a:pt x="8863" y="68338"/>
                </a:cubicBezTo>
                <a:cubicBezTo>
                  <a:pt x="8181" y="66711"/>
                  <a:pt x="8181" y="66711"/>
                  <a:pt x="8181" y="66711"/>
                </a:cubicBezTo>
                <a:cubicBezTo>
                  <a:pt x="8181" y="66711"/>
                  <a:pt x="7840" y="66305"/>
                  <a:pt x="8181" y="65898"/>
                </a:cubicBezTo>
                <a:cubicBezTo>
                  <a:pt x="8181" y="65491"/>
                  <a:pt x="7840" y="63050"/>
                  <a:pt x="7840" y="63050"/>
                </a:cubicBezTo>
                <a:cubicBezTo>
                  <a:pt x="7840" y="63050"/>
                  <a:pt x="7500" y="60610"/>
                  <a:pt x="7159" y="61016"/>
                </a:cubicBezTo>
                <a:cubicBezTo>
                  <a:pt x="6477" y="61016"/>
                  <a:pt x="6136" y="59389"/>
                  <a:pt x="6136" y="59389"/>
                </a:cubicBezTo>
                <a:cubicBezTo>
                  <a:pt x="6818" y="56542"/>
                  <a:pt x="6818" y="56542"/>
                  <a:pt x="6818" y="56542"/>
                </a:cubicBezTo>
                <a:cubicBezTo>
                  <a:pt x="6818" y="56542"/>
                  <a:pt x="7159" y="54508"/>
                  <a:pt x="6136" y="53694"/>
                </a:cubicBezTo>
                <a:cubicBezTo>
                  <a:pt x="5113" y="53288"/>
                  <a:pt x="3068" y="52067"/>
                  <a:pt x="2727" y="51661"/>
                </a:cubicBezTo>
                <a:cubicBezTo>
                  <a:pt x="2727" y="51661"/>
                  <a:pt x="1704" y="50440"/>
                  <a:pt x="1363" y="50033"/>
                </a:cubicBezTo>
                <a:cubicBezTo>
                  <a:pt x="1022" y="50033"/>
                  <a:pt x="681" y="49627"/>
                  <a:pt x="681" y="49627"/>
                </a:cubicBezTo>
                <a:cubicBezTo>
                  <a:pt x="1363" y="45966"/>
                  <a:pt x="1363" y="45966"/>
                  <a:pt x="1363" y="45966"/>
                </a:cubicBezTo>
                <a:cubicBezTo>
                  <a:pt x="3068" y="44338"/>
                  <a:pt x="3068" y="44338"/>
                  <a:pt x="3068" y="44338"/>
                </a:cubicBezTo>
                <a:cubicBezTo>
                  <a:pt x="3068" y="41084"/>
                  <a:pt x="3068" y="41084"/>
                  <a:pt x="3068" y="41084"/>
                </a:cubicBezTo>
                <a:cubicBezTo>
                  <a:pt x="3068" y="37423"/>
                  <a:pt x="3068" y="37423"/>
                  <a:pt x="3068" y="37423"/>
                </a:cubicBezTo>
                <a:cubicBezTo>
                  <a:pt x="3068" y="37423"/>
                  <a:pt x="3409" y="37016"/>
                  <a:pt x="2386" y="35389"/>
                </a:cubicBezTo>
                <a:cubicBezTo>
                  <a:pt x="1704" y="34169"/>
                  <a:pt x="1363" y="32542"/>
                  <a:pt x="1363" y="32542"/>
                </a:cubicBezTo>
                <a:cubicBezTo>
                  <a:pt x="1363" y="32135"/>
                  <a:pt x="1022" y="30508"/>
                  <a:pt x="681" y="30101"/>
                </a:cubicBezTo>
                <a:cubicBezTo>
                  <a:pt x="681" y="29694"/>
                  <a:pt x="681" y="29288"/>
                  <a:pt x="681" y="28474"/>
                </a:cubicBezTo>
                <a:cubicBezTo>
                  <a:pt x="1022" y="28067"/>
                  <a:pt x="0" y="26847"/>
                  <a:pt x="0" y="26847"/>
                </a:cubicBezTo>
                <a:cubicBezTo>
                  <a:pt x="0" y="26847"/>
                  <a:pt x="340" y="26033"/>
                  <a:pt x="681" y="26033"/>
                </a:cubicBezTo>
                <a:cubicBezTo>
                  <a:pt x="1022" y="26033"/>
                  <a:pt x="1363" y="25627"/>
                  <a:pt x="2045" y="25627"/>
                </a:cubicBezTo>
                <a:cubicBezTo>
                  <a:pt x="2727" y="25627"/>
                  <a:pt x="3068" y="24813"/>
                  <a:pt x="3750" y="24813"/>
                </a:cubicBezTo>
                <a:cubicBezTo>
                  <a:pt x="4090" y="24406"/>
                  <a:pt x="4090" y="23593"/>
                  <a:pt x="4431" y="23593"/>
                </a:cubicBezTo>
                <a:cubicBezTo>
                  <a:pt x="5113" y="23186"/>
                  <a:pt x="5795" y="23593"/>
                  <a:pt x="6818" y="22779"/>
                </a:cubicBezTo>
                <a:cubicBezTo>
                  <a:pt x="7840" y="22372"/>
                  <a:pt x="7840" y="21966"/>
                  <a:pt x="8522" y="21152"/>
                </a:cubicBezTo>
                <a:cubicBezTo>
                  <a:pt x="8863" y="20745"/>
                  <a:pt x="15340" y="18305"/>
                  <a:pt x="15340" y="18305"/>
                </a:cubicBezTo>
                <a:cubicBezTo>
                  <a:pt x="15340" y="18305"/>
                  <a:pt x="17045" y="17084"/>
                  <a:pt x="17727" y="17084"/>
                </a:cubicBezTo>
                <a:cubicBezTo>
                  <a:pt x="18068" y="16677"/>
                  <a:pt x="18068" y="16271"/>
                  <a:pt x="18750" y="16271"/>
                </a:cubicBezTo>
                <a:cubicBezTo>
                  <a:pt x="19090" y="16677"/>
                  <a:pt x="20454" y="16677"/>
                  <a:pt x="20454" y="16677"/>
                </a:cubicBezTo>
                <a:cubicBezTo>
                  <a:pt x="20454" y="16677"/>
                  <a:pt x="20795" y="15457"/>
                  <a:pt x="21136" y="15050"/>
                </a:cubicBezTo>
                <a:cubicBezTo>
                  <a:pt x="21477" y="14237"/>
                  <a:pt x="21818" y="13423"/>
                  <a:pt x="21818" y="13016"/>
                </a:cubicBezTo>
                <a:cubicBezTo>
                  <a:pt x="22159" y="12203"/>
                  <a:pt x="22500" y="11796"/>
                  <a:pt x="22840" y="11389"/>
                </a:cubicBezTo>
                <a:cubicBezTo>
                  <a:pt x="23181" y="10576"/>
                  <a:pt x="23522" y="10169"/>
                  <a:pt x="23522" y="10169"/>
                </a:cubicBezTo>
                <a:cubicBezTo>
                  <a:pt x="23863" y="10169"/>
                  <a:pt x="25909" y="8949"/>
                  <a:pt x="26250" y="8949"/>
                </a:cubicBezTo>
                <a:cubicBezTo>
                  <a:pt x="26590" y="8542"/>
                  <a:pt x="29318" y="7322"/>
                  <a:pt x="29318" y="6915"/>
                </a:cubicBezTo>
                <a:cubicBezTo>
                  <a:pt x="29318" y="6915"/>
                  <a:pt x="30340" y="5288"/>
                  <a:pt x="30340" y="4881"/>
                </a:cubicBezTo>
                <a:cubicBezTo>
                  <a:pt x="30340" y="4474"/>
                  <a:pt x="31704" y="4067"/>
                  <a:pt x="31704" y="4067"/>
                </a:cubicBezTo>
                <a:cubicBezTo>
                  <a:pt x="32045" y="4067"/>
                  <a:pt x="32045" y="4067"/>
                  <a:pt x="32386" y="3661"/>
                </a:cubicBezTo>
                <a:cubicBezTo>
                  <a:pt x="33068" y="3661"/>
                  <a:pt x="36136" y="2033"/>
                  <a:pt x="36136" y="2033"/>
                </a:cubicBezTo>
                <a:cubicBezTo>
                  <a:pt x="36136" y="2033"/>
                  <a:pt x="38863" y="813"/>
                  <a:pt x="38863" y="813"/>
                </a:cubicBezTo>
                <a:cubicBezTo>
                  <a:pt x="39204" y="1220"/>
                  <a:pt x="40909" y="813"/>
                  <a:pt x="41250" y="813"/>
                </a:cubicBezTo>
                <a:cubicBezTo>
                  <a:pt x="41250" y="1220"/>
                  <a:pt x="43295" y="813"/>
                  <a:pt x="43295" y="813"/>
                </a:cubicBezTo>
                <a:cubicBezTo>
                  <a:pt x="43295" y="813"/>
                  <a:pt x="43977" y="1220"/>
                  <a:pt x="43977" y="1627"/>
                </a:cubicBezTo>
                <a:cubicBezTo>
                  <a:pt x="43977" y="2033"/>
                  <a:pt x="43295" y="2440"/>
                  <a:pt x="43636" y="2847"/>
                </a:cubicBezTo>
                <a:cubicBezTo>
                  <a:pt x="43977" y="3254"/>
                  <a:pt x="45340" y="4474"/>
                  <a:pt x="45340" y="4474"/>
                </a:cubicBezTo>
                <a:cubicBezTo>
                  <a:pt x="45340" y="4474"/>
                  <a:pt x="45000" y="5694"/>
                  <a:pt x="45000" y="5694"/>
                </a:cubicBezTo>
                <a:cubicBezTo>
                  <a:pt x="45000" y="6101"/>
                  <a:pt x="45340" y="6508"/>
                  <a:pt x="45681" y="7322"/>
                </a:cubicBezTo>
                <a:cubicBezTo>
                  <a:pt x="46022" y="7728"/>
                  <a:pt x="46704" y="8542"/>
                  <a:pt x="46704" y="8542"/>
                </a:cubicBezTo>
                <a:cubicBezTo>
                  <a:pt x="46704" y="8542"/>
                  <a:pt x="46363" y="8949"/>
                  <a:pt x="47727" y="9762"/>
                </a:cubicBezTo>
                <a:cubicBezTo>
                  <a:pt x="49090" y="10576"/>
                  <a:pt x="50113" y="9762"/>
                  <a:pt x="50113" y="9762"/>
                </a:cubicBezTo>
                <a:cubicBezTo>
                  <a:pt x="50113" y="9762"/>
                  <a:pt x="51136" y="9762"/>
                  <a:pt x="51477" y="9762"/>
                </a:cubicBezTo>
                <a:cubicBezTo>
                  <a:pt x="51818" y="9762"/>
                  <a:pt x="52840" y="9355"/>
                  <a:pt x="52840" y="9355"/>
                </a:cubicBez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3041;p256">
            <a:extLst>
              <a:ext uri="{FF2B5EF4-FFF2-40B4-BE49-F238E27FC236}">
                <a16:creationId xmlns:a16="http://schemas.microsoft.com/office/drawing/2014/main" id="{33F39F81-D7DD-5BB5-0421-0EDB8F849210}"/>
              </a:ext>
            </a:extLst>
          </p:cNvPr>
          <p:cNvSpPr/>
          <p:nvPr/>
        </p:nvSpPr>
        <p:spPr>
          <a:xfrm>
            <a:off x="6157778" y="2556649"/>
            <a:ext cx="607701" cy="66745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5421" y="111063"/>
                </a:moveTo>
                <a:cubicBezTo>
                  <a:pt x="92530" y="111063"/>
                  <a:pt x="92530" y="111063"/>
                  <a:pt x="92530" y="111063"/>
                </a:cubicBezTo>
                <a:cubicBezTo>
                  <a:pt x="92530" y="111063"/>
                  <a:pt x="91084" y="109148"/>
                  <a:pt x="90361" y="109148"/>
                </a:cubicBezTo>
                <a:cubicBezTo>
                  <a:pt x="89638" y="109148"/>
                  <a:pt x="88192" y="108510"/>
                  <a:pt x="88192" y="108510"/>
                </a:cubicBezTo>
                <a:cubicBezTo>
                  <a:pt x="87469" y="109787"/>
                  <a:pt x="87469" y="109787"/>
                  <a:pt x="87469" y="109787"/>
                </a:cubicBezTo>
                <a:cubicBezTo>
                  <a:pt x="87469" y="109787"/>
                  <a:pt x="86746" y="110425"/>
                  <a:pt x="86024" y="110425"/>
                </a:cubicBezTo>
                <a:cubicBezTo>
                  <a:pt x="86024" y="110425"/>
                  <a:pt x="85301" y="109787"/>
                  <a:pt x="85301" y="109787"/>
                </a:cubicBezTo>
                <a:cubicBezTo>
                  <a:pt x="85301" y="108510"/>
                  <a:pt x="85301" y="108510"/>
                  <a:pt x="85301" y="108510"/>
                </a:cubicBezTo>
                <a:cubicBezTo>
                  <a:pt x="83132" y="108510"/>
                  <a:pt x="83132" y="108510"/>
                  <a:pt x="83132" y="108510"/>
                </a:cubicBezTo>
                <a:cubicBezTo>
                  <a:pt x="83132" y="108510"/>
                  <a:pt x="83132" y="110425"/>
                  <a:pt x="82409" y="110425"/>
                </a:cubicBezTo>
                <a:cubicBezTo>
                  <a:pt x="81686" y="109787"/>
                  <a:pt x="80963" y="109787"/>
                  <a:pt x="79518" y="109787"/>
                </a:cubicBezTo>
                <a:cubicBezTo>
                  <a:pt x="78072" y="109148"/>
                  <a:pt x="75180" y="109787"/>
                  <a:pt x="75180" y="109787"/>
                </a:cubicBezTo>
                <a:cubicBezTo>
                  <a:pt x="73734" y="109148"/>
                  <a:pt x="73734" y="109148"/>
                  <a:pt x="73734" y="109148"/>
                </a:cubicBezTo>
                <a:cubicBezTo>
                  <a:pt x="71566" y="109148"/>
                  <a:pt x="71566" y="109148"/>
                  <a:pt x="71566" y="109148"/>
                </a:cubicBezTo>
                <a:cubicBezTo>
                  <a:pt x="68674" y="109148"/>
                  <a:pt x="68674" y="109148"/>
                  <a:pt x="68674" y="109148"/>
                </a:cubicBezTo>
                <a:cubicBezTo>
                  <a:pt x="67951" y="110425"/>
                  <a:pt x="67951" y="110425"/>
                  <a:pt x="67951" y="110425"/>
                </a:cubicBezTo>
                <a:cubicBezTo>
                  <a:pt x="68674" y="111063"/>
                  <a:pt x="68674" y="111063"/>
                  <a:pt x="68674" y="111063"/>
                </a:cubicBezTo>
                <a:cubicBezTo>
                  <a:pt x="66506" y="112340"/>
                  <a:pt x="66506" y="112340"/>
                  <a:pt x="66506" y="112340"/>
                </a:cubicBezTo>
                <a:cubicBezTo>
                  <a:pt x="63614" y="111702"/>
                  <a:pt x="63614" y="111702"/>
                  <a:pt x="63614" y="111702"/>
                </a:cubicBezTo>
                <a:cubicBezTo>
                  <a:pt x="62168" y="112978"/>
                  <a:pt x="62168" y="112978"/>
                  <a:pt x="62168" y="112978"/>
                </a:cubicBezTo>
                <a:cubicBezTo>
                  <a:pt x="61445" y="111702"/>
                  <a:pt x="61445" y="111702"/>
                  <a:pt x="61445" y="111702"/>
                </a:cubicBezTo>
                <a:cubicBezTo>
                  <a:pt x="57108" y="114255"/>
                  <a:pt x="57108" y="114255"/>
                  <a:pt x="57108" y="114255"/>
                </a:cubicBezTo>
                <a:cubicBezTo>
                  <a:pt x="57831" y="115531"/>
                  <a:pt x="57831" y="115531"/>
                  <a:pt x="57831" y="115531"/>
                </a:cubicBezTo>
                <a:cubicBezTo>
                  <a:pt x="54216" y="116170"/>
                  <a:pt x="54216" y="116170"/>
                  <a:pt x="54216" y="116170"/>
                </a:cubicBezTo>
                <a:cubicBezTo>
                  <a:pt x="52048" y="115531"/>
                  <a:pt x="52048" y="115531"/>
                  <a:pt x="52048" y="115531"/>
                </a:cubicBezTo>
                <a:cubicBezTo>
                  <a:pt x="52048" y="115531"/>
                  <a:pt x="50602" y="114893"/>
                  <a:pt x="50602" y="114255"/>
                </a:cubicBezTo>
                <a:cubicBezTo>
                  <a:pt x="51325" y="113617"/>
                  <a:pt x="51325" y="112978"/>
                  <a:pt x="51325" y="112978"/>
                </a:cubicBezTo>
                <a:cubicBezTo>
                  <a:pt x="51325" y="112978"/>
                  <a:pt x="49879" y="112340"/>
                  <a:pt x="49879" y="112978"/>
                </a:cubicBezTo>
                <a:cubicBezTo>
                  <a:pt x="49879" y="114255"/>
                  <a:pt x="49156" y="115531"/>
                  <a:pt x="49156" y="115531"/>
                </a:cubicBezTo>
                <a:cubicBezTo>
                  <a:pt x="46987" y="116808"/>
                  <a:pt x="46987" y="116808"/>
                  <a:pt x="46987" y="116808"/>
                </a:cubicBezTo>
                <a:cubicBezTo>
                  <a:pt x="44096" y="117446"/>
                  <a:pt x="44096" y="117446"/>
                  <a:pt x="44096" y="117446"/>
                </a:cubicBezTo>
                <a:cubicBezTo>
                  <a:pt x="43373" y="116808"/>
                  <a:pt x="43373" y="116808"/>
                  <a:pt x="43373" y="116808"/>
                </a:cubicBezTo>
                <a:cubicBezTo>
                  <a:pt x="43373" y="118723"/>
                  <a:pt x="43373" y="118723"/>
                  <a:pt x="43373" y="118723"/>
                </a:cubicBezTo>
                <a:cubicBezTo>
                  <a:pt x="39759" y="118723"/>
                  <a:pt x="39759" y="118723"/>
                  <a:pt x="39759" y="118723"/>
                </a:cubicBezTo>
                <a:cubicBezTo>
                  <a:pt x="37590" y="118723"/>
                  <a:pt x="37590" y="118723"/>
                  <a:pt x="37590" y="118723"/>
                </a:cubicBezTo>
                <a:cubicBezTo>
                  <a:pt x="36144" y="120000"/>
                  <a:pt x="36144" y="120000"/>
                  <a:pt x="36144" y="120000"/>
                </a:cubicBezTo>
                <a:cubicBezTo>
                  <a:pt x="33975" y="119361"/>
                  <a:pt x="33975" y="119361"/>
                  <a:pt x="33975" y="119361"/>
                </a:cubicBezTo>
                <a:cubicBezTo>
                  <a:pt x="30361" y="120000"/>
                  <a:pt x="30361" y="120000"/>
                  <a:pt x="30361" y="120000"/>
                </a:cubicBezTo>
                <a:cubicBezTo>
                  <a:pt x="29638" y="118723"/>
                  <a:pt x="29638" y="118723"/>
                  <a:pt x="29638" y="118723"/>
                </a:cubicBezTo>
                <a:cubicBezTo>
                  <a:pt x="24578" y="118723"/>
                  <a:pt x="24578" y="118723"/>
                  <a:pt x="24578" y="118723"/>
                </a:cubicBezTo>
                <a:cubicBezTo>
                  <a:pt x="22409" y="119361"/>
                  <a:pt x="22409" y="119361"/>
                  <a:pt x="22409" y="119361"/>
                </a:cubicBezTo>
                <a:cubicBezTo>
                  <a:pt x="21686" y="118085"/>
                  <a:pt x="21686" y="118085"/>
                  <a:pt x="21686" y="118085"/>
                </a:cubicBezTo>
                <a:cubicBezTo>
                  <a:pt x="20963" y="118085"/>
                  <a:pt x="20963" y="118085"/>
                  <a:pt x="20963" y="118085"/>
                </a:cubicBezTo>
                <a:cubicBezTo>
                  <a:pt x="20963" y="118085"/>
                  <a:pt x="19518" y="118085"/>
                  <a:pt x="18795" y="118085"/>
                </a:cubicBezTo>
                <a:cubicBezTo>
                  <a:pt x="18072" y="118085"/>
                  <a:pt x="13734" y="116808"/>
                  <a:pt x="13734" y="116808"/>
                </a:cubicBezTo>
                <a:cubicBezTo>
                  <a:pt x="12289" y="118085"/>
                  <a:pt x="12289" y="118085"/>
                  <a:pt x="12289" y="118085"/>
                </a:cubicBezTo>
                <a:cubicBezTo>
                  <a:pt x="12289" y="118085"/>
                  <a:pt x="10120" y="118085"/>
                  <a:pt x="10120" y="117446"/>
                </a:cubicBezTo>
                <a:cubicBezTo>
                  <a:pt x="10120" y="117446"/>
                  <a:pt x="10120" y="116808"/>
                  <a:pt x="10843" y="116170"/>
                </a:cubicBezTo>
                <a:cubicBezTo>
                  <a:pt x="11566" y="116170"/>
                  <a:pt x="12289" y="116170"/>
                  <a:pt x="13734" y="115531"/>
                </a:cubicBezTo>
                <a:cubicBezTo>
                  <a:pt x="15180" y="115531"/>
                  <a:pt x="15903" y="115531"/>
                  <a:pt x="15903" y="115531"/>
                </a:cubicBezTo>
                <a:cubicBezTo>
                  <a:pt x="16626" y="114893"/>
                  <a:pt x="16626" y="114893"/>
                  <a:pt x="16626" y="114893"/>
                </a:cubicBezTo>
                <a:cubicBezTo>
                  <a:pt x="16626" y="114255"/>
                  <a:pt x="17349" y="113617"/>
                  <a:pt x="15903" y="114255"/>
                </a:cubicBezTo>
                <a:cubicBezTo>
                  <a:pt x="15180" y="114255"/>
                  <a:pt x="15180" y="114255"/>
                  <a:pt x="15180" y="114255"/>
                </a:cubicBezTo>
                <a:cubicBezTo>
                  <a:pt x="14457" y="114893"/>
                  <a:pt x="13734" y="114893"/>
                  <a:pt x="13012" y="114893"/>
                </a:cubicBezTo>
                <a:cubicBezTo>
                  <a:pt x="13012" y="114893"/>
                  <a:pt x="11566" y="114893"/>
                  <a:pt x="11566" y="114893"/>
                </a:cubicBezTo>
                <a:cubicBezTo>
                  <a:pt x="11566" y="114893"/>
                  <a:pt x="10843" y="114255"/>
                  <a:pt x="11566" y="114255"/>
                </a:cubicBezTo>
                <a:cubicBezTo>
                  <a:pt x="12289" y="113617"/>
                  <a:pt x="12289" y="113617"/>
                  <a:pt x="13012" y="113617"/>
                </a:cubicBezTo>
                <a:cubicBezTo>
                  <a:pt x="14457" y="113617"/>
                  <a:pt x="15180" y="112978"/>
                  <a:pt x="16626" y="112978"/>
                </a:cubicBezTo>
                <a:cubicBezTo>
                  <a:pt x="18072" y="112978"/>
                  <a:pt x="18795" y="112978"/>
                  <a:pt x="18795" y="112978"/>
                </a:cubicBezTo>
                <a:cubicBezTo>
                  <a:pt x="19518" y="112340"/>
                  <a:pt x="20240" y="112340"/>
                  <a:pt x="20240" y="111702"/>
                </a:cubicBezTo>
                <a:cubicBezTo>
                  <a:pt x="20240" y="111063"/>
                  <a:pt x="19518" y="110425"/>
                  <a:pt x="19518" y="110425"/>
                </a:cubicBezTo>
                <a:cubicBezTo>
                  <a:pt x="19518" y="110425"/>
                  <a:pt x="18795" y="110425"/>
                  <a:pt x="18072" y="111063"/>
                </a:cubicBezTo>
                <a:cubicBezTo>
                  <a:pt x="17349" y="111063"/>
                  <a:pt x="16626" y="111702"/>
                  <a:pt x="15903" y="111702"/>
                </a:cubicBezTo>
                <a:cubicBezTo>
                  <a:pt x="15903" y="111702"/>
                  <a:pt x="15903" y="111702"/>
                  <a:pt x="15180" y="111702"/>
                </a:cubicBezTo>
                <a:cubicBezTo>
                  <a:pt x="14457" y="111702"/>
                  <a:pt x="13012" y="111063"/>
                  <a:pt x="13012" y="111063"/>
                </a:cubicBezTo>
                <a:cubicBezTo>
                  <a:pt x="12289" y="111063"/>
                  <a:pt x="11566" y="111063"/>
                  <a:pt x="10843" y="111063"/>
                </a:cubicBezTo>
                <a:cubicBezTo>
                  <a:pt x="10120" y="111063"/>
                  <a:pt x="10843" y="111063"/>
                  <a:pt x="9397" y="111063"/>
                </a:cubicBezTo>
                <a:cubicBezTo>
                  <a:pt x="7951" y="111702"/>
                  <a:pt x="8674" y="111702"/>
                  <a:pt x="6506" y="111702"/>
                </a:cubicBezTo>
                <a:cubicBezTo>
                  <a:pt x="5060" y="111702"/>
                  <a:pt x="2891" y="111063"/>
                  <a:pt x="2891" y="111063"/>
                </a:cubicBezTo>
                <a:cubicBezTo>
                  <a:pt x="2891" y="111063"/>
                  <a:pt x="1445" y="111702"/>
                  <a:pt x="2168" y="111063"/>
                </a:cubicBezTo>
                <a:cubicBezTo>
                  <a:pt x="3614" y="110425"/>
                  <a:pt x="5060" y="110425"/>
                  <a:pt x="5783" y="109787"/>
                </a:cubicBezTo>
                <a:cubicBezTo>
                  <a:pt x="6506" y="109787"/>
                  <a:pt x="7228" y="109787"/>
                  <a:pt x="6506" y="109148"/>
                </a:cubicBezTo>
                <a:cubicBezTo>
                  <a:pt x="6506" y="109148"/>
                  <a:pt x="6506" y="109148"/>
                  <a:pt x="6506" y="109148"/>
                </a:cubicBezTo>
                <a:cubicBezTo>
                  <a:pt x="7228" y="109148"/>
                  <a:pt x="8674" y="108510"/>
                  <a:pt x="8674" y="108510"/>
                </a:cubicBezTo>
                <a:cubicBezTo>
                  <a:pt x="10120" y="107872"/>
                  <a:pt x="10120" y="107872"/>
                  <a:pt x="10120" y="107872"/>
                </a:cubicBezTo>
                <a:cubicBezTo>
                  <a:pt x="10120" y="107872"/>
                  <a:pt x="10120" y="107234"/>
                  <a:pt x="11566" y="107234"/>
                </a:cubicBezTo>
                <a:cubicBezTo>
                  <a:pt x="13012" y="107234"/>
                  <a:pt x="13012" y="107234"/>
                  <a:pt x="13012" y="106595"/>
                </a:cubicBezTo>
                <a:cubicBezTo>
                  <a:pt x="13734" y="106595"/>
                  <a:pt x="13012" y="106595"/>
                  <a:pt x="13734" y="106595"/>
                </a:cubicBezTo>
                <a:cubicBezTo>
                  <a:pt x="15180" y="106595"/>
                  <a:pt x="15180" y="105957"/>
                  <a:pt x="15903" y="105957"/>
                </a:cubicBezTo>
                <a:cubicBezTo>
                  <a:pt x="17349" y="105957"/>
                  <a:pt x="18072" y="105319"/>
                  <a:pt x="17349" y="105319"/>
                </a:cubicBezTo>
                <a:cubicBezTo>
                  <a:pt x="16626" y="105319"/>
                  <a:pt x="16626" y="105319"/>
                  <a:pt x="15180" y="105319"/>
                </a:cubicBezTo>
                <a:cubicBezTo>
                  <a:pt x="14457" y="105957"/>
                  <a:pt x="13734" y="105319"/>
                  <a:pt x="13734" y="105957"/>
                </a:cubicBezTo>
                <a:cubicBezTo>
                  <a:pt x="13012" y="105957"/>
                  <a:pt x="11566" y="105957"/>
                  <a:pt x="11566" y="105957"/>
                </a:cubicBezTo>
                <a:cubicBezTo>
                  <a:pt x="10843" y="105319"/>
                  <a:pt x="10843" y="105319"/>
                  <a:pt x="10120" y="105957"/>
                </a:cubicBezTo>
                <a:cubicBezTo>
                  <a:pt x="9397" y="105957"/>
                  <a:pt x="10120" y="106595"/>
                  <a:pt x="8674" y="106595"/>
                </a:cubicBezTo>
                <a:cubicBezTo>
                  <a:pt x="7951" y="106595"/>
                  <a:pt x="7228" y="105957"/>
                  <a:pt x="7228" y="105957"/>
                </a:cubicBezTo>
                <a:cubicBezTo>
                  <a:pt x="7228" y="105957"/>
                  <a:pt x="5060" y="105957"/>
                  <a:pt x="5060" y="105319"/>
                </a:cubicBezTo>
                <a:cubicBezTo>
                  <a:pt x="5060" y="105319"/>
                  <a:pt x="5060" y="104042"/>
                  <a:pt x="5060" y="104042"/>
                </a:cubicBezTo>
                <a:cubicBezTo>
                  <a:pt x="5060" y="103404"/>
                  <a:pt x="5783" y="103404"/>
                  <a:pt x="5783" y="103404"/>
                </a:cubicBezTo>
                <a:cubicBezTo>
                  <a:pt x="5060" y="102765"/>
                  <a:pt x="5060" y="102765"/>
                  <a:pt x="5060" y="102765"/>
                </a:cubicBezTo>
                <a:cubicBezTo>
                  <a:pt x="5060" y="102765"/>
                  <a:pt x="5060" y="102765"/>
                  <a:pt x="4337" y="102765"/>
                </a:cubicBezTo>
                <a:cubicBezTo>
                  <a:pt x="4337" y="102765"/>
                  <a:pt x="2891" y="103404"/>
                  <a:pt x="2891" y="103404"/>
                </a:cubicBezTo>
                <a:cubicBezTo>
                  <a:pt x="2891" y="103404"/>
                  <a:pt x="2891" y="103404"/>
                  <a:pt x="2168" y="103404"/>
                </a:cubicBezTo>
                <a:cubicBezTo>
                  <a:pt x="2168" y="103404"/>
                  <a:pt x="1445" y="103404"/>
                  <a:pt x="1445" y="103404"/>
                </a:cubicBezTo>
                <a:cubicBezTo>
                  <a:pt x="1445" y="103404"/>
                  <a:pt x="1445" y="102765"/>
                  <a:pt x="1445" y="102127"/>
                </a:cubicBezTo>
                <a:cubicBezTo>
                  <a:pt x="1445" y="102127"/>
                  <a:pt x="1445" y="101489"/>
                  <a:pt x="1445" y="101489"/>
                </a:cubicBezTo>
                <a:cubicBezTo>
                  <a:pt x="1445" y="101489"/>
                  <a:pt x="1445" y="101489"/>
                  <a:pt x="1445" y="101489"/>
                </a:cubicBezTo>
                <a:cubicBezTo>
                  <a:pt x="1445" y="100851"/>
                  <a:pt x="0" y="100851"/>
                  <a:pt x="1445" y="100212"/>
                </a:cubicBezTo>
                <a:cubicBezTo>
                  <a:pt x="2891" y="100212"/>
                  <a:pt x="2891" y="100212"/>
                  <a:pt x="3614" y="100212"/>
                </a:cubicBezTo>
                <a:cubicBezTo>
                  <a:pt x="3614" y="100212"/>
                  <a:pt x="4337" y="100212"/>
                  <a:pt x="4337" y="100212"/>
                </a:cubicBezTo>
                <a:cubicBezTo>
                  <a:pt x="4337" y="100212"/>
                  <a:pt x="5060" y="99574"/>
                  <a:pt x="5060" y="99574"/>
                </a:cubicBezTo>
                <a:cubicBezTo>
                  <a:pt x="4337" y="98936"/>
                  <a:pt x="4337" y="98936"/>
                  <a:pt x="4337" y="98936"/>
                </a:cubicBezTo>
                <a:cubicBezTo>
                  <a:pt x="4337" y="98297"/>
                  <a:pt x="4337" y="98297"/>
                  <a:pt x="5060" y="98297"/>
                </a:cubicBezTo>
                <a:cubicBezTo>
                  <a:pt x="5783" y="98297"/>
                  <a:pt x="5783" y="97659"/>
                  <a:pt x="6506" y="97659"/>
                </a:cubicBezTo>
                <a:cubicBezTo>
                  <a:pt x="6506" y="97659"/>
                  <a:pt x="7228" y="97659"/>
                  <a:pt x="7951" y="97659"/>
                </a:cubicBezTo>
                <a:cubicBezTo>
                  <a:pt x="7951" y="97659"/>
                  <a:pt x="7951" y="97021"/>
                  <a:pt x="9397" y="97021"/>
                </a:cubicBezTo>
                <a:cubicBezTo>
                  <a:pt x="10120" y="97021"/>
                  <a:pt x="10843" y="97021"/>
                  <a:pt x="11566" y="97021"/>
                </a:cubicBezTo>
                <a:cubicBezTo>
                  <a:pt x="11566" y="97021"/>
                  <a:pt x="13012" y="97021"/>
                  <a:pt x="13012" y="97021"/>
                </a:cubicBezTo>
                <a:cubicBezTo>
                  <a:pt x="13012" y="97021"/>
                  <a:pt x="14457" y="96382"/>
                  <a:pt x="14457" y="96382"/>
                </a:cubicBezTo>
                <a:cubicBezTo>
                  <a:pt x="15180" y="95744"/>
                  <a:pt x="15180" y="95744"/>
                  <a:pt x="15180" y="95744"/>
                </a:cubicBezTo>
                <a:cubicBezTo>
                  <a:pt x="15180" y="95744"/>
                  <a:pt x="15180" y="95744"/>
                  <a:pt x="15903" y="95744"/>
                </a:cubicBezTo>
                <a:cubicBezTo>
                  <a:pt x="16626" y="95744"/>
                  <a:pt x="16626" y="95744"/>
                  <a:pt x="17349" y="95744"/>
                </a:cubicBezTo>
                <a:cubicBezTo>
                  <a:pt x="17349" y="95744"/>
                  <a:pt x="18072" y="95744"/>
                  <a:pt x="18072" y="95744"/>
                </a:cubicBezTo>
                <a:cubicBezTo>
                  <a:pt x="18072" y="95106"/>
                  <a:pt x="18072" y="95106"/>
                  <a:pt x="18072" y="94468"/>
                </a:cubicBezTo>
                <a:cubicBezTo>
                  <a:pt x="17349" y="94468"/>
                  <a:pt x="17349" y="94468"/>
                  <a:pt x="16626" y="94468"/>
                </a:cubicBezTo>
                <a:cubicBezTo>
                  <a:pt x="15903" y="95106"/>
                  <a:pt x="15180" y="95106"/>
                  <a:pt x="15180" y="94468"/>
                </a:cubicBezTo>
                <a:cubicBezTo>
                  <a:pt x="15180" y="94468"/>
                  <a:pt x="15180" y="94468"/>
                  <a:pt x="14457" y="94468"/>
                </a:cubicBezTo>
                <a:cubicBezTo>
                  <a:pt x="13734" y="94468"/>
                  <a:pt x="13012" y="94468"/>
                  <a:pt x="13012" y="94468"/>
                </a:cubicBezTo>
                <a:cubicBezTo>
                  <a:pt x="13012" y="94468"/>
                  <a:pt x="12289" y="94468"/>
                  <a:pt x="11566" y="94468"/>
                </a:cubicBezTo>
                <a:cubicBezTo>
                  <a:pt x="10120" y="93829"/>
                  <a:pt x="10120" y="93829"/>
                  <a:pt x="9397" y="93829"/>
                </a:cubicBezTo>
                <a:cubicBezTo>
                  <a:pt x="8674" y="93829"/>
                  <a:pt x="7951" y="93829"/>
                  <a:pt x="7951" y="93829"/>
                </a:cubicBezTo>
                <a:cubicBezTo>
                  <a:pt x="7951" y="93829"/>
                  <a:pt x="9397" y="93829"/>
                  <a:pt x="7228" y="93191"/>
                </a:cubicBezTo>
                <a:cubicBezTo>
                  <a:pt x="5060" y="92553"/>
                  <a:pt x="5060" y="92553"/>
                  <a:pt x="5060" y="92553"/>
                </a:cubicBezTo>
                <a:cubicBezTo>
                  <a:pt x="4337" y="92553"/>
                  <a:pt x="4337" y="92553"/>
                  <a:pt x="4337" y="92553"/>
                </a:cubicBezTo>
                <a:cubicBezTo>
                  <a:pt x="3614" y="92553"/>
                  <a:pt x="3614" y="93191"/>
                  <a:pt x="2891" y="92553"/>
                </a:cubicBezTo>
                <a:cubicBezTo>
                  <a:pt x="2891" y="92553"/>
                  <a:pt x="2168" y="91914"/>
                  <a:pt x="2168" y="91914"/>
                </a:cubicBezTo>
                <a:cubicBezTo>
                  <a:pt x="2168" y="91276"/>
                  <a:pt x="2168" y="91276"/>
                  <a:pt x="2891" y="90638"/>
                </a:cubicBezTo>
                <a:cubicBezTo>
                  <a:pt x="2891" y="90638"/>
                  <a:pt x="4337" y="90000"/>
                  <a:pt x="4337" y="90000"/>
                </a:cubicBezTo>
                <a:cubicBezTo>
                  <a:pt x="4337" y="90638"/>
                  <a:pt x="4337" y="90638"/>
                  <a:pt x="4337" y="90638"/>
                </a:cubicBezTo>
                <a:cubicBezTo>
                  <a:pt x="4337" y="90638"/>
                  <a:pt x="4337" y="91276"/>
                  <a:pt x="5060" y="90638"/>
                </a:cubicBezTo>
                <a:cubicBezTo>
                  <a:pt x="5060" y="90638"/>
                  <a:pt x="5783" y="89361"/>
                  <a:pt x="5783" y="89361"/>
                </a:cubicBezTo>
                <a:cubicBezTo>
                  <a:pt x="5783" y="89361"/>
                  <a:pt x="5060" y="89361"/>
                  <a:pt x="5783" y="88723"/>
                </a:cubicBezTo>
                <a:cubicBezTo>
                  <a:pt x="6506" y="88723"/>
                  <a:pt x="6506" y="88723"/>
                  <a:pt x="7228" y="88723"/>
                </a:cubicBezTo>
                <a:cubicBezTo>
                  <a:pt x="7228" y="88723"/>
                  <a:pt x="8674" y="88723"/>
                  <a:pt x="9397" y="88723"/>
                </a:cubicBezTo>
                <a:cubicBezTo>
                  <a:pt x="9397" y="88085"/>
                  <a:pt x="10843" y="88085"/>
                  <a:pt x="10843" y="88085"/>
                </a:cubicBezTo>
                <a:cubicBezTo>
                  <a:pt x="10843" y="88085"/>
                  <a:pt x="11566" y="88723"/>
                  <a:pt x="10843" y="89361"/>
                </a:cubicBezTo>
                <a:cubicBezTo>
                  <a:pt x="10843" y="89361"/>
                  <a:pt x="10120" y="89361"/>
                  <a:pt x="10843" y="90000"/>
                </a:cubicBezTo>
                <a:cubicBezTo>
                  <a:pt x="11566" y="90000"/>
                  <a:pt x="12289" y="90000"/>
                  <a:pt x="12289" y="90000"/>
                </a:cubicBezTo>
                <a:cubicBezTo>
                  <a:pt x="12289" y="90000"/>
                  <a:pt x="13012" y="89361"/>
                  <a:pt x="13012" y="89361"/>
                </a:cubicBezTo>
                <a:cubicBezTo>
                  <a:pt x="13734" y="89361"/>
                  <a:pt x="13012" y="88723"/>
                  <a:pt x="13734" y="88723"/>
                </a:cubicBezTo>
                <a:cubicBezTo>
                  <a:pt x="14457" y="89361"/>
                  <a:pt x="14457" y="90000"/>
                  <a:pt x="14457" y="90000"/>
                </a:cubicBezTo>
                <a:cubicBezTo>
                  <a:pt x="14457" y="90000"/>
                  <a:pt x="14457" y="90000"/>
                  <a:pt x="14457" y="90638"/>
                </a:cubicBezTo>
                <a:cubicBezTo>
                  <a:pt x="15180" y="90638"/>
                  <a:pt x="15903" y="90638"/>
                  <a:pt x="15903" y="91276"/>
                </a:cubicBezTo>
                <a:cubicBezTo>
                  <a:pt x="15903" y="91276"/>
                  <a:pt x="15180" y="91276"/>
                  <a:pt x="16626" y="91914"/>
                </a:cubicBezTo>
                <a:cubicBezTo>
                  <a:pt x="17349" y="91914"/>
                  <a:pt x="18072" y="91914"/>
                  <a:pt x="18072" y="91914"/>
                </a:cubicBezTo>
                <a:cubicBezTo>
                  <a:pt x="18072" y="91914"/>
                  <a:pt x="18795" y="91914"/>
                  <a:pt x="18795" y="91276"/>
                </a:cubicBezTo>
                <a:cubicBezTo>
                  <a:pt x="18072" y="90638"/>
                  <a:pt x="18072" y="90000"/>
                  <a:pt x="18072" y="90000"/>
                </a:cubicBezTo>
                <a:cubicBezTo>
                  <a:pt x="18072" y="90000"/>
                  <a:pt x="18795" y="89361"/>
                  <a:pt x="18795" y="89361"/>
                </a:cubicBezTo>
                <a:cubicBezTo>
                  <a:pt x="18795" y="88723"/>
                  <a:pt x="18795" y="87446"/>
                  <a:pt x="18795" y="87446"/>
                </a:cubicBezTo>
                <a:cubicBezTo>
                  <a:pt x="18795" y="87446"/>
                  <a:pt x="19518" y="86808"/>
                  <a:pt x="18795" y="86808"/>
                </a:cubicBezTo>
                <a:cubicBezTo>
                  <a:pt x="18072" y="86808"/>
                  <a:pt x="18072" y="86170"/>
                  <a:pt x="18072" y="86170"/>
                </a:cubicBezTo>
                <a:cubicBezTo>
                  <a:pt x="17349" y="86170"/>
                  <a:pt x="17349" y="85531"/>
                  <a:pt x="17349" y="85531"/>
                </a:cubicBezTo>
                <a:cubicBezTo>
                  <a:pt x="19518" y="85531"/>
                  <a:pt x="19518" y="85531"/>
                  <a:pt x="19518" y="85531"/>
                </a:cubicBezTo>
                <a:cubicBezTo>
                  <a:pt x="20963" y="85531"/>
                  <a:pt x="20963" y="85531"/>
                  <a:pt x="20963" y="85531"/>
                </a:cubicBezTo>
                <a:cubicBezTo>
                  <a:pt x="22409" y="84893"/>
                  <a:pt x="22409" y="84893"/>
                  <a:pt x="22409" y="84893"/>
                </a:cubicBezTo>
                <a:cubicBezTo>
                  <a:pt x="22409" y="84893"/>
                  <a:pt x="23132" y="85531"/>
                  <a:pt x="23132" y="84893"/>
                </a:cubicBezTo>
                <a:cubicBezTo>
                  <a:pt x="23132" y="84893"/>
                  <a:pt x="23855" y="84255"/>
                  <a:pt x="23855" y="84255"/>
                </a:cubicBezTo>
                <a:cubicBezTo>
                  <a:pt x="25301" y="84255"/>
                  <a:pt x="25301" y="84255"/>
                  <a:pt x="25301" y="84255"/>
                </a:cubicBezTo>
                <a:cubicBezTo>
                  <a:pt x="25301" y="84255"/>
                  <a:pt x="24578" y="83617"/>
                  <a:pt x="24578" y="83617"/>
                </a:cubicBezTo>
                <a:cubicBezTo>
                  <a:pt x="25301" y="83617"/>
                  <a:pt x="25301" y="82340"/>
                  <a:pt x="25301" y="82340"/>
                </a:cubicBezTo>
                <a:cubicBezTo>
                  <a:pt x="25301" y="82340"/>
                  <a:pt x="26024" y="81702"/>
                  <a:pt x="26746" y="82340"/>
                </a:cubicBezTo>
                <a:cubicBezTo>
                  <a:pt x="26746" y="82340"/>
                  <a:pt x="28192" y="82340"/>
                  <a:pt x="28915" y="82978"/>
                </a:cubicBezTo>
                <a:cubicBezTo>
                  <a:pt x="28915" y="82978"/>
                  <a:pt x="29638" y="82978"/>
                  <a:pt x="29638" y="82978"/>
                </a:cubicBezTo>
                <a:cubicBezTo>
                  <a:pt x="31084" y="82978"/>
                  <a:pt x="31084" y="82978"/>
                  <a:pt x="31084" y="82978"/>
                </a:cubicBezTo>
                <a:cubicBezTo>
                  <a:pt x="31084" y="82978"/>
                  <a:pt x="32530" y="83617"/>
                  <a:pt x="32530" y="83617"/>
                </a:cubicBezTo>
                <a:cubicBezTo>
                  <a:pt x="32530" y="83617"/>
                  <a:pt x="33975" y="84255"/>
                  <a:pt x="34698" y="84255"/>
                </a:cubicBezTo>
                <a:cubicBezTo>
                  <a:pt x="34698" y="84255"/>
                  <a:pt x="35421" y="83617"/>
                  <a:pt x="35421" y="83617"/>
                </a:cubicBezTo>
                <a:cubicBezTo>
                  <a:pt x="35421" y="83617"/>
                  <a:pt x="35421" y="82978"/>
                  <a:pt x="36144" y="83617"/>
                </a:cubicBezTo>
                <a:cubicBezTo>
                  <a:pt x="36867" y="83617"/>
                  <a:pt x="37590" y="83617"/>
                  <a:pt x="38313" y="83617"/>
                </a:cubicBezTo>
                <a:cubicBezTo>
                  <a:pt x="38313" y="82978"/>
                  <a:pt x="38313" y="82978"/>
                  <a:pt x="39036" y="82978"/>
                </a:cubicBezTo>
                <a:cubicBezTo>
                  <a:pt x="39759" y="83617"/>
                  <a:pt x="40481" y="83617"/>
                  <a:pt x="40481" y="83617"/>
                </a:cubicBezTo>
                <a:cubicBezTo>
                  <a:pt x="41204" y="83617"/>
                  <a:pt x="42650" y="82978"/>
                  <a:pt x="42650" y="82978"/>
                </a:cubicBezTo>
                <a:cubicBezTo>
                  <a:pt x="42650" y="82978"/>
                  <a:pt x="41927" y="82340"/>
                  <a:pt x="42650" y="82978"/>
                </a:cubicBezTo>
                <a:cubicBezTo>
                  <a:pt x="43373" y="82978"/>
                  <a:pt x="44096" y="82340"/>
                  <a:pt x="44096" y="82340"/>
                </a:cubicBezTo>
                <a:cubicBezTo>
                  <a:pt x="42650" y="81702"/>
                  <a:pt x="42650" y="81702"/>
                  <a:pt x="42650" y="81702"/>
                </a:cubicBezTo>
                <a:cubicBezTo>
                  <a:pt x="42650" y="81702"/>
                  <a:pt x="43373" y="80425"/>
                  <a:pt x="43373" y="80425"/>
                </a:cubicBezTo>
                <a:cubicBezTo>
                  <a:pt x="43373" y="80425"/>
                  <a:pt x="42650" y="79787"/>
                  <a:pt x="42650" y="79787"/>
                </a:cubicBezTo>
                <a:cubicBezTo>
                  <a:pt x="42650" y="79787"/>
                  <a:pt x="41927" y="79787"/>
                  <a:pt x="41927" y="80425"/>
                </a:cubicBezTo>
                <a:cubicBezTo>
                  <a:pt x="41927" y="81063"/>
                  <a:pt x="41204" y="81702"/>
                  <a:pt x="40481" y="81702"/>
                </a:cubicBezTo>
                <a:cubicBezTo>
                  <a:pt x="40481" y="81702"/>
                  <a:pt x="39759" y="82340"/>
                  <a:pt x="39036" y="82340"/>
                </a:cubicBezTo>
                <a:cubicBezTo>
                  <a:pt x="39036" y="82340"/>
                  <a:pt x="38313" y="82978"/>
                  <a:pt x="38313" y="82978"/>
                </a:cubicBezTo>
                <a:cubicBezTo>
                  <a:pt x="38313" y="82978"/>
                  <a:pt x="38313" y="83617"/>
                  <a:pt x="36867" y="82978"/>
                </a:cubicBezTo>
                <a:cubicBezTo>
                  <a:pt x="36144" y="82340"/>
                  <a:pt x="35421" y="82340"/>
                  <a:pt x="35421" y="82340"/>
                </a:cubicBezTo>
                <a:cubicBezTo>
                  <a:pt x="35421" y="82340"/>
                  <a:pt x="35421" y="81702"/>
                  <a:pt x="34698" y="82340"/>
                </a:cubicBezTo>
                <a:cubicBezTo>
                  <a:pt x="33253" y="82340"/>
                  <a:pt x="33975" y="82978"/>
                  <a:pt x="33253" y="82340"/>
                </a:cubicBezTo>
                <a:cubicBezTo>
                  <a:pt x="32530" y="82340"/>
                  <a:pt x="30361" y="82340"/>
                  <a:pt x="30361" y="81702"/>
                </a:cubicBezTo>
                <a:cubicBezTo>
                  <a:pt x="30361" y="81702"/>
                  <a:pt x="29638" y="81063"/>
                  <a:pt x="29638" y="81063"/>
                </a:cubicBezTo>
                <a:cubicBezTo>
                  <a:pt x="29638" y="81063"/>
                  <a:pt x="29638" y="79787"/>
                  <a:pt x="29638" y="79787"/>
                </a:cubicBezTo>
                <a:cubicBezTo>
                  <a:pt x="28915" y="80425"/>
                  <a:pt x="28192" y="81063"/>
                  <a:pt x="27469" y="81063"/>
                </a:cubicBezTo>
                <a:cubicBezTo>
                  <a:pt x="27469" y="81063"/>
                  <a:pt x="26024" y="81063"/>
                  <a:pt x="25301" y="81063"/>
                </a:cubicBezTo>
                <a:cubicBezTo>
                  <a:pt x="25301" y="81063"/>
                  <a:pt x="25301" y="81063"/>
                  <a:pt x="24578" y="81063"/>
                </a:cubicBezTo>
                <a:cubicBezTo>
                  <a:pt x="23855" y="81063"/>
                  <a:pt x="23132" y="81702"/>
                  <a:pt x="22409" y="81702"/>
                </a:cubicBezTo>
                <a:cubicBezTo>
                  <a:pt x="21686" y="81702"/>
                  <a:pt x="21686" y="81063"/>
                  <a:pt x="20963" y="81063"/>
                </a:cubicBezTo>
                <a:cubicBezTo>
                  <a:pt x="20240" y="81063"/>
                  <a:pt x="20240" y="81063"/>
                  <a:pt x="20240" y="81063"/>
                </a:cubicBezTo>
                <a:cubicBezTo>
                  <a:pt x="20240" y="81063"/>
                  <a:pt x="20240" y="81063"/>
                  <a:pt x="20240" y="81063"/>
                </a:cubicBezTo>
                <a:cubicBezTo>
                  <a:pt x="20240" y="81063"/>
                  <a:pt x="20240" y="79787"/>
                  <a:pt x="21686" y="79787"/>
                </a:cubicBezTo>
                <a:cubicBezTo>
                  <a:pt x="22409" y="79148"/>
                  <a:pt x="21686" y="79148"/>
                  <a:pt x="23132" y="79148"/>
                </a:cubicBezTo>
                <a:cubicBezTo>
                  <a:pt x="24578" y="79148"/>
                  <a:pt x="25301" y="79148"/>
                  <a:pt x="26024" y="78510"/>
                </a:cubicBezTo>
                <a:cubicBezTo>
                  <a:pt x="26746" y="77872"/>
                  <a:pt x="26746" y="77234"/>
                  <a:pt x="27469" y="77234"/>
                </a:cubicBezTo>
                <a:cubicBezTo>
                  <a:pt x="28192" y="76595"/>
                  <a:pt x="28192" y="75957"/>
                  <a:pt x="28915" y="76595"/>
                </a:cubicBezTo>
                <a:cubicBezTo>
                  <a:pt x="30361" y="76595"/>
                  <a:pt x="31807" y="76595"/>
                  <a:pt x="31807" y="76595"/>
                </a:cubicBezTo>
                <a:cubicBezTo>
                  <a:pt x="31807" y="76595"/>
                  <a:pt x="31807" y="75957"/>
                  <a:pt x="31807" y="75319"/>
                </a:cubicBezTo>
                <a:cubicBezTo>
                  <a:pt x="31807" y="75319"/>
                  <a:pt x="31807" y="75319"/>
                  <a:pt x="31807" y="74680"/>
                </a:cubicBezTo>
                <a:cubicBezTo>
                  <a:pt x="32530" y="74680"/>
                  <a:pt x="32530" y="74042"/>
                  <a:pt x="32530" y="74042"/>
                </a:cubicBezTo>
                <a:cubicBezTo>
                  <a:pt x="33253" y="74042"/>
                  <a:pt x="33253" y="73404"/>
                  <a:pt x="33975" y="73404"/>
                </a:cubicBezTo>
                <a:cubicBezTo>
                  <a:pt x="33975" y="72765"/>
                  <a:pt x="34698" y="72765"/>
                  <a:pt x="34698" y="72127"/>
                </a:cubicBezTo>
                <a:cubicBezTo>
                  <a:pt x="35421" y="72127"/>
                  <a:pt x="35421" y="71489"/>
                  <a:pt x="35421" y="71489"/>
                </a:cubicBezTo>
                <a:cubicBezTo>
                  <a:pt x="35421" y="71489"/>
                  <a:pt x="33253" y="70851"/>
                  <a:pt x="33253" y="70851"/>
                </a:cubicBezTo>
                <a:cubicBezTo>
                  <a:pt x="33975" y="70212"/>
                  <a:pt x="33975" y="70212"/>
                  <a:pt x="33975" y="70212"/>
                </a:cubicBezTo>
                <a:cubicBezTo>
                  <a:pt x="36867" y="68297"/>
                  <a:pt x="36867" y="68297"/>
                  <a:pt x="36867" y="68297"/>
                </a:cubicBezTo>
                <a:cubicBezTo>
                  <a:pt x="36867" y="68297"/>
                  <a:pt x="37590" y="67021"/>
                  <a:pt x="37590" y="67021"/>
                </a:cubicBezTo>
                <a:cubicBezTo>
                  <a:pt x="38313" y="67021"/>
                  <a:pt x="39036" y="66382"/>
                  <a:pt x="39036" y="66382"/>
                </a:cubicBezTo>
                <a:cubicBezTo>
                  <a:pt x="39759" y="65106"/>
                  <a:pt x="39759" y="65106"/>
                  <a:pt x="39759" y="65106"/>
                </a:cubicBezTo>
                <a:cubicBezTo>
                  <a:pt x="39759" y="65106"/>
                  <a:pt x="39759" y="64468"/>
                  <a:pt x="40481" y="65106"/>
                </a:cubicBezTo>
                <a:cubicBezTo>
                  <a:pt x="41204" y="65106"/>
                  <a:pt x="41204" y="65744"/>
                  <a:pt x="41927" y="65744"/>
                </a:cubicBezTo>
                <a:cubicBezTo>
                  <a:pt x="42650" y="66382"/>
                  <a:pt x="44819" y="66382"/>
                  <a:pt x="44819" y="66382"/>
                </a:cubicBezTo>
                <a:cubicBezTo>
                  <a:pt x="44096" y="65106"/>
                  <a:pt x="44096" y="65106"/>
                  <a:pt x="44096" y="65106"/>
                </a:cubicBezTo>
                <a:cubicBezTo>
                  <a:pt x="46987" y="65106"/>
                  <a:pt x="46987" y="65106"/>
                  <a:pt x="46987" y="65106"/>
                </a:cubicBezTo>
                <a:cubicBezTo>
                  <a:pt x="46987" y="66382"/>
                  <a:pt x="46987" y="66382"/>
                  <a:pt x="46987" y="66382"/>
                </a:cubicBezTo>
                <a:cubicBezTo>
                  <a:pt x="48433" y="65744"/>
                  <a:pt x="48433" y="65744"/>
                  <a:pt x="48433" y="65744"/>
                </a:cubicBezTo>
                <a:cubicBezTo>
                  <a:pt x="47710" y="64468"/>
                  <a:pt x="47710" y="64468"/>
                  <a:pt x="47710" y="64468"/>
                </a:cubicBezTo>
                <a:cubicBezTo>
                  <a:pt x="47710" y="64468"/>
                  <a:pt x="49156" y="64468"/>
                  <a:pt x="49156" y="64468"/>
                </a:cubicBezTo>
                <a:cubicBezTo>
                  <a:pt x="48433" y="64468"/>
                  <a:pt x="46987" y="63191"/>
                  <a:pt x="46987" y="63191"/>
                </a:cubicBezTo>
                <a:cubicBezTo>
                  <a:pt x="47710" y="61914"/>
                  <a:pt x="47710" y="61914"/>
                  <a:pt x="47710" y="61914"/>
                </a:cubicBezTo>
                <a:cubicBezTo>
                  <a:pt x="46265" y="61914"/>
                  <a:pt x="46265" y="61914"/>
                  <a:pt x="46265" y="61914"/>
                </a:cubicBezTo>
                <a:cubicBezTo>
                  <a:pt x="46265" y="61914"/>
                  <a:pt x="43373" y="61914"/>
                  <a:pt x="42650" y="61914"/>
                </a:cubicBezTo>
                <a:cubicBezTo>
                  <a:pt x="41927" y="61276"/>
                  <a:pt x="41927" y="61276"/>
                  <a:pt x="41204" y="61276"/>
                </a:cubicBezTo>
                <a:cubicBezTo>
                  <a:pt x="40481" y="61276"/>
                  <a:pt x="39759" y="61276"/>
                  <a:pt x="39036" y="61276"/>
                </a:cubicBezTo>
                <a:cubicBezTo>
                  <a:pt x="38313" y="61276"/>
                  <a:pt x="37590" y="61276"/>
                  <a:pt x="36867" y="61276"/>
                </a:cubicBezTo>
                <a:cubicBezTo>
                  <a:pt x="36867" y="61276"/>
                  <a:pt x="36144" y="61276"/>
                  <a:pt x="35421" y="61276"/>
                </a:cubicBezTo>
                <a:cubicBezTo>
                  <a:pt x="35421" y="60638"/>
                  <a:pt x="36144" y="60000"/>
                  <a:pt x="35421" y="60000"/>
                </a:cubicBezTo>
                <a:cubicBezTo>
                  <a:pt x="34698" y="60000"/>
                  <a:pt x="33975" y="58723"/>
                  <a:pt x="33253" y="59361"/>
                </a:cubicBezTo>
                <a:cubicBezTo>
                  <a:pt x="33253" y="59361"/>
                  <a:pt x="33253" y="59361"/>
                  <a:pt x="32530" y="59361"/>
                </a:cubicBezTo>
                <a:cubicBezTo>
                  <a:pt x="32530" y="60000"/>
                  <a:pt x="31807" y="60000"/>
                  <a:pt x="31807" y="60000"/>
                </a:cubicBezTo>
                <a:cubicBezTo>
                  <a:pt x="31084" y="59361"/>
                  <a:pt x="31084" y="60000"/>
                  <a:pt x="31807" y="59361"/>
                </a:cubicBezTo>
                <a:cubicBezTo>
                  <a:pt x="31807" y="58723"/>
                  <a:pt x="31084" y="57446"/>
                  <a:pt x="31807" y="57446"/>
                </a:cubicBezTo>
                <a:cubicBezTo>
                  <a:pt x="32530" y="58085"/>
                  <a:pt x="32530" y="58085"/>
                  <a:pt x="33253" y="58085"/>
                </a:cubicBezTo>
                <a:cubicBezTo>
                  <a:pt x="33253" y="58085"/>
                  <a:pt x="33975" y="58085"/>
                  <a:pt x="33975" y="58085"/>
                </a:cubicBezTo>
                <a:cubicBezTo>
                  <a:pt x="33975" y="57446"/>
                  <a:pt x="34698" y="56170"/>
                  <a:pt x="34698" y="56170"/>
                </a:cubicBezTo>
                <a:cubicBezTo>
                  <a:pt x="34698" y="56170"/>
                  <a:pt x="36867" y="56808"/>
                  <a:pt x="36144" y="56170"/>
                </a:cubicBezTo>
                <a:cubicBezTo>
                  <a:pt x="35421" y="55531"/>
                  <a:pt x="33975" y="54893"/>
                  <a:pt x="33975" y="54893"/>
                </a:cubicBezTo>
                <a:cubicBezTo>
                  <a:pt x="33975" y="54893"/>
                  <a:pt x="33253" y="54893"/>
                  <a:pt x="33253" y="55531"/>
                </a:cubicBezTo>
                <a:cubicBezTo>
                  <a:pt x="32530" y="56170"/>
                  <a:pt x="33253" y="56170"/>
                  <a:pt x="32530" y="56808"/>
                </a:cubicBezTo>
                <a:cubicBezTo>
                  <a:pt x="31807" y="56808"/>
                  <a:pt x="31807" y="56808"/>
                  <a:pt x="31084" y="56808"/>
                </a:cubicBezTo>
                <a:cubicBezTo>
                  <a:pt x="31084" y="56808"/>
                  <a:pt x="31084" y="56808"/>
                  <a:pt x="30361" y="56808"/>
                </a:cubicBezTo>
                <a:cubicBezTo>
                  <a:pt x="30361" y="56808"/>
                  <a:pt x="28915" y="56808"/>
                  <a:pt x="28915" y="56170"/>
                </a:cubicBezTo>
                <a:cubicBezTo>
                  <a:pt x="28915" y="56170"/>
                  <a:pt x="28915" y="56170"/>
                  <a:pt x="28915" y="55531"/>
                </a:cubicBezTo>
                <a:cubicBezTo>
                  <a:pt x="28915" y="54893"/>
                  <a:pt x="28915" y="54255"/>
                  <a:pt x="30361" y="54255"/>
                </a:cubicBezTo>
                <a:cubicBezTo>
                  <a:pt x="31084" y="54255"/>
                  <a:pt x="31084" y="54893"/>
                  <a:pt x="31084" y="54255"/>
                </a:cubicBezTo>
                <a:cubicBezTo>
                  <a:pt x="31084" y="54255"/>
                  <a:pt x="31084" y="53617"/>
                  <a:pt x="30361" y="53617"/>
                </a:cubicBezTo>
                <a:cubicBezTo>
                  <a:pt x="30361" y="52978"/>
                  <a:pt x="30361" y="52978"/>
                  <a:pt x="29638" y="52978"/>
                </a:cubicBezTo>
                <a:cubicBezTo>
                  <a:pt x="28915" y="52978"/>
                  <a:pt x="27469" y="53617"/>
                  <a:pt x="27469" y="53617"/>
                </a:cubicBezTo>
                <a:cubicBezTo>
                  <a:pt x="27469" y="53617"/>
                  <a:pt x="28192" y="53617"/>
                  <a:pt x="26746" y="53617"/>
                </a:cubicBezTo>
                <a:cubicBezTo>
                  <a:pt x="26024" y="52978"/>
                  <a:pt x="26746" y="52978"/>
                  <a:pt x="26024" y="52340"/>
                </a:cubicBezTo>
                <a:cubicBezTo>
                  <a:pt x="26024" y="51702"/>
                  <a:pt x="26024" y="51702"/>
                  <a:pt x="25301" y="51702"/>
                </a:cubicBezTo>
                <a:cubicBezTo>
                  <a:pt x="25301" y="51702"/>
                  <a:pt x="25301" y="51702"/>
                  <a:pt x="24578" y="51702"/>
                </a:cubicBezTo>
                <a:cubicBezTo>
                  <a:pt x="23855" y="51063"/>
                  <a:pt x="23132" y="51063"/>
                  <a:pt x="23132" y="50425"/>
                </a:cubicBezTo>
                <a:cubicBezTo>
                  <a:pt x="23132" y="49787"/>
                  <a:pt x="23132" y="49148"/>
                  <a:pt x="23855" y="49787"/>
                </a:cubicBezTo>
                <a:cubicBezTo>
                  <a:pt x="24578" y="49787"/>
                  <a:pt x="23855" y="49148"/>
                  <a:pt x="24578" y="49787"/>
                </a:cubicBezTo>
                <a:cubicBezTo>
                  <a:pt x="26024" y="50425"/>
                  <a:pt x="26024" y="50425"/>
                  <a:pt x="26024" y="50425"/>
                </a:cubicBezTo>
                <a:cubicBezTo>
                  <a:pt x="26024" y="50425"/>
                  <a:pt x="26746" y="50425"/>
                  <a:pt x="26024" y="49787"/>
                </a:cubicBezTo>
                <a:cubicBezTo>
                  <a:pt x="26024" y="49148"/>
                  <a:pt x="25301" y="48510"/>
                  <a:pt x="25301" y="48510"/>
                </a:cubicBezTo>
                <a:cubicBezTo>
                  <a:pt x="25301" y="48510"/>
                  <a:pt x="24578" y="48510"/>
                  <a:pt x="24578" y="47872"/>
                </a:cubicBezTo>
                <a:cubicBezTo>
                  <a:pt x="24578" y="47234"/>
                  <a:pt x="24578" y="47234"/>
                  <a:pt x="23855" y="46595"/>
                </a:cubicBezTo>
                <a:cubicBezTo>
                  <a:pt x="23855" y="46595"/>
                  <a:pt x="24578" y="46595"/>
                  <a:pt x="24578" y="46595"/>
                </a:cubicBezTo>
                <a:cubicBezTo>
                  <a:pt x="25301" y="46595"/>
                  <a:pt x="24578" y="46595"/>
                  <a:pt x="25301" y="46595"/>
                </a:cubicBezTo>
                <a:cubicBezTo>
                  <a:pt x="26746" y="46595"/>
                  <a:pt x="26024" y="46595"/>
                  <a:pt x="26746" y="46595"/>
                </a:cubicBezTo>
                <a:cubicBezTo>
                  <a:pt x="26746" y="46595"/>
                  <a:pt x="27469" y="46595"/>
                  <a:pt x="27469" y="46595"/>
                </a:cubicBezTo>
                <a:cubicBezTo>
                  <a:pt x="27469" y="47234"/>
                  <a:pt x="28192" y="45957"/>
                  <a:pt x="28192" y="45957"/>
                </a:cubicBezTo>
                <a:cubicBezTo>
                  <a:pt x="28192" y="45957"/>
                  <a:pt x="27469" y="45319"/>
                  <a:pt x="28192" y="45319"/>
                </a:cubicBezTo>
                <a:cubicBezTo>
                  <a:pt x="28915" y="45319"/>
                  <a:pt x="28915" y="45957"/>
                  <a:pt x="29638" y="45957"/>
                </a:cubicBezTo>
                <a:cubicBezTo>
                  <a:pt x="31084" y="45957"/>
                  <a:pt x="31084" y="46595"/>
                  <a:pt x="31807" y="46595"/>
                </a:cubicBezTo>
                <a:cubicBezTo>
                  <a:pt x="31807" y="45957"/>
                  <a:pt x="32530" y="46595"/>
                  <a:pt x="32530" y="45957"/>
                </a:cubicBezTo>
                <a:cubicBezTo>
                  <a:pt x="31807" y="45319"/>
                  <a:pt x="31807" y="45957"/>
                  <a:pt x="31807" y="45319"/>
                </a:cubicBezTo>
                <a:cubicBezTo>
                  <a:pt x="31084" y="44680"/>
                  <a:pt x="31084" y="45319"/>
                  <a:pt x="31084" y="44042"/>
                </a:cubicBezTo>
                <a:cubicBezTo>
                  <a:pt x="31807" y="43404"/>
                  <a:pt x="31807" y="42765"/>
                  <a:pt x="31807" y="42765"/>
                </a:cubicBezTo>
                <a:cubicBezTo>
                  <a:pt x="31807" y="42127"/>
                  <a:pt x="31807" y="42127"/>
                  <a:pt x="31807" y="42127"/>
                </a:cubicBezTo>
                <a:cubicBezTo>
                  <a:pt x="33253" y="40851"/>
                  <a:pt x="33253" y="40851"/>
                  <a:pt x="33253" y="40851"/>
                </a:cubicBezTo>
                <a:cubicBezTo>
                  <a:pt x="33253" y="40851"/>
                  <a:pt x="33975" y="40851"/>
                  <a:pt x="34698" y="40851"/>
                </a:cubicBezTo>
                <a:cubicBezTo>
                  <a:pt x="36144" y="40851"/>
                  <a:pt x="36867" y="41489"/>
                  <a:pt x="37590" y="41489"/>
                </a:cubicBezTo>
                <a:cubicBezTo>
                  <a:pt x="39036" y="41489"/>
                  <a:pt x="39759" y="41489"/>
                  <a:pt x="39759" y="41489"/>
                </a:cubicBezTo>
                <a:cubicBezTo>
                  <a:pt x="39036" y="40851"/>
                  <a:pt x="39036" y="40851"/>
                  <a:pt x="39036" y="40851"/>
                </a:cubicBezTo>
                <a:cubicBezTo>
                  <a:pt x="39036" y="40851"/>
                  <a:pt x="39036" y="40851"/>
                  <a:pt x="39036" y="40212"/>
                </a:cubicBezTo>
                <a:cubicBezTo>
                  <a:pt x="39759" y="40212"/>
                  <a:pt x="39759" y="40212"/>
                  <a:pt x="40481" y="40212"/>
                </a:cubicBezTo>
                <a:cubicBezTo>
                  <a:pt x="40481" y="40212"/>
                  <a:pt x="41204" y="38936"/>
                  <a:pt x="41204" y="38936"/>
                </a:cubicBezTo>
                <a:cubicBezTo>
                  <a:pt x="40481" y="38297"/>
                  <a:pt x="40481" y="38297"/>
                  <a:pt x="39759" y="37659"/>
                </a:cubicBezTo>
                <a:cubicBezTo>
                  <a:pt x="38313" y="37659"/>
                  <a:pt x="36144" y="37659"/>
                  <a:pt x="36144" y="37659"/>
                </a:cubicBezTo>
                <a:cubicBezTo>
                  <a:pt x="36144" y="37659"/>
                  <a:pt x="35421" y="37659"/>
                  <a:pt x="34698" y="37659"/>
                </a:cubicBezTo>
                <a:cubicBezTo>
                  <a:pt x="33975" y="37659"/>
                  <a:pt x="32530" y="37659"/>
                  <a:pt x="32530" y="37021"/>
                </a:cubicBezTo>
                <a:cubicBezTo>
                  <a:pt x="31807" y="37021"/>
                  <a:pt x="31807" y="37021"/>
                  <a:pt x="31807" y="35744"/>
                </a:cubicBezTo>
                <a:cubicBezTo>
                  <a:pt x="31807" y="35106"/>
                  <a:pt x="31084" y="35106"/>
                  <a:pt x="31084" y="35106"/>
                </a:cubicBezTo>
                <a:cubicBezTo>
                  <a:pt x="31807" y="33829"/>
                  <a:pt x="31807" y="33829"/>
                  <a:pt x="31807" y="33829"/>
                </a:cubicBezTo>
                <a:cubicBezTo>
                  <a:pt x="31807" y="33829"/>
                  <a:pt x="31084" y="33191"/>
                  <a:pt x="31084" y="33191"/>
                </a:cubicBezTo>
                <a:cubicBezTo>
                  <a:pt x="30361" y="33191"/>
                  <a:pt x="30361" y="33191"/>
                  <a:pt x="30361" y="33191"/>
                </a:cubicBezTo>
                <a:cubicBezTo>
                  <a:pt x="29638" y="33191"/>
                  <a:pt x="30361" y="33191"/>
                  <a:pt x="28915" y="32553"/>
                </a:cubicBezTo>
                <a:cubicBezTo>
                  <a:pt x="27469" y="32553"/>
                  <a:pt x="26746" y="31914"/>
                  <a:pt x="26746" y="31914"/>
                </a:cubicBezTo>
                <a:cubicBezTo>
                  <a:pt x="26746" y="31276"/>
                  <a:pt x="26746" y="31276"/>
                  <a:pt x="28192" y="31276"/>
                </a:cubicBezTo>
                <a:cubicBezTo>
                  <a:pt x="28915" y="31276"/>
                  <a:pt x="29638" y="31276"/>
                  <a:pt x="30361" y="31276"/>
                </a:cubicBezTo>
                <a:cubicBezTo>
                  <a:pt x="31084" y="31914"/>
                  <a:pt x="32530" y="31276"/>
                  <a:pt x="32530" y="31276"/>
                </a:cubicBezTo>
                <a:cubicBezTo>
                  <a:pt x="32530" y="31276"/>
                  <a:pt x="31807" y="31276"/>
                  <a:pt x="33253" y="31914"/>
                </a:cubicBezTo>
                <a:cubicBezTo>
                  <a:pt x="34698" y="32553"/>
                  <a:pt x="33975" y="32553"/>
                  <a:pt x="34698" y="32553"/>
                </a:cubicBezTo>
                <a:cubicBezTo>
                  <a:pt x="35421" y="32553"/>
                  <a:pt x="36144" y="31914"/>
                  <a:pt x="35421" y="31914"/>
                </a:cubicBezTo>
                <a:cubicBezTo>
                  <a:pt x="35421" y="31276"/>
                  <a:pt x="36144" y="31276"/>
                  <a:pt x="35421" y="31276"/>
                </a:cubicBezTo>
                <a:cubicBezTo>
                  <a:pt x="34698" y="30638"/>
                  <a:pt x="34698" y="30638"/>
                  <a:pt x="34698" y="30638"/>
                </a:cubicBezTo>
                <a:cubicBezTo>
                  <a:pt x="34698" y="30638"/>
                  <a:pt x="34698" y="30638"/>
                  <a:pt x="34698" y="30000"/>
                </a:cubicBezTo>
                <a:cubicBezTo>
                  <a:pt x="34698" y="29361"/>
                  <a:pt x="35421" y="28723"/>
                  <a:pt x="35421" y="28723"/>
                </a:cubicBezTo>
                <a:cubicBezTo>
                  <a:pt x="36144" y="28723"/>
                  <a:pt x="36144" y="28723"/>
                  <a:pt x="36144" y="28085"/>
                </a:cubicBezTo>
                <a:cubicBezTo>
                  <a:pt x="36144" y="28085"/>
                  <a:pt x="36144" y="27446"/>
                  <a:pt x="36144" y="27446"/>
                </a:cubicBezTo>
                <a:cubicBezTo>
                  <a:pt x="36144" y="26808"/>
                  <a:pt x="36867" y="26170"/>
                  <a:pt x="36867" y="26170"/>
                </a:cubicBezTo>
                <a:cubicBezTo>
                  <a:pt x="36867" y="26170"/>
                  <a:pt x="36144" y="25531"/>
                  <a:pt x="36144" y="25531"/>
                </a:cubicBezTo>
                <a:cubicBezTo>
                  <a:pt x="36144" y="25531"/>
                  <a:pt x="34698" y="25531"/>
                  <a:pt x="34698" y="26170"/>
                </a:cubicBezTo>
                <a:cubicBezTo>
                  <a:pt x="34698" y="26170"/>
                  <a:pt x="34698" y="26170"/>
                  <a:pt x="34698" y="26808"/>
                </a:cubicBezTo>
                <a:cubicBezTo>
                  <a:pt x="33975" y="26808"/>
                  <a:pt x="33975" y="26808"/>
                  <a:pt x="33253" y="26808"/>
                </a:cubicBezTo>
                <a:cubicBezTo>
                  <a:pt x="33253" y="27446"/>
                  <a:pt x="33253" y="27446"/>
                  <a:pt x="33253" y="27446"/>
                </a:cubicBezTo>
                <a:cubicBezTo>
                  <a:pt x="33253" y="28085"/>
                  <a:pt x="32530" y="28723"/>
                  <a:pt x="32530" y="28723"/>
                </a:cubicBezTo>
                <a:cubicBezTo>
                  <a:pt x="32530" y="28723"/>
                  <a:pt x="31807" y="27446"/>
                  <a:pt x="31807" y="26808"/>
                </a:cubicBezTo>
                <a:cubicBezTo>
                  <a:pt x="31807" y="26808"/>
                  <a:pt x="32530" y="26170"/>
                  <a:pt x="33253" y="26170"/>
                </a:cubicBezTo>
                <a:cubicBezTo>
                  <a:pt x="33975" y="26170"/>
                  <a:pt x="33975" y="26170"/>
                  <a:pt x="33975" y="25531"/>
                </a:cubicBezTo>
                <a:cubicBezTo>
                  <a:pt x="33975" y="25531"/>
                  <a:pt x="33975" y="25531"/>
                  <a:pt x="33975" y="24893"/>
                </a:cubicBezTo>
                <a:cubicBezTo>
                  <a:pt x="33975" y="24255"/>
                  <a:pt x="33975" y="24255"/>
                  <a:pt x="33975" y="24255"/>
                </a:cubicBezTo>
                <a:cubicBezTo>
                  <a:pt x="34698" y="23617"/>
                  <a:pt x="35421" y="22978"/>
                  <a:pt x="36144" y="22978"/>
                </a:cubicBezTo>
                <a:cubicBezTo>
                  <a:pt x="36144" y="22978"/>
                  <a:pt x="35421" y="21702"/>
                  <a:pt x="36867" y="22978"/>
                </a:cubicBezTo>
                <a:cubicBezTo>
                  <a:pt x="37590" y="23617"/>
                  <a:pt x="37590" y="23617"/>
                  <a:pt x="38313" y="24255"/>
                </a:cubicBezTo>
                <a:cubicBezTo>
                  <a:pt x="39036" y="24255"/>
                  <a:pt x="40481" y="24893"/>
                  <a:pt x="40481" y="24255"/>
                </a:cubicBezTo>
                <a:cubicBezTo>
                  <a:pt x="40481" y="24255"/>
                  <a:pt x="40481" y="23617"/>
                  <a:pt x="40481" y="22978"/>
                </a:cubicBezTo>
                <a:cubicBezTo>
                  <a:pt x="40481" y="22978"/>
                  <a:pt x="39759" y="22978"/>
                  <a:pt x="40481" y="22340"/>
                </a:cubicBezTo>
                <a:cubicBezTo>
                  <a:pt x="40481" y="22340"/>
                  <a:pt x="40481" y="22340"/>
                  <a:pt x="41204" y="22340"/>
                </a:cubicBezTo>
                <a:cubicBezTo>
                  <a:pt x="42650" y="22978"/>
                  <a:pt x="41927" y="22978"/>
                  <a:pt x="42650" y="23617"/>
                </a:cubicBezTo>
                <a:cubicBezTo>
                  <a:pt x="44096" y="24255"/>
                  <a:pt x="44096" y="24255"/>
                  <a:pt x="44096" y="24255"/>
                </a:cubicBezTo>
                <a:cubicBezTo>
                  <a:pt x="44819" y="24255"/>
                  <a:pt x="44819" y="24255"/>
                  <a:pt x="45542" y="24255"/>
                </a:cubicBezTo>
                <a:cubicBezTo>
                  <a:pt x="46265" y="24255"/>
                  <a:pt x="45542" y="23617"/>
                  <a:pt x="46987" y="24893"/>
                </a:cubicBezTo>
                <a:cubicBezTo>
                  <a:pt x="47710" y="25531"/>
                  <a:pt x="47710" y="25531"/>
                  <a:pt x="48433" y="25531"/>
                </a:cubicBezTo>
                <a:cubicBezTo>
                  <a:pt x="49156" y="26170"/>
                  <a:pt x="50602" y="25531"/>
                  <a:pt x="50602" y="25531"/>
                </a:cubicBezTo>
                <a:cubicBezTo>
                  <a:pt x="50602" y="25531"/>
                  <a:pt x="50602" y="24893"/>
                  <a:pt x="51325" y="26170"/>
                </a:cubicBezTo>
                <a:cubicBezTo>
                  <a:pt x="52048" y="27446"/>
                  <a:pt x="52771" y="27446"/>
                  <a:pt x="52771" y="27446"/>
                </a:cubicBezTo>
                <a:cubicBezTo>
                  <a:pt x="52771" y="28085"/>
                  <a:pt x="53493" y="28723"/>
                  <a:pt x="53493" y="28723"/>
                </a:cubicBezTo>
                <a:cubicBezTo>
                  <a:pt x="53493" y="28723"/>
                  <a:pt x="53493" y="28723"/>
                  <a:pt x="53493" y="29361"/>
                </a:cubicBezTo>
                <a:cubicBezTo>
                  <a:pt x="53493" y="29361"/>
                  <a:pt x="53493" y="30000"/>
                  <a:pt x="54216" y="30000"/>
                </a:cubicBezTo>
                <a:cubicBezTo>
                  <a:pt x="54216" y="30000"/>
                  <a:pt x="54939" y="30000"/>
                  <a:pt x="54939" y="30000"/>
                </a:cubicBezTo>
                <a:cubicBezTo>
                  <a:pt x="54939" y="30000"/>
                  <a:pt x="55662" y="29361"/>
                  <a:pt x="55662" y="29361"/>
                </a:cubicBezTo>
                <a:cubicBezTo>
                  <a:pt x="55662" y="29361"/>
                  <a:pt x="57108" y="28723"/>
                  <a:pt x="57108" y="28723"/>
                </a:cubicBezTo>
                <a:cubicBezTo>
                  <a:pt x="57108" y="28723"/>
                  <a:pt x="57108" y="28085"/>
                  <a:pt x="58554" y="28723"/>
                </a:cubicBezTo>
                <a:cubicBezTo>
                  <a:pt x="59277" y="28723"/>
                  <a:pt x="60722" y="29361"/>
                  <a:pt x="60722" y="29361"/>
                </a:cubicBezTo>
                <a:cubicBezTo>
                  <a:pt x="60722" y="29361"/>
                  <a:pt x="60722" y="30000"/>
                  <a:pt x="60722" y="30000"/>
                </a:cubicBezTo>
                <a:cubicBezTo>
                  <a:pt x="61445" y="30000"/>
                  <a:pt x="63614" y="30000"/>
                  <a:pt x="63614" y="30000"/>
                </a:cubicBezTo>
                <a:cubicBezTo>
                  <a:pt x="64337" y="30638"/>
                  <a:pt x="64337" y="30638"/>
                  <a:pt x="64337" y="30638"/>
                </a:cubicBezTo>
                <a:cubicBezTo>
                  <a:pt x="64337" y="30638"/>
                  <a:pt x="65060" y="31276"/>
                  <a:pt x="65060" y="31276"/>
                </a:cubicBezTo>
                <a:cubicBezTo>
                  <a:pt x="65060" y="31914"/>
                  <a:pt x="65783" y="33191"/>
                  <a:pt x="65783" y="33191"/>
                </a:cubicBezTo>
                <a:cubicBezTo>
                  <a:pt x="67951" y="33829"/>
                  <a:pt x="67951" y="33829"/>
                  <a:pt x="67951" y="33829"/>
                </a:cubicBezTo>
                <a:cubicBezTo>
                  <a:pt x="66506" y="31914"/>
                  <a:pt x="66506" y="31914"/>
                  <a:pt x="66506" y="31914"/>
                </a:cubicBezTo>
                <a:cubicBezTo>
                  <a:pt x="66506" y="31914"/>
                  <a:pt x="65060" y="30638"/>
                  <a:pt x="66506" y="30638"/>
                </a:cubicBezTo>
                <a:cubicBezTo>
                  <a:pt x="67951" y="30638"/>
                  <a:pt x="68674" y="30000"/>
                  <a:pt x="68674" y="30000"/>
                </a:cubicBezTo>
                <a:cubicBezTo>
                  <a:pt x="68674" y="29361"/>
                  <a:pt x="68674" y="29361"/>
                  <a:pt x="68674" y="29361"/>
                </a:cubicBezTo>
                <a:cubicBezTo>
                  <a:pt x="66506" y="29361"/>
                  <a:pt x="66506" y="29361"/>
                  <a:pt x="66506" y="29361"/>
                </a:cubicBezTo>
                <a:cubicBezTo>
                  <a:pt x="66506" y="29361"/>
                  <a:pt x="66506" y="28085"/>
                  <a:pt x="66506" y="28085"/>
                </a:cubicBezTo>
                <a:cubicBezTo>
                  <a:pt x="67228" y="28085"/>
                  <a:pt x="67951" y="26808"/>
                  <a:pt x="69397" y="26808"/>
                </a:cubicBezTo>
                <a:cubicBezTo>
                  <a:pt x="70843" y="26808"/>
                  <a:pt x="72289" y="26170"/>
                  <a:pt x="72289" y="26170"/>
                </a:cubicBezTo>
                <a:cubicBezTo>
                  <a:pt x="72289" y="26170"/>
                  <a:pt x="72289" y="25531"/>
                  <a:pt x="73734" y="25531"/>
                </a:cubicBezTo>
                <a:cubicBezTo>
                  <a:pt x="75180" y="25531"/>
                  <a:pt x="75903" y="25531"/>
                  <a:pt x="76626" y="25531"/>
                </a:cubicBezTo>
                <a:cubicBezTo>
                  <a:pt x="77349" y="25531"/>
                  <a:pt x="77349" y="25531"/>
                  <a:pt x="77349" y="24893"/>
                </a:cubicBezTo>
                <a:cubicBezTo>
                  <a:pt x="77349" y="24255"/>
                  <a:pt x="76626" y="24255"/>
                  <a:pt x="78072" y="23617"/>
                </a:cubicBezTo>
                <a:cubicBezTo>
                  <a:pt x="78795" y="23617"/>
                  <a:pt x="79518" y="22978"/>
                  <a:pt x="79518" y="22978"/>
                </a:cubicBezTo>
                <a:cubicBezTo>
                  <a:pt x="80240" y="20425"/>
                  <a:pt x="80240" y="20425"/>
                  <a:pt x="80240" y="20425"/>
                </a:cubicBezTo>
                <a:cubicBezTo>
                  <a:pt x="77349" y="21702"/>
                  <a:pt x="77349" y="21702"/>
                  <a:pt x="77349" y="21702"/>
                </a:cubicBezTo>
                <a:cubicBezTo>
                  <a:pt x="77349" y="21702"/>
                  <a:pt x="77349" y="20425"/>
                  <a:pt x="76626" y="20425"/>
                </a:cubicBezTo>
                <a:cubicBezTo>
                  <a:pt x="75903" y="20425"/>
                  <a:pt x="73734" y="21702"/>
                  <a:pt x="73734" y="21702"/>
                </a:cubicBezTo>
                <a:cubicBezTo>
                  <a:pt x="73734" y="21702"/>
                  <a:pt x="73734" y="21063"/>
                  <a:pt x="73012" y="21063"/>
                </a:cubicBezTo>
                <a:cubicBezTo>
                  <a:pt x="73012" y="20425"/>
                  <a:pt x="73012" y="20425"/>
                  <a:pt x="72289" y="20425"/>
                </a:cubicBezTo>
                <a:cubicBezTo>
                  <a:pt x="71566" y="20425"/>
                  <a:pt x="72289" y="20425"/>
                  <a:pt x="70843" y="19787"/>
                </a:cubicBezTo>
                <a:cubicBezTo>
                  <a:pt x="69397" y="19148"/>
                  <a:pt x="68674" y="17872"/>
                  <a:pt x="68674" y="17872"/>
                </a:cubicBezTo>
                <a:cubicBezTo>
                  <a:pt x="68674" y="17872"/>
                  <a:pt x="69397" y="17872"/>
                  <a:pt x="67951" y="17872"/>
                </a:cubicBezTo>
                <a:cubicBezTo>
                  <a:pt x="67228" y="17234"/>
                  <a:pt x="67228" y="17234"/>
                  <a:pt x="67228" y="17234"/>
                </a:cubicBezTo>
                <a:cubicBezTo>
                  <a:pt x="66506" y="16595"/>
                  <a:pt x="66506" y="16595"/>
                  <a:pt x="67951" y="15957"/>
                </a:cubicBezTo>
                <a:cubicBezTo>
                  <a:pt x="68674" y="15319"/>
                  <a:pt x="67951" y="15319"/>
                  <a:pt x="69397" y="14680"/>
                </a:cubicBezTo>
                <a:cubicBezTo>
                  <a:pt x="70120" y="14042"/>
                  <a:pt x="69397" y="13404"/>
                  <a:pt x="70843" y="14042"/>
                </a:cubicBezTo>
                <a:cubicBezTo>
                  <a:pt x="73012" y="14680"/>
                  <a:pt x="73012" y="14680"/>
                  <a:pt x="73734" y="15319"/>
                </a:cubicBezTo>
                <a:cubicBezTo>
                  <a:pt x="74457" y="15319"/>
                  <a:pt x="77349" y="15319"/>
                  <a:pt x="75903" y="14680"/>
                </a:cubicBezTo>
                <a:cubicBezTo>
                  <a:pt x="75180" y="14042"/>
                  <a:pt x="73734" y="13404"/>
                  <a:pt x="73734" y="12765"/>
                </a:cubicBezTo>
                <a:cubicBezTo>
                  <a:pt x="73734" y="12765"/>
                  <a:pt x="72289" y="12765"/>
                  <a:pt x="73734" y="12765"/>
                </a:cubicBezTo>
                <a:cubicBezTo>
                  <a:pt x="74457" y="12765"/>
                  <a:pt x="75180" y="12127"/>
                  <a:pt x="75903" y="12765"/>
                </a:cubicBezTo>
                <a:cubicBezTo>
                  <a:pt x="75903" y="12765"/>
                  <a:pt x="74457" y="12765"/>
                  <a:pt x="76626" y="12765"/>
                </a:cubicBezTo>
                <a:cubicBezTo>
                  <a:pt x="78795" y="12765"/>
                  <a:pt x="79518" y="12765"/>
                  <a:pt x="78072" y="12127"/>
                </a:cubicBezTo>
                <a:cubicBezTo>
                  <a:pt x="77349" y="11489"/>
                  <a:pt x="77349" y="11489"/>
                  <a:pt x="76626" y="10851"/>
                </a:cubicBezTo>
                <a:cubicBezTo>
                  <a:pt x="76626" y="10212"/>
                  <a:pt x="75903" y="10212"/>
                  <a:pt x="76626" y="10212"/>
                </a:cubicBezTo>
                <a:cubicBezTo>
                  <a:pt x="76626" y="9574"/>
                  <a:pt x="76626" y="10212"/>
                  <a:pt x="77349" y="9574"/>
                </a:cubicBezTo>
                <a:cubicBezTo>
                  <a:pt x="77349" y="8936"/>
                  <a:pt x="77349" y="8297"/>
                  <a:pt x="77349" y="8297"/>
                </a:cubicBezTo>
                <a:cubicBezTo>
                  <a:pt x="77349" y="8297"/>
                  <a:pt x="76626" y="8297"/>
                  <a:pt x="77349" y="7659"/>
                </a:cubicBezTo>
                <a:cubicBezTo>
                  <a:pt x="78795" y="6382"/>
                  <a:pt x="78795" y="6382"/>
                  <a:pt x="79518" y="6382"/>
                </a:cubicBezTo>
                <a:cubicBezTo>
                  <a:pt x="79518" y="6382"/>
                  <a:pt x="80240" y="5744"/>
                  <a:pt x="80963" y="5744"/>
                </a:cubicBezTo>
                <a:cubicBezTo>
                  <a:pt x="80963" y="5106"/>
                  <a:pt x="81686" y="3829"/>
                  <a:pt x="81686" y="3829"/>
                </a:cubicBezTo>
                <a:cubicBezTo>
                  <a:pt x="83855" y="3829"/>
                  <a:pt x="83855" y="3829"/>
                  <a:pt x="83855" y="3829"/>
                </a:cubicBezTo>
                <a:cubicBezTo>
                  <a:pt x="83855" y="3829"/>
                  <a:pt x="84578" y="3829"/>
                  <a:pt x="84578" y="3829"/>
                </a:cubicBezTo>
                <a:cubicBezTo>
                  <a:pt x="84578" y="4468"/>
                  <a:pt x="84578" y="3191"/>
                  <a:pt x="84578" y="3191"/>
                </a:cubicBezTo>
                <a:cubicBezTo>
                  <a:pt x="84578" y="3191"/>
                  <a:pt x="85301" y="3191"/>
                  <a:pt x="85301" y="3191"/>
                </a:cubicBezTo>
                <a:cubicBezTo>
                  <a:pt x="86024" y="3829"/>
                  <a:pt x="86024" y="3829"/>
                  <a:pt x="86024" y="3829"/>
                </a:cubicBezTo>
                <a:cubicBezTo>
                  <a:pt x="86746" y="4468"/>
                  <a:pt x="87469" y="3829"/>
                  <a:pt x="87469" y="3829"/>
                </a:cubicBezTo>
                <a:cubicBezTo>
                  <a:pt x="87469" y="3829"/>
                  <a:pt x="88192" y="3191"/>
                  <a:pt x="88915" y="3191"/>
                </a:cubicBezTo>
                <a:cubicBezTo>
                  <a:pt x="89638" y="3191"/>
                  <a:pt x="90361" y="3191"/>
                  <a:pt x="90361" y="3191"/>
                </a:cubicBezTo>
                <a:cubicBezTo>
                  <a:pt x="90361" y="3829"/>
                  <a:pt x="90361" y="3829"/>
                  <a:pt x="90361" y="4468"/>
                </a:cubicBezTo>
                <a:cubicBezTo>
                  <a:pt x="91084" y="4468"/>
                  <a:pt x="91807" y="5106"/>
                  <a:pt x="91807" y="5106"/>
                </a:cubicBezTo>
                <a:cubicBezTo>
                  <a:pt x="91807" y="5106"/>
                  <a:pt x="93253" y="5106"/>
                  <a:pt x="93253" y="4468"/>
                </a:cubicBezTo>
                <a:cubicBezTo>
                  <a:pt x="93253" y="4468"/>
                  <a:pt x="92530" y="4468"/>
                  <a:pt x="93975" y="3829"/>
                </a:cubicBezTo>
                <a:cubicBezTo>
                  <a:pt x="95421" y="2553"/>
                  <a:pt x="96144" y="2553"/>
                  <a:pt x="96144" y="2553"/>
                </a:cubicBezTo>
                <a:cubicBezTo>
                  <a:pt x="96144" y="2553"/>
                  <a:pt x="96144" y="1914"/>
                  <a:pt x="96867" y="1914"/>
                </a:cubicBezTo>
                <a:cubicBezTo>
                  <a:pt x="97590" y="2553"/>
                  <a:pt x="97590" y="1914"/>
                  <a:pt x="97590" y="2553"/>
                </a:cubicBezTo>
                <a:cubicBezTo>
                  <a:pt x="97590" y="2553"/>
                  <a:pt x="98313" y="3191"/>
                  <a:pt x="98313" y="3191"/>
                </a:cubicBezTo>
                <a:cubicBezTo>
                  <a:pt x="98313" y="3191"/>
                  <a:pt x="98313" y="5106"/>
                  <a:pt x="98313" y="5106"/>
                </a:cubicBezTo>
                <a:cubicBezTo>
                  <a:pt x="98313" y="5744"/>
                  <a:pt x="98313" y="5744"/>
                  <a:pt x="98313" y="5744"/>
                </a:cubicBezTo>
                <a:cubicBezTo>
                  <a:pt x="98313" y="5744"/>
                  <a:pt x="98313" y="6382"/>
                  <a:pt x="98313" y="6382"/>
                </a:cubicBezTo>
                <a:cubicBezTo>
                  <a:pt x="98313" y="7021"/>
                  <a:pt x="99036" y="8297"/>
                  <a:pt x="99036" y="8297"/>
                </a:cubicBezTo>
                <a:cubicBezTo>
                  <a:pt x="99036" y="8297"/>
                  <a:pt x="99036" y="8297"/>
                  <a:pt x="99036" y="8297"/>
                </a:cubicBezTo>
                <a:cubicBezTo>
                  <a:pt x="98313" y="8936"/>
                  <a:pt x="98313" y="8297"/>
                  <a:pt x="98313" y="8936"/>
                </a:cubicBezTo>
                <a:cubicBezTo>
                  <a:pt x="97590" y="9574"/>
                  <a:pt x="98313" y="9574"/>
                  <a:pt x="97590" y="10212"/>
                </a:cubicBezTo>
                <a:cubicBezTo>
                  <a:pt x="97590" y="10212"/>
                  <a:pt x="96867" y="10212"/>
                  <a:pt x="96867" y="10212"/>
                </a:cubicBezTo>
                <a:cubicBezTo>
                  <a:pt x="96867" y="10212"/>
                  <a:pt x="97590" y="10851"/>
                  <a:pt x="97590" y="10851"/>
                </a:cubicBezTo>
                <a:cubicBezTo>
                  <a:pt x="97590" y="10851"/>
                  <a:pt x="97590" y="10851"/>
                  <a:pt x="98313" y="10851"/>
                </a:cubicBezTo>
                <a:cubicBezTo>
                  <a:pt x="98313" y="10851"/>
                  <a:pt x="98313" y="10212"/>
                  <a:pt x="99036" y="10212"/>
                </a:cubicBezTo>
                <a:cubicBezTo>
                  <a:pt x="99036" y="10851"/>
                  <a:pt x="99036" y="9574"/>
                  <a:pt x="99036" y="9574"/>
                </a:cubicBezTo>
                <a:cubicBezTo>
                  <a:pt x="99036" y="9574"/>
                  <a:pt x="99036" y="9574"/>
                  <a:pt x="99759" y="8936"/>
                </a:cubicBezTo>
                <a:cubicBezTo>
                  <a:pt x="99759" y="8936"/>
                  <a:pt x="100481" y="8297"/>
                  <a:pt x="100481" y="7659"/>
                </a:cubicBezTo>
                <a:cubicBezTo>
                  <a:pt x="100481" y="7659"/>
                  <a:pt x="99759" y="7021"/>
                  <a:pt x="99759" y="7021"/>
                </a:cubicBezTo>
                <a:cubicBezTo>
                  <a:pt x="99759" y="7021"/>
                  <a:pt x="99036" y="5744"/>
                  <a:pt x="99036" y="5106"/>
                </a:cubicBezTo>
                <a:cubicBezTo>
                  <a:pt x="99036" y="5106"/>
                  <a:pt x="99036" y="5106"/>
                  <a:pt x="99036" y="4468"/>
                </a:cubicBezTo>
                <a:cubicBezTo>
                  <a:pt x="99759" y="4468"/>
                  <a:pt x="99759" y="3829"/>
                  <a:pt x="99759" y="3829"/>
                </a:cubicBezTo>
                <a:cubicBezTo>
                  <a:pt x="100481" y="3191"/>
                  <a:pt x="101204" y="2553"/>
                  <a:pt x="101204" y="2553"/>
                </a:cubicBezTo>
                <a:cubicBezTo>
                  <a:pt x="101204" y="2553"/>
                  <a:pt x="102650" y="2553"/>
                  <a:pt x="103373" y="2553"/>
                </a:cubicBezTo>
                <a:cubicBezTo>
                  <a:pt x="103373" y="2553"/>
                  <a:pt x="102650" y="1914"/>
                  <a:pt x="104096" y="2553"/>
                </a:cubicBezTo>
                <a:cubicBezTo>
                  <a:pt x="104819" y="3191"/>
                  <a:pt x="104819" y="3191"/>
                  <a:pt x="104819" y="3191"/>
                </a:cubicBezTo>
                <a:cubicBezTo>
                  <a:pt x="104819" y="3829"/>
                  <a:pt x="104096" y="3829"/>
                  <a:pt x="105542" y="3829"/>
                </a:cubicBezTo>
                <a:cubicBezTo>
                  <a:pt x="106265" y="3829"/>
                  <a:pt x="106987" y="3829"/>
                  <a:pt x="106265" y="3829"/>
                </a:cubicBezTo>
                <a:cubicBezTo>
                  <a:pt x="105542" y="3191"/>
                  <a:pt x="105542" y="2553"/>
                  <a:pt x="104819" y="2553"/>
                </a:cubicBezTo>
                <a:cubicBezTo>
                  <a:pt x="104819" y="2553"/>
                  <a:pt x="104096" y="1914"/>
                  <a:pt x="104096" y="1914"/>
                </a:cubicBezTo>
                <a:cubicBezTo>
                  <a:pt x="104096" y="1276"/>
                  <a:pt x="104096" y="0"/>
                  <a:pt x="104819" y="638"/>
                </a:cubicBezTo>
                <a:cubicBezTo>
                  <a:pt x="105542" y="638"/>
                  <a:pt x="104819" y="0"/>
                  <a:pt x="105542" y="638"/>
                </a:cubicBezTo>
                <a:cubicBezTo>
                  <a:pt x="106987" y="1914"/>
                  <a:pt x="107710" y="2553"/>
                  <a:pt x="107710" y="2553"/>
                </a:cubicBezTo>
                <a:cubicBezTo>
                  <a:pt x="107710" y="3191"/>
                  <a:pt x="108433" y="3191"/>
                  <a:pt x="108433" y="3191"/>
                </a:cubicBezTo>
                <a:cubicBezTo>
                  <a:pt x="108433" y="3829"/>
                  <a:pt x="108433" y="3829"/>
                  <a:pt x="108433" y="3829"/>
                </a:cubicBezTo>
                <a:cubicBezTo>
                  <a:pt x="109156" y="4468"/>
                  <a:pt x="109879" y="5106"/>
                  <a:pt x="109879" y="5106"/>
                </a:cubicBezTo>
                <a:cubicBezTo>
                  <a:pt x="109879" y="5106"/>
                  <a:pt x="109879" y="5106"/>
                  <a:pt x="110602" y="5106"/>
                </a:cubicBezTo>
                <a:cubicBezTo>
                  <a:pt x="110602" y="5744"/>
                  <a:pt x="112048" y="6382"/>
                  <a:pt x="112048" y="6382"/>
                </a:cubicBezTo>
                <a:cubicBezTo>
                  <a:pt x="112048" y="6382"/>
                  <a:pt x="112771" y="7021"/>
                  <a:pt x="112771" y="7021"/>
                </a:cubicBezTo>
                <a:cubicBezTo>
                  <a:pt x="112048" y="7659"/>
                  <a:pt x="112048" y="8297"/>
                  <a:pt x="112048" y="8297"/>
                </a:cubicBezTo>
                <a:cubicBezTo>
                  <a:pt x="110602" y="10212"/>
                  <a:pt x="110602" y="10212"/>
                  <a:pt x="110602" y="10212"/>
                </a:cubicBezTo>
                <a:cubicBezTo>
                  <a:pt x="109879" y="11489"/>
                  <a:pt x="109879" y="11489"/>
                  <a:pt x="109879" y="11489"/>
                </a:cubicBezTo>
                <a:cubicBezTo>
                  <a:pt x="109879" y="12127"/>
                  <a:pt x="109879" y="12127"/>
                  <a:pt x="109879" y="12127"/>
                </a:cubicBezTo>
                <a:cubicBezTo>
                  <a:pt x="109156" y="12765"/>
                  <a:pt x="109156" y="13404"/>
                  <a:pt x="109156" y="13404"/>
                </a:cubicBezTo>
                <a:cubicBezTo>
                  <a:pt x="109156" y="13404"/>
                  <a:pt x="108433" y="14042"/>
                  <a:pt x="106987" y="14042"/>
                </a:cubicBezTo>
                <a:cubicBezTo>
                  <a:pt x="105542" y="13404"/>
                  <a:pt x="104096" y="14680"/>
                  <a:pt x="104096" y="14680"/>
                </a:cubicBezTo>
                <a:cubicBezTo>
                  <a:pt x="104096" y="14680"/>
                  <a:pt x="100481" y="14042"/>
                  <a:pt x="99759" y="14042"/>
                </a:cubicBezTo>
                <a:cubicBezTo>
                  <a:pt x="99036" y="14042"/>
                  <a:pt x="99036" y="16595"/>
                  <a:pt x="99036" y="17234"/>
                </a:cubicBezTo>
                <a:cubicBezTo>
                  <a:pt x="99036" y="17872"/>
                  <a:pt x="97590" y="18510"/>
                  <a:pt x="95421" y="18510"/>
                </a:cubicBezTo>
                <a:cubicBezTo>
                  <a:pt x="93253" y="19148"/>
                  <a:pt x="94698" y="19148"/>
                  <a:pt x="93975" y="21063"/>
                </a:cubicBezTo>
                <a:cubicBezTo>
                  <a:pt x="93253" y="23617"/>
                  <a:pt x="92530" y="21702"/>
                  <a:pt x="91084" y="21063"/>
                </a:cubicBezTo>
                <a:cubicBezTo>
                  <a:pt x="89638" y="21063"/>
                  <a:pt x="89638" y="21063"/>
                  <a:pt x="87469" y="21063"/>
                </a:cubicBezTo>
                <a:cubicBezTo>
                  <a:pt x="85301" y="21702"/>
                  <a:pt x="86746" y="22978"/>
                  <a:pt x="86746" y="22978"/>
                </a:cubicBezTo>
                <a:cubicBezTo>
                  <a:pt x="86746" y="22978"/>
                  <a:pt x="88192" y="24255"/>
                  <a:pt x="88915" y="24255"/>
                </a:cubicBezTo>
                <a:cubicBezTo>
                  <a:pt x="90361" y="24893"/>
                  <a:pt x="88915" y="26170"/>
                  <a:pt x="88915" y="26170"/>
                </a:cubicBezTo>
                <a:cubicBezTo>
                  <a:pt x="88915" y="26170"/>
                  <a:pt x="88192" y="27446"/>
                  <a:pt x="87469" y="27446"/>
                </a:cubicBezTo>
                <a:cubicBezTo>
                  <a:pt x="86746" y="26808"/>
                  <a:pt x="83132" y="26808"/>
                  <a:pt x="83132" y="26808"/>
                </a:cubicBezTo>
                <a:cubicBezTo>
                  <a:pt x="79518" y="28723"/>
                  <a:pt x="79518" y="28723"/>
                  <a:pt x="79518" y="28723"/>
                </a:cubicBezTo>
                <a:cubicBezTo>
                  <a:pt x="79518" y="28723"/>
                  <a:pt x="80240" y="31276"/>
                  <a:pt x="82409" y="33829"/>
                </a:cubicBezTo>
                <a:cubicBezTo>
                  <a:pt x="84578" y="36382"/>
                  <a:pt x="82409" y="34468"/>
                  <a:pt x="82409" y="34468"/>
                </a:cubicBezTo>
                <a:cubicBezTo>
                  <a:pt x="82409" y="34468"/>
                  <a:pt x="83132" y="36382"/>
                  <a:pt x="83132" y="37659"/>
                </a:cubicBezTo>
                <a:cubicBezTo>
                  <a:pt x="83132" y="38936"/>
                  <a:pt x="83132" y="38297"/>
                  <a:pt x="83855" y="38297"/>
                </a:cubicBezTo>
                <a:cubicBezTo>
                  <a:pt x="84578" y="38297"/>
                  <a:pt x="86024" y="38297"/>
                  <a:pt x="86024" y="38297"/>
                </a:cubicBezTo>
                <a:cubicBezTo>
                  <a:pt x="86024" y="38297"/>
                  <a:pt x="88915" y="42127"/>
                  <a:pt x="88915" y="42127"/>
                </a:cubicBezTo>
                <a:cubicBezTo>
                  <a:pt x="89638" y="42127"/>
                  <a:pt x="93253" y="41489"/>
                  <a:pt x="93253" y="41489"/>
                </a:cubicBezTo>
                <a:cubicBezTo>
                  <a:pt x="93253" y="41489"/>
                  <a:pt x="96144" y="40851"/>
                  <a:pt x="97590" y="40851"/>
                </a:cubicBezTo>
                <a:cubicBezTo>
                  <a:pt x="99036" y="40212"/>
                  <a:pt x="97590" y="38936"/>
                  <a:pt x="97590" y="38936"/>
                </a:cubicBezTo>
                <a:cubicBezTo>
                  <a:pt x="99036" y="35744"/>
                  <a:pt x="99036" y="35744"/>
                  <a:pt x="99036" y="35744"/>
                </a:cubicBezTo>
                <a:cubicBezTo>
                  <a:pt x="103373" y="35106"/>
                  <a:pt x="103373" y="35106"/>
                  <a:pt x="103373" y="35106"/>
                </a:cubicBezTo>
                <a:cubicBezTo>
                  <a:pt x="105542" y="38936"/>
                  <a:pt x="105542" y="38936"/>
                  <a:pt x="105542" y="38936"/>
                </a:cubicBezTo>
                <a:cubicBezTo>
                  <a:pt x="104819" y="41489"/>
                  <a:pt x="104819" y="41489"/>
                  <a:pt x="104819" y="41489"/>
                </a:cubicBezTo>
                <a:cubicBezTo>
                  <a:pt x="108433" y="44680"/>
                  <a:pt x="108433" y="44680"/>
                  <a:pt x="108433" y="44680"/>
                </a:cubicBezTo>
                <a:cubicBezTo>
                  <a:pt x="109156" y="47872"/>
                  <a:pt x="109156" y="47872"/>
                  <a:pt x="109156" y="47872"/>
                </a:cubicBezTo>
                <a:cubicBezTo>
                  <a:pt x="109156" y="47872"/>
                  <a:pt x="112771" y="48510"/>
                  <a:pt x="113493" y="49148"/>
                </a:cubicBezTo>
                <a:cubicBezTo>
                  <a:pt x="114216" y="49148"/>
                  <a:pt x="116385" y="48510"/>
                  <a:pt x="116385" y="48510"/>
                </a:cubicBezTo>
                <a:cubicBezTo>
                  <a:pt x="119277" y="51702"/>
                  <a:pt x="119277" y="51702"/>
                  <a:pt x="119277" y="51702"/>
                </a:cubicBezTo>
                <a:cubicBezTo>
                  <a:pt x="119999" y="51063"/>
                  <a:pt x="119999" y="51063"/>
                  <a:pt x="119999" y="51063"/>
                </a:cubicBezTo>
                <a:cubicBezTo>
                  <a:pt x="119999" y="51702"/>
                  <a:pt x="119999" y="51702"/>
                  <a:pt x="119999" y="51702"/>
                </a:cubicBezTo>
                <a:cubicBezTo>
                  <a:pt x="119999" y="51702"/>
                  <a:pt x="119999" y="52978"/>
                  <a:pt x="119277" y="52978"/>
                </a:cubicBezTo>
                <a:cubicBezTo>
                  <a:pt x="117831" y="52340"/>
                  <a:pt x="117108" y="52340"/>
                  <a:pt x="117108" y="52340"/>
                </a:cubicBezTo>
                <a:cubicBezTo>
                  <a:pt x="114939" y="51063"/>
                  <a:pt x="114939" y="51063"/>
                  <a:pt x="114939" y="51063"/>
                </a:cubicBezTo>
                <a:cubicBezTo>
                  <a:pt x="114216" y="51702"/>
                  <a:pt x="114216" y="51702"/>
                  <a:pt x="114216" y="51702"/>
                </a:cubicBezTo>
                <a:cubicBezTo>
                  <a:pt x="112048" y="54255"/>
                  <a:pt x="112048" y="54255"/>
                  <a:pt x="112048" y="54255"/>
                </a:cubicBezTo>
                <a:cubicBezTo>
                  <a:pt x="113493" y="54893"/>
                  <a:pt x="113493" y="54893"/>
                  <a:pt x="113493" y="54893"/>
                </a:cubicBezTo>
                <a:cubicBezTo>
                  <a:pt x="114939" y="56170"/>
                  <a:pt x="114939" y="56170"/>
                  <a:pt x="114939" y="56170"/>
                </a:cubicBezTo>
                <a:cubicBezTo>
                  <a:pt x="114939" y="58085"/>
                  <a:pt x="114939" y="58085"/>
                  <a:pt x="114939" y="58085"/>
                </a:cubicBezTo>
                <a:cubicBezTo>
                  <a:pt x="114939" y="60638"/>
                  <a:pt x="114939" y="60638"/>
                  <a:pt x="114939" y="60638"/>
                </a:cubicBezTo>
                <a:cubicBezTo>
                  <a:pt x="113493" y="62553"/>
                  <a:pt x="113493" y="62553"/>
                  <a:pt x="113493" y="62553"/>
                </a:cubicBezTo>
                <a:cubicBezTo>
                  <a:pt x="113493" y="62553"/>
                  <a:pt x="114216" y="63829"/>
                  <a:pt x="114216" y="64468"/>
                </a:cubicBezTo>
                <a:cubicBezTo>
                  <a:pt x="114216" y="64468"/>
                  <a:pt x="115662" y="65744"/>
                  <a:pt x="115662" y="65744"/>
                </a:cubicBezTo>
                <a:cubicBezTo>
                  <a:pt x="117108" y="67021"/>
                  <a:pt x="117108" y="67021"/>
                  <a:pt x="117108" y="67021"/>
                </a:cubicBezTo>
                <a:cubicBezTo>
                  <a:pt x="115662" y="70212"/>
                  <a:pt x="115662" y="70212"/>
                  <a:pt x="115662" y="70212"/>
                </a:cubicBezTo>
                <a:cubicBezTo>
                  <a:pt x="114216" y="71489"/>
                  <a:pt x="114216" y="71489"/>
                  <a:pt x="114216" y="71489"/>
                </a:cubicBezTo>
                <a:cubicBezTo>
                  <a:pt x="114216" y="72765"/>
                  <a:pt x="114216" y="72765"/>
                  <a:pt x="114216" y="72765"/>
                </a:cubicBezTo>
                <a:cubicBezTo>
                  <a:pt x="114216" y="72765"/>
                  <a:pt x="115662" y="73404"/>
                  <a:pt x="114939" y="73404"/>
                </a:cubicBezTo>
                <a:cubicBezTo>
                  <a:pt x="114216" y="73404"/>
                  <a:pt x="112771" y="73404"/>
                  <a:pt x="112771" y="73404"/>
                </a:cubicBezTo>
                <a:cubicBezTo>
                  <a:pt x="112771" y="73404"/>
                  <a:pt x="112771" y="74042"/>
                  <a:pt x="112771" y="74680"/>
                </a:cubicBezTo>
                <a:cubicBezTo>
                  <a:pt x="112771" y="74680"/>
                  <a:pt x="113493" y="75957"/>
                  <a:pt x="113493" y="75957"/>
                </a:cubicBezTo>
                <a:cubicBezTo>
                  <a:pt x="113493" y="75957"/>
                  <a:pt x="114216" y="75957"/>
                  <a:pt x="114216" y="76595"/>
                </a:cubicBezTo>
                <a:cubicBezTo>
                  <a:pt x="114216" y="77234"/>
                  <a:pt x="113493" y="78510"/>
                  <a:pt x="113493" y="78510"/>
                </a:cubicBezTo>
                <a:cubicBezTo>
                  <a:pt x="113493" y="78510"/>
                  <a:pt x="112771" y="81063"/>
                  <a:pt x="112771" y="81063"/>
                </a:cubicBezTo>
                <a:cubicBezTo>
                  <a:pt x="113493" y="81063"/>
                  <a:pt x="113493" y="82340"/>
                  <a:pt x="113493" y="82340"/>
                </a:cubicBezTo>
                <a:cubicBezTo>
                  <a:pt x="113493" y="84893"/>
                  <a:pt x="113493" y="84893"/>
                  <a:pt x="113493" y="84893"/>
                </a:cubicBezTo>
                <a:cubicBezTo>
                  <a:pt x="112771" y="86808"/>
                  <a:pt x="112771" y="86808"/>
                  <a:pt x="112771" y="86808"/>
                </a:cubicBezTo>
                <a:cubicBezTo>
                  <a:pt x="113493" y="88085"/>
                  <a:pt x="113493" y="88085"/>
                  <a:pt x="113493" y="88085"/>
                </a:cubicBezTo>
                <a:cubicBezTo>
                  <a:pt x="111325" y="89361"/>
                  <a:pt x="111325" y="89361"/>
                  <a:pt x="111325" y="89361"/>
                </a:cubicBezTo>
                <a:cubicBezTo>
                  <a:pt x="110602" y="90638"/>
                  <a:pt x="110602" y="90638"/>
                  <a:pt x="110602" y="90638"/>
                </a:cubicBezTo>
                <a:cubicBezTo>
                  <a:pt x="110602" y="90638"/>
                  <a:pt x="109156" y="91276"/>
                  <a:pt x="109156" y="91914"/>
                </a:cubicBezTo>
                <a:cubicBezTo>
                  <a:pt x="109156" y="91914"/>
                  <a:pt x="108433" y="92553"/>
                  <a:pt x="108433" y="93191"/>
                </a:cubicBezTo>
                <a:cubicBezTo>
                  <a:pt x="108433" y="93829"/>
                  <a:pt x="107710" y="94468"/>
                  <a:pt x="107710" y="94468"/>
                </a:cubicBezTo>
                <a:cubicBezTo>
                  <a:pt x="106987" y="95106"/>
                  <a:pt x="105542" y="96382"/>
                  <a:pt x="105542" y="96382"/>
                </a:cubicBezTo>
                <a:cubicBezTo>
                  <a:pt x="104819" y="97659"/>
                  <a:pt x="104819" y="97659"/>
                  <a:pt x="104819" y="97659"/>
                </a:cubicBezTo>
                <a:cubicBezTo>
                  <a:pt x="104819" y="97659"/>
                  <a:pt x="105542" y="98936"/>
                  <a:pt x="105542" y="98936"/>
                </a:cubicBezTo>
                <a:cubicBezTo>
                  <a:pt x="105542" y="99574"/>
                  <a:pt x="105542" y="99574"/>
                  <a:pt x="105542" y="99574"/>
                </a:cubicBezTo>
                <a:cubicBezTo>
                  <a:pt x="104096" y="100851"/>
                  <a:pt x="104096" y="100851"/>
                  <a:pt x="104096" y="100851"/>
                </a:cubicBezTo>
                <a:cubicBezTo>
                  <a:pt x="100481" y="103404"/>
                  <a:pt x="100481" y="103404"/>
                  <a:pt x="100481" y="103404"/>
                </a:cubicBezTo>
                <a:cubicBezTo>
                  <a:pt x="100481" y="103404"/>
                  <a:pt x="100481" y="104042"/>
                  <a:pt x="99759" y="104680"/>
                </a:cubicBezTo>
                <a:cubicBezTo>
                  <a:pt x="99759" y="105957"/>
                  <a:pt x="99036" y="105957"/>
                  <a:pt x="99036" y="105957"/>
                </a:cubicBezTo>
                <a:cubicBezTo>
                  <a:pt x="99036" y="105957"/>
                  <a:pt x="98313" y="105957"/>
                  <a:pt x="97590" y="105957"/>
                </a:cubicBezTo>
                <a:cubicBezTo>
                  <a:pt x="97590" y="105957"/>
                  <a:pt x="96867" y="105319"/>
                  <a:pt x="96867" y="105319"/>
                </a:cubicBezTo>
                <a:cubicBezTo>
                  <a:pt x="96867" y="106595"/>
                  <a:pt x="96867" y="106595"/>
                  <a:pt x="96867" y="106595"/>
                </a:cubicBezTo>
                <a:cubicBezTo>
                  <a:pt x="96867" y="106595"/>
                  <a:pt x="96867" y="107234"/>
                  <a:pt x="97590" y="107234"/>
                </a:cubicBezTo>
                <a:cubicBezTo>
                  <a:pt x="98313" y="107872"/>
                  <a:pt x="98313" y="108510"/>
                  <a:pt x="99036" y="108510"/>
                </a:cubicBezTo>
                <a:cubicBezTo>
                  <a:pt x="99036" y="109148"/>
                  <a:pt x="99759" y="109787"/>
                  <a:pt x="99759" y="109787"/>
                </a:cubicBezTo>
                <a:cubicBezTo>
                  <a:pt x="98313" y="111063"/>
                  <a:pt x="98313" y="111063"/>
                  <a:pt x="98313" y="111063"/>
                </a:cubicBezTo>
                <a:cubicBezTo>
                  <a:pt x="98313" y="111702"/>
                  <a:pt x="98313" y="111702"/>
                  <a:pt x="98313" y="111702"/>
                </a:cubicBezTo>
                <a:cubicBezTo>
                  <a:pt x="96867" y="111702"/>
                  <a:pt x="96867" y="111702"/>
                  <a:pt x="96867" y="111702"/>
                </a:cubicBezTo>
                <a:cubicBezTo>
                  <a:pt x="96144" y="111063"/>
                  <a:pt x="96144" y="111063"/>
                  <a:pt x="96144" y="111063"/>
                </a:cubicBezTo>
                <a:cubicBezTo>
                  <a:pt x="96144" y="111063"/>
                  <a:pt x="95421" y="111063"/>
                  <a:pt x="95421" y="111063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3042;p256">
            <a:extLst>
              <a:ext uri="{FF2B5EF4-FFF2-40B4-BE49-F238E27FC236}">
                <a16:creationId xmlns:a16="http://schemas.microsoft.com/office/drawing/2014/main" id="{34442DFF-4378-7AB8-EBEE-D0B4477062F4}"/>
              </a:ext>
            </a:extLst>
          </p:cNvPr>
          <p:cNvSpPr/>
          <p:nvPr/>
        </p:nvSpPr>
        <p:spPr>
          <a:xfrm>
            <a:off x="5571425" y="4993806"/>
            <a:ext cx="651556" cy="98600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49887" y="3884"/>
                </a:moveTo>
                <a:cubicBezTo>
                  <a:pt x="49887" y="3884"/>
                  <a:pt x="52584" y="2589"/>
                  <a:pt x="52584" y="2589"/>
                </a:cubicBezTo>
                <a:cubicBezTo>
                  <a:pt x="52584" y="2589"/>
                  <a:pt x="53258" y="2158"/>
                  <a:pt x="53258" y="2158"/>
                </a:cubicBezTo>
                <a:cubicBezTo>
                  <a:pt x="53932" y="2158"/>
                  <a:pt x="54606" y="2158"/>
                  <a:pt x="55280" y="2158"/>
                </a:cubicBezTo>
                <a:cubicBezTo>
                  <a:pt x="55280" y="2158"/>
                  <a:pt x="55955" y="1726"/>
                  <a:pt x="55955" y="1726"/>
                </a:cubicBezTo>
                <a:cubicBezTo>
                  <a:pt x="56629" y="1294"/>
                  <a:pt x="56629" y="1294"/>
                  <a:pt x="56629" y="1294"/>
                </a:cubicBezTo>
                <a:cubicBezTo>
                  <a:pt x="57977" y="863"/>
                  <a:pt x="57977" y="863"/>
                  <a:pt x="57977" y="863"/>
                </a:cubicBezTo>
                <a:cubicBezTo>
                  <a:pt x="59325" y="863"/>
                  <a:pt x="59325" y="863"/>
                  <a:pt x="59325" y="863"/>
                </a:cubicBezTo>
                <a:cubicBezTo>
                  <a:pt x="59325" y="863"/>
                  <a:pt x="60000" y="863"/>
                  <a:pt x="60000" y="863"/>
                </a:cubicBezTo>
                <a:cubicBezTo>
                  <a:pt x="60000" y="863"/>
                  <a:pt x="62696" y="431"/>
                  <a:pt x="62696" y="431"/>
                </a:cubicBezTo>
                <a:cubicBezTo>
                  <a:pt x="62696" y="431"/>
                  <a:pt x="63370" y="863"/>
                  <a:pt x="64044" y="863"/>
                </a:cubicBezTo>
                <a:cubicBezTo>
                  <a:pt x="64044" y="863"/>
                  <a:pt x="65393" y="863"/>
                  <a:pt x="65393" y="863"/>
                </a:cubicBezTo>
                <a:cubicBezTo>
                  <a:pt x="66067" y="863"/>
                  <a:pt x="67415" y="431"/>
                  <a:pt x="67415" y="431"/>
                </a:cubicBezTo>
                <a:cubicBezTo>
                  <a:pt x="70112" y="0"/>
                  <a:pt x="70112" y="0"/>
                  <a:pt x="70112" y="0"/>
                </a:cubicBezTo>
                <a:cubicBezTo>
                  <a:pt x="70786" y="863"/>
                  <a:pt x="70786" y="863"/>
                  <a:pt x="70786" y="863"/>
                </a:cubicBezTo>
                <a:cubicBezTo>
                  <a:pt x="70786" y="863"/>
                  <a:pt x="70786" y="1726"/>
                  <a:pt x="70786" y="1726"/>
                </a:cubicBezTo>
                <a:cubicBezTo>
                  <a:pt x="70786" y="1726"/>
                  <a:pt x="70786" y="2158"/>
                  <a:pt x="71460" y="2158"/>
                </a:cubicBezTo>
                <a:cubicBezTo>
                  <a:pt x="72134" y="2158"/>
                  <a:pt x="72134" y="2158"/>
                  <a:pt x="72134" y="2158"/>
                </a:cubicBezTo>
                <a:cubicBezTo>
                  <a:pt x="72134" y="2589"/>
                  <a:pt x="72134" y="3884"/>
                  <a:pt x="72134" y="3884"/>
                </a:cubicBezTo>
                <a:cubicBezTo>
                  <a:pt x="70112" y="4316"/>
                  <a:pt x="70112" y="4316"/>
                  <a:pt x="70112" y="4316"/>
                </a:cubicBezTo>
                <a:cubicBezTo>
                  <a:pt x="70112" y="4316"/>
                  <a:pt x="69438" y="4316"/>
                  <a:pt x="69438" y="4748"/>
                </a:cubicBezTo>
                <a:cubicBezTo>
                  <a:pt x="69438" y="4748"/>
                  <a:pt x="68089" y="5179"/>
                  <a:pt x="68089" y="5179"/>
                </a:cubicBezTo>
                <a:cubicBezTo>
                  <a:pt x="68089" y="5611"/>
                  <a:pt x="67415" y="5611"/>
                  <a:pt x="68089" y="6043"/>
                </a:cubicBezTo>
                <a:cubicBezTo>
                  <a:pt x="68089" y="6474"/>
                  <a:pt x="68764" y="6906"/>
                  <a:pt x="68764" y="6906"/>
                </a:cubicBezTo>
                <a:cubicBezTo>
                  <a:pt x="68764" y="7769"/>
                  <a:pt x="68764" y="7769"/>
                  <a:pt x="68764" y="7769"/>
                </a:cubicBezTo>
                <a:cubicBezTo>
                  <a:pt x="68764" y="7769"/>
                  <a:pt x="68764" y="8201"/>
                  <a:pt x="69438" y="8201"/>
                </a:cubicBezTo>
                <a:cubicBezTo>
                  <a:pt x="69438" y="8633"/>
                  <a:pt x="70112" y="8201"/>
                  <a:pt x="70786" y="8201"/>
                </a:cubicBezTo>
                <a:cubicBezTo>
                  <a:pt x="72134" y="8201"/>
                  <a:pt x="72808" y="7769"/>
                  <a:pt x="73483" y="7769"/>
                </a:cubicBezTo>
                <a:cubicBezTo>
                  <a:pt x="73483" y="7769"/>
                  <a:pt x="74157" y="7769"/>
                  <a:pt x="74157" y="7769"/>
                </a:cubicBezTo>
                <a:cubicBezTo>
                  <a:pt x="74831" y="7338"/>
                  <a:pt x="76179" y="6906"/>
                  <a:pt x="76179" y="6906"/>
                </a:cubicBezTo>
                <a:cubicBezTo>
                  <a:pt x="76179" y="6906"/>
                  <a:pt x="76179" y="6043"/>
                  <a:pt x="76853" y="6474"/>
                </a:cubicBezTo>
                <a:cubicBezTo>
                  <a:pt x="76853" y="6474"/>
                  <a:pt x="76853" y="7338"/>
                  <a:pt x="76853" y="7338"/>
                </a:cubicBezTo>
                <a:cubicBezTo>
                  <a:pt x="76853" y="7338"/>
                  <a:pt x="76179" y="8201"/>
                  <a:pt x="76179" y="8201"/>
                </a:cubicBezTo>
                <a:cubicBezTo>
                  <a:pt x="76853" y="8633"/>
                  <a:pt x="77528" y="8201"/>
                  <a:pt x="77528" y="8201"/>
                </a:cubicBezTo>
                <a:cubicBezTo>
                  <a:pt x="78202" y="7769"/>
                  <a:pt x="78876" y="7769"/>
                  <a:pt x="78876" y="7769"/>
                </a:cubicBezTo>
                <a:cubicBezTo>
                  <a:pt x="80224" y="7769"/>
                  <a:pt x="80224" y="7769"/>
                  <a:pt x="80224" y="7769"/>
                </a:cubicBezTo>
                <a:cubicBezTo>
                  <a:pt x="80224" y="7769"/>
                  <a:pt x="81573" y="7769"/>
                  <a:pt x="81573" y="7769"/>
                </a:cubicBezTo>
                <a:cubicBezTo>
                  <a:pt x="81573" y="7769"/>
                  <a:pt x="82247" y="8201"/>
                  <a:pt x="82921" y="8201"/>
                </a:cubicBezTo>
                <a:cubicBezTo>
                  <a:pt x="82921" y="8633"/>
                  <a:pt x="84943" y="9064"/>
                  <a:pt x="84943" y="9064"/>
                </a:cubicBezTo>
                <a:cubicBezTo>
                  <a:pt x="84269" y="9928"/>
                  <a:pt x="84269" y="9928"/>
                  <a:pt x="84269" y="9928"/>
                </a:cubicBezTo>
                <a:cubicBezTo>
                  <a:pt x="84269" y="9928"/>
                  <a:pt x="83595" y="10791"/>
                  <a:pt x="84269" y="10791"/>
                </a:cubicBezTo>
                <a:cubicBezTo>
                  <a:pt x="84269" y="10791"/>
                  <a:pt x="84943" y="10359"/>
                  <a:pt x="84943" y="10359"/>
                </a:cubicBezTo>
                <a:cubicBezTo>
                  <a:pt x="85617" y="10359"/>
                  <a:pt x="86292" y="9928"/>
                  <a:pt x="86292" y="9928"/>
                </a:cubicBezTo>
                <a:cubicBezTo>
                  <a:pt x="86292" y="9928"/>
                  <a:pt x="86292" y="9496"/>
                  <a:pt x="86292" y="9496"/>
                </a:cubicBezTo>
                <a:cubicBezTo>
                  <a:pt x="86292" y="9928"/>
                  <a:pt x="87640" y="10359"/>
                  <a:pt x="87640" y="10359"/>
                </a:cubicBezTo>
                <a:cubicBezTo>
                  <a:pt x="87640" y="10359"/>
                  <a:pt x="88314" y="11223"/>
                  <a:pt x="88314" y="11223"/>
                </a:cubicBezTo>
                <a:cubicBezTo>
                  <a:pt x="88314" y="11223"/>
                  <a:pt x="89662" y="10791"/>
                  <a:pt x="89662" y="10791"/>
                </a:cubicBezTo>
                <a:cubicBezTo>
                  <a:pt x="89662" y="10791"/>
                  <a:pt x="89662" y="10791"/>
                  <a:pt x="90337" y="10791"/>
                </a:cubicBezTo>
                <a:cubicBezTo>
                  <a:pt x="91011" y="10791"/>
                  <a:pt x="91011" y="10791"/>
                  <a:pt x="91011" y="10791"/>
                </a:cubicBezTo>
                <a:cubicBezTo>
                  <a:pt x="91685" y="11223"/>
                  <a:pt x="93707" y="11223"/>
                  <a:pt x="93707" y="11223"/>
                </a:cubicBezTo>
                <a:cubicBezTo>
                  <a:pt x="95730" y="10359"/>
                  <a:pt x="95730" y="10359"/>
                  <a:pt x="95730" y="10359"/>
                </a:cubicBezTo>
                <a:cubicBezTo>
                  <a:pt x="96404" y="9064"/>
                  <a:pt x="96404" y="9064"/>
                  <a:pt x="96404" y="9064"/>
                </a:cubicBezTo>
                <a:cubicBezTo>
                  <a:pt x="96404" y="8633"/>
                  <a:pt x="96404" y="8633"/>
                  <a:pt x="96404" y="8633"/>
                </a:cubicBezTo>
                <a:cubicBezTo>
                  <a:pt x="96404" y="8633"/>
                  <a:pt x="97752" y="8201"/>
                  <a:pt x="97752" y="8201"/>
                </a:cubicBezTo>
                <a:cubicBezTo>
                  <a:pt x="97752" y="8201"/>
                  <a:pt x="98426" y="8201"/>
                  <a:pt x="98426" y="8633"/>
                </a:cubicBezTo>
                <a:cubicBezTo>
                  <a:pt x="98426" y="8633"/>
                  <a:pt x="99775" y="9496"/>
                  <a:pt x="99775" y="9496"/>
                </a:cubicBezTo>
                <a:cubicBezTo>
                  <a:pt x="99775" y="9496"/>
                  <a:pt x="101123" y="9496"/>
                  <a:pt x="101123" y="9496"/>
                </a:cubicBezTo>
                <a:cubicBezTo>
                  <a:pt x="101797" y="9496"/>
                  <a:pt x="101797" y="9064"/>
                  <a:pt x="102471" y="9496"/>
                </a:cubicBezTo>
                <a:cubicBezTo>
                  <a:pt x="102471" y="9928"/>
                  <a:pt x="102471" y="10359"/>
                  <a:pt x="103146" y="10359"/>
                </a:cubicBezTo>
                <a:cubicBezTo>
                  <a:pt x="103146" y="10359"/>
                  <a:pt x="103820" y="10359"/>
                  <a:pt x="103820" y="10359"/>
                </a:cubicBezTo>
                <a:cubicBezTo>
                  <a:pt x="104494" y="10791"/>
                  <a:pt x="105842" y="10791"/>
                  <a:pt x="105842" y="10791"/>
                </a:cubicBezTo>
                <a:cubicBezTo>
                  <a:pt x="106516" y="9928"/>
                  <a:pt x="106516" y="9928"/>
                  <a:pt x="106516" y="9928"/>
                </a:cubicBezTo>
                <a:cubicBezTo>
                  <a:pt x="106516" y="9928"/>
                  <a:pt x="106516" y="9496"/>
                  <a:pt x="107191" y="9928"/>
                </a:cubicBezTo>
                <a:cubicBezTo>
                  <a:pt x="107865" y="9928"/>
                  <a:pt x="107865" y="10791"/>
                  <a:pt x="107865" y="10791"/>
                </a:cubicBezTo>
                <a:cubicBezTo>
                  <a:pt x="107865" y="10791"/>
                  <a:pt x="108539" y="11223"/>
                  <a:pt x="108539" y="11223"/>
                </a:cubicBezTo>
                <a:cubicBezTo>
                  <a:pt x="108539" y="11223"/>
                  <a:pt x="110561" y="11654"/>
                  <a:pt x="110561" y="11654"/>
                </a:cubicBezTo>
                <a:cubicBezTo>
                  <a:pt x="110561" y="11654"/>
                  <a:pt x="111910" y="11223"/>
                  <a:pt x="111910" y="11223"/>
                </a:cubicBezTo>
                <a:cubicBezTo>
                  <a:pt x="112584" y="11223"/>
                  <a:pt x="112584" y="12086"/>
                  <a:pt x="112584" y="12086"/>
                </a:cubicBezTo>
                <a:cubicBezTo>
                  <a:pt x="112584" y="12086"/>
                  <a:pt x="112584" y="12517"/>
                  <a:pt x="112584" y="12517"/>
                </a:cubicBezTo>
                <a:cubicBezTo>
                  <a:pt x="111910" y="12949"/>
                  <a:pt x="111910" y="12949"/>
                  <a:pt x="112584" y="12949"/>
                </a:cubicBezTo>
                <a:cubicBezTo>
                  <a:pt x="112584" y="13381"/>
                  <a:pt x="113258" y="13812"/>
                  <a:pt x="113258" y="13812"/>
                </a:cubicBezTo>
                <a:cubicBezTo>
                  <a:pt x="113258" y="13812"/>
                  <a:pt x="112584" y="14676"/>
                  <a:pt x="112584" y="14676"/>
                </a:cubicBezTo>
                <a:cubicBezTo>
                  <a:pt x="112584" y="15107"/>
                  <a:pt x="111910" y="15539"/>
                  <a:pt x="111910" y="15539"/>
                </a:cubicBezTo>
                <a:cubicBezTo>
                  <a:pt x="111235" y="15971"/>
                  <a:pt x="111235" y="15971"/>
                  <a:pt x="111235" y="15971"/>
                </a:cubicBezTo>
                <a:cubicBezTo>
                  <a:pt x="111235" y="16402"/>
                  <a:pt x="111235" y="16402"/>
                  <a:pt x="111235" y="16402"/>
                </a:cubicBezTo>
                <a:cubicBezTo>
                  <a:pt x="111235" y="16834"/>
                  <a:pt x="111235" y="16834"/>
                  <a:pt x="111235" y="16834"/>
                </a:cubicBezTo>
                <a:cubicBezTo>
                  <a:pt x="111235" y="16834"/>
                  <a:pt x="111235" y="17266"/>
                  <a:pt x="111235" y="17266"/>
                </a:cubicBezTo>
                <a:cubicBezTo>
                  <a:pt x="110561" y="17266"/>
                  <a:pt x="111235" y="18129"/>
                  <a:pt x="111235" y="18129"/>
                </a:cubicBezTo>
                <a:cubicBezTo>
                  <a:pt x="111910" y="18561"/>
                  <a:pt x="111910" y="18561"/>
                  <a:pt x="111910" y="18561"/>
                </a:cubicBezTo>
                <a:cubicBezTo>
                  <a:pt x="111910" y="18561"/>
                  <a:pt x="113258" y="18129"/>
                  <a:pt x="113258" y="18129"/>
                </a:cubicBezTo>
                <a:cubicBezTo>
                  <a:pt x="113258" y="18129"/>
                  <a:pt x="115280" y="18561"/>
                  <a:pt x="115280" y="18561"/>
                </a:cubicBezTo>
                <a:cubicBezTo>
                  <a:pt x="115280" y="18561"/>
                  <a:pt x="116629" y="18992"/>
                  <a:pt x="116629" y="19424"/>
                </a:cubicBezTo>
                <a:cubicBezTo>
                  <a:pt x="117303" y="19424"/>
                  <a:pt x="118651" y="20287"/>
                  <a:pt x="118651" y="20287"/>
                </a:cubicBezTo>
                <a:cubicBezTo>
                  <a:pt x="120000" y="21582"/>
                  <a:pt x="120000" y="21582"/>
                  <a:pt x="120000" y="21582"/>
                </a:cubicBezTo>
                <a:cubicBezTo>
                  <a:pt x="118651" y="22446"/>
                  <a:pt x="118651" y="22446"/>
                  <a:pt x="118651" y="22446"/>
                </a:cubicBezTo>
                <a:cubicBezTo>
                  <a:pt x="117303" y="23741"/>
                  <a:pt x="117303" y="23741"/>
                  <a:pt x="117303" y="23741"/>
                </a:cubicBezTo>
                <a:cubicBezTo>
                  <a:pt x="115955" y="24172"/>
                  <a:pt x="115955" y="24172"/>
                  <a:pt x="115955" y="24172"/>
                </a:cubicBezTo>
                <a:cubicBezTo>
                  <a:pt x="115955" y="24172"/>
                  <a:pt x="115280" y="25035"/>
                  <a:pt x="115280" y="25035"/>
                </a:cubicBezTo>
                <a:cubicBezTo>
                  <a:pt x="115280" y="25035"/>
                  <a:pt x="113932" y="25467"/>
                  <a:pt x="113932" y="25467"/>
                </a:cubicBezTo>
                <a:cubicBezTo>
                  <a:pt x="113258" y="25467"/>
                  <a:pt x="113258" y="25467"/>
                  <a:pt x="113258" y="25467"/>
                </a:cubicBezTo>
                <a:cubicBezTo>
                  <a:pt x="111235" y="26762"/>
                  <a:pt x="111235" y="26762"/>
                  <a:pt x="111235" y="26762"/>
                </a:cubicBezTo>
                <a:cubicBezTo>
                  <a:pt x="109887" y="27194"/>
                  <a:pt x="109887" y="27194"/>
                  <a:pt x="109887" y="27194"/>
                </a:cubicBezTo>
                <a:cubicBezTo>
                  <a:pt x="108539" y="27625"/>
                  <a:pt x="108539" y="27625"/>
                  <a:pt x="108539" y="27625"/>
                </a:cubicBezTo>
                <a:cubicBezTo>
                  <a:pt x="107865" y="27625"/>
                  <a:pt x="107865" y="27625"/>
                  <a:pt x="107865" y="27625"/>
                </a:cubicBezTo>
                <a:cubicBezTo>
                  <a:pt x="106516" y="28489"/>
                  <a:pt x="106516" y="28489"/>
                  <a:pt x="106516" y="28489"/>
                </a:cubicBezTo>
                <a:cubicBezTo>
                  <a:pt x="105168" y="28057"/>
                  <a:pt x="105168" y="28057"/>
                  <a:pt x="105168" y="28057"/>
                </a:cubicBezTo>
                <a:cubicBezTo>
                  <a:pt x="103146" y="28489"/>
                  <a:pt x="103146" y="28489"/>
                  <a:pt x="103146" y="28489"/>
                </a:cubicBezTo>
                <a:cubicBezTo>
                  <a:pt x="103146" y="28920"/>
                  <a:pt x="103146" y="28920"/>
                  <a:pt x="103146" y="28920"/>
                </a:cubicBezTo>
                <a:cubicBezTo>
                  <a:pt x="100449" y="29784"/>
                  <a:pt x="100449" y="29784"/>
                  <a:pt x="100449" y="29784"/>
                </a:cubicBezTo>
                <a:cubicBezTo>
                  <a:pt x="99775" y="31079"/>
                  <a:pt x="99775" y="31079"/>
                  <a:pt x="99775" y="31079"/>
                </a:cubicBezTo>
                <a:cubicBezTo>
                  <a:pt x="99775" y="31079"/>
                  <a:pt x="98426" y="31079"/>
                  <a:pt x="98426" y="31510"/>
                </a:cubicBezTo>
                <a:cubicBezTo>
                  <a:pt x="97752" y="31510"/>
                  <a:pt x="97078" y="31942"/>
                  <a:pt x="97078" y="31942"/>
                </a:cubicBezTo>
                <a:cubicBezTo>
                  <a:pt x="95730" y="31510"/>
                  <a:pt x="95730" y="31510"/>
                  <a:pt x="95730" y="31510"/>
                </a:cubicBezTo>
                <a:cubicBezTo>
                  <a:pt x="95056" y="31942"/>
                  <a:pt x="95056" y="31942"/>
                  <a:pt x="95056" y="31942"/>
                </a:cubicBezTo>
                <a:cubicBezTo>
                  <a:pt x="95056" y="32805"/>
                  <a:pt x="95056" y="32805"/>
                  <a:pt x="95056" y="32805"/>
                </a:cubicBezTo>
                <a:cubicBezTo>
                  <a:pt x="95730" y="32805"/>
                  <a:pt x="95730" y="32805"/>
                  <a:pt x="95730" y="32805"/>
                </a:cubicBezTo>
                <a:cubicBezTo>
                  <a:pt x="95730" y="32805"/>
                  <a:pt x="95730" y="33669"/>
                  <a:pt x="95730" y="33669"/>
                </a:cubicBezTo>
                <a:cubicBezTo>
                  <a:pt x="95730" y="34100"/>
                  <a:pt x="95730" y="34964"/>
                  <a:pt x="95730" y="34964"/>
                </a:cubicBezTo>
                <a:cubicBezTo>
                  <a:pt x="97078" y="35395"/>
                  <a:pt x="97078" y="35395"/>
                  <a:pt x="97078" y="35395"/>
                </a:cubicBezTo>
                <a:cubicBezTo>
                  <a:pt x="97078" y="35395"/>
                  <a:pt x="97078" y="36690"/>
                  <a:pt x="96404" y="36690"/>
                </a:cubicBezTo>
                <a:cubicBezTo>
                  <a:pt x="96404" y="36690"/>
                  <a:pt x="95056" y="37122"/>
                  <a:pt x="95056" y="37122"/>
                </a:cubicBezTo>
                <a:cubicBezTo>
                  <a:pt x="95056" y="37553"/>
                  <a:pt x="95056" y="37553"/>
                  <a:pt x="95056" y="37553"/>
                </a:cubicBezTo>
                <a:cubicBezTo>
                  <a:pt x="95730" y="38417"/>
                  <a:pt x="95730" y="38417"/>
                  <a:pt x="95730" y="38417"/>
                </a:cubicBezTo>
                <a:cubicBezTo>
                  <a:pt x="95730" y="38417"/>
                  <a:pt x="95730" y="39712"/>
                  <a:pt x="95056" y="39712"/>
                </a:cubicBezTo>
                <a:cubicBezTo>
                  <a:pt x="95056" y="40143"/>
                  <a:pt x="94382" y="41007"/>
                  <a:pt x="94382" y="41007"/>
                </a:cubicBezTo>
                <a:cubicBezTo>
                  <a:pt x="93707" y="41438"/>
                  <a:pt x="93707" y="41438"/>
                  <a:pt x="93707" y="41438"/>
                </a:cubicBezTo>
                <a:cubicBezTo>
                  <a:pt x="93033" y="42302"/>
                  <a:pt x="93033" y="42302"/>
                  <a:pt x="93033" y="42302"/>
                </a:cubicBezTo>
                <a:cubicBezTo>
                  <a:pt x="93707" y="42733"/>
                  <a:pt x="93707" y="42733"/>
                  <a:pt x="93707" y="42733"/>
                </a:cubicBezTo>
                <a:cubicBezTo>
                  <a:pt x="93707" y="44028"/>
                  <a:pt x="93707" y="44028"/>
                  <a:pt x="93707" y="44028"/>
                </a:cubicBezTo>
                <a:cubicBezTo>
                  <a:pt x="92359" y="44460"/>
                  <a:pt x="92359" y="44460"/>
                  <a:pt x="92359" y="44460"/>
                </a:cubicBezTo>
                <a:cubicBezTo>
                  <a:pt x="91685" y="45755"/>
                  <a:pt x="91685" y="45755"/>
                  <a:pt x="91685" y="45755"/>
                </a:cubicBezTo>
                <a:cubicBezTo>
                  <a:pt x="92359" y="46187"/>
                  <a:pt x="92359" y="46187"/>
                  <a:pt x="92359" y="46187"/>
                </a:cubicBezTo>
                <a:cubicBezTo>
                  <a:pt x="93033" y="47050"/>
                  <a:pt x="93033" y="47050"/>
                  <a:pt x="93033" y="47050"/>
                </a:cubicBezTo>
                <a:cubicBezTo>
                  <a:pt x="92359" y="47913"/>
                  <a:pt x="92359" y="47913"/>
                  <a:pt x="92359" y="47913"/>
                </a:cubicBezTo>
                <a:cubicBezTo>
                  <a:pt x="91685" y="48345"/>
                  <a:pt x="91685" y="48345"/>
                  <a:pt x="91685" y="48345"/>
                </a:cubicBezTo>
                <a:cubicBezTo>
                  <a:pt x="91011" y="48345"/>
                  <a:pt x="91011" y="48345"/>
                  <a:pt x="91011" y="48345"/>
                </a:cubicBezTo>
                <a:cubicBezTo>
                  <a:pt x="89662" y="49208"/>
                  <a:pt x="89662" y="49208"/>
                  <a:pt x="89662" y="49208"/>
                </a:cubicBezTo>
                <a:cubicBezTo>
                  <a:pt x="88314" y="49208"/>
                  <a:pt x="88314" y="49208"/>
                  <a:pt x="88314" y="49208"/>
                </a:cubicBezTo>
                <a:cubicBezTo>
                  <a:pt x="87640" y="49208"/>
                  <a:pt x="87640" y="49208"/>
                  <a:pt x="87640" y="49208"/>
                </a:cubicBezTo>
                <a:cubicBezTo>
                  <a:pt x="86292" y="50071"/>
                  <a:pt x="86292" y="50071"/>
                  <a:pt x="86292" y="50071"/>
                </a:cubicBezTo>
                <a:cubicBezTo>
                  <a:pt x="85617" y="50071"/>
                  <a:pt x="85617" y="50071"/>
                  <a:pt x="85617" y="50071"/>
                </a:cubicBezTo>
                <a:cubicBezTo>
                  <a:pt x="84943" y="50503"/>
                  <a:pt x="84943" y="50503"/>
                  <a:pt x="84943" y="50503"/>
                </a:cubicBezTo>
                <a:cubicBezTo>
                  <a:pt x="84943" y="51366"/>
                  <a:pt x="84943" y="51366"/>
                  <a:pt x="84943" y="51366"/>
                </a:cubicBezTo>
                <a:cubicBezTo>
                  <a:pt x="84943" y="51366"/>
                  <a:pt x="84943" y="51798"/>
                  <a:pt x="84943" y="51798"/>
                </a:cubicBezTo>
                <a:cubicBezTo>
                  <a:pt x="85617" y="51798"/>
                  <a:pt x="85617" y="52230"/>
                  <a:pt x="85617" y="52230"/>
                </a:cubicBezTo>
                <a:cubicBezTo>
                  <a:pt x="86292" y="53093"/>
                  <a:pt x="86292" y="53093"/>
                  <a:pt x="86292" y="53093"/>
                </a:cubicBezTo>
                <a:cubicBezTo>
                  <a:pt x="86966" y="53956"/>
                  <a:pt x="86966" y="53956"/>
                  <a:pt x="86966" y="53956"/>
                </a:cubicBezTo>
                <a:cubicBezTo>
                  <a:pt x="87640" y="55251"/>
                  <a:pt x="87640" y="55251"/>
                  <a:pt x="87640" y="55251"/>
                </a:cubicBezTo>
                <a:cubicBezTo>
                  <a:pt x="87640" y="55251"/>
                  <a:pt x="86966" y="56115"/>
                  <a:pt x="86966" y="56115"/>
                </a:cubicBezTo>
                <a:cubicBezTo>
                  <a:pt x="86966" y="56115"/>
                  <a:pt x="86292" y="56978"/>
                  <a:pt x="86292" y="56978"/>
                </a:cubicBezTo>
                <a:cubicBezTo>
                  <a:pt x="85617" y="57841"/>
                  <a:pt x="85617" y="57841"/>
                  <a:pt x="85617" y="57841"/>
                </a:cubicBezTo>
                <a:cubicBezTo>
                  <a:pt x="84943" y="58705"/>
                  <a:pt x="84943" y="58705"/>
                  <a:pt x="84943" y="58705"/>
                </a:cubicBezTo>
                <a:cubicBezTo>
                  <a:pt x="84269" y="59136"/>
                  <a:pt x="84269" y="59136"/>
                  <a:pt x="84269" y="59136"/>
                </a:cubicBezTo>
                <a:cubicBezTo>
                  <a:pt x="82921" y="59136"/>
                  <a:pt x="82921" y="59136"/>
                  <a:pt x="82921" y="59136"/>
                </a:cubicBezTo>
                <a:cubicBezTo>
                  <a:pt x="82921" y="59568"/>
                  <a:pt x="82921" y="59568"/>
                  <a:pt x="82921" y="59568"/>
                </a:cubicBezTo>
                <a:cubicBezTo>
                  <a:pt x="82247" y="60431"/>
                  <a:pt x="82247" y="60431"/>
                  <a:pt x="82247" y="60431"/>
                </a:cubicBezTo>
                <a:cubicBezTo>
                  <a:pt x="82247" y="60863"/>
                  <a:pt x="82247" y="60863"/>
                  <a:pt x="82247" y="60863"/>
                </a:cubicBezTo>
                <a:cubicBezTo>
                  <a:pt x="81573" y="60863"/>
                  <a:pt x="81573" y="60863"/>
                  <a:pt x="81573" y="60863"/>
                </a:cubicBezTo>
                <a:cubicBezTo>
                  <a:pt x="81573" y="61726"/>
                  <a:pt x="81573" y="61726"/>
                  <a:pt x="81573" y="61726"/>
                </a:cubicBezTo>
                <a:cubicBezTo>
                  <a:pt x="80898" y="62158"/>
                  <a:pt x="80898" y="62158"/>
                  <a:pt x="80898" y="62158"/>
                </a:cubicBezTo>
                <a:cubicBezTo>
                  <a:pt x="80898" y="62158"/>
                  <a:pt x="80224" y="62158"/>
                  <a:pt x="80224" y="62158"/>
                </a:cubicBezTo>
                <a:cubicBezTo>
                  <a:pt x="79550" y="62158"/>
                  <a:pt x="78876" y="62589"/>
                  <a:pt x="78876" y="62589"/>
                </a:cubicBezTo>
                <a:cubicBezTo>
                  <a:pt x="78876" y="62589"/>
                  <a:pt x="77528" y="62589"/>
                  <a:pt x="77528" y="62158"/>
                </a:cubicBezTo>
                <a:cubicBezTo>
                  <a:pt x="77528" y="62158"/>
                  <a:pt x="76853" y="62589"/>
                  <a:pt x="76179" y="62158"/>
                </a:cubicBezTo>
                <a:cubicBezTo>
                  <a:pt x="76179" y="62158"/>
                  <a:pt x="75505" y="61726"/>
                  <a:pt x="75505" y="61726"/>
                </a:cubicBezTo>
                <a:cubicBezTo>
                  <a:pt x="74831" y="61726"/>
                  <a:pt x="74831" y="61726"/>
                  <a:pt x="74831" y="61726"/>
                </a:cubicBezTo>
                <a:cubicBezTo>
                  <a:pt x="73483" y="61726"/>
                  <a:pt x="73483" y="61726"/>
                  <a:pt x="73483" y="61726"/>
                </a:cubicBezTo>
                <a:cubicBezTo>
                  <a:pt x="71460" y="61726"/>
                  <a:pt x="71460" y="61726"/>
                  <a:pt x="71460" y="61726"/>
                </a:cubicBezTo>
                <a:cubicBezTo>
                  <a:pt x="70112" y="61726"/>
                  <a:pt x="70112" y="61726"/>
                  <a:pt x="70112" y="61726"/>
                </a:cubicBezTo>
                <a:cubicBezTo>
                  <a:pt x="70112" y="61294"/>
                  <a:pt x="70112" y="61294"/>
                  <a:pt x="70112" y="61294"/>
                </a:cubicBezTo>
                <a:cubicBezTo>
                  <a:pt x="69438" y="61726"/>
                  <a:pt x="69438" y="61726"/>
                  <a:pt x="69438" y="61726"/>
                </a:cubicBezTo>
                <a:cubicBezTo>
                  <a:pt x="68764" y="60863"/>
                  <a:pt x="68764" y="60863"/>
                  <a:pt x="68764" y="60863"/>
                </a:cubicBezTo>
                <a:cubicBezTo>
                  <a:pt x="67415" y="60863"/>
                  <a:pt x="67415" y="60863"/>
                  <a:pt x="67415" y="60863"/>
                </a:cubicBezTo>
                <a:cubicBezTo>
                  <a:pt x="66067" y="60863"/>
                  <a:pt x="66067" y="60863"/>
                  <a:pt x="66067" y="60863"/>
                </a:cubicBezTo>
                <a:cubicBezTo>
                  <a:pt x="66067" y="60863"/>
                  <a:pt x="66067" y="61294"/>
                  <a:pt x="66741" y="61726"/>
                </a:cubicBezTo>
                <a:cubicBezTo>
                  <a:pt x="66741" y="61726"/>
                  <a:pt x="67415" y="62589"/>
                  <a:pt x="67415" y="62589"/>
                </a:cubicBezTo>
                <a:cubicBezTo>
                  <a:pt x="67415" y="62589"/>
                  <a:pt x="67415" y="63453"/>
                  <a:pt x="67415" y="63453"/>
                </a:cubicBezTo>
                <a:cubicBezTo>
                  <a:pt x="67415" y="63453"/>
                  <a:pt x="68764" y="64316"/>
                  <a:pt x="68764" y="64316"/>
                </a:cubicBezTo>
                <a:cubicBezTo>
                  <a:pt x="68764" y="64748"/>
                  <a:pt x="68764" y="64748"/>
                  <a:pt x="68764" y="64748"/>
                </a:cubicBezTo>
                <a:cubicBezTo>
                  <a:pt x="68764" y="64748"/>
                  <a:pt x="69438" y="65611"/>
                  <a:pt x="69438" y="65611"/>
                </a:cubicBezTo>
                <a:cubicBezTo>
                  <a:pt x="69438" y="65611"/>
                  <a:pt x="70786" y="66043"/>
                  <a:pt x="70786" y="66043"/>
                </a:cubicBezTo>
                <a:cubicBezTo>
                  <a:pt x="70786" y="66906"/>
                  <a:pt x="70786" y="66906"/>
                  <a:pt x="70786" y="66906"/>
                </a:cubicBezTo>
                <a:cubicBezTo>
                  <a:pt x="70112" y="67338"/>
                  <a:pt x="70112" y="67338"/>
                  <a:pt x="70112" y="67338"/>
                </a:cubicBezTo>
                <a:cubicBezTo>
                  <a:pt x="69438" y="67769"/>
                  <a:pt x="69438" y="67769"/>
                  <a:pt x="69438" y="67769"/>
                </a:cubicBezTo>
                <a:cubicBezTo>
                  <a:pt x="70112" y="68633"/>
                  <a:pt x="70112" y="68633"/>
                  <a:pt x="70112" y="68633"/>
                </a:cubicBezTo>
                <a:cubicBezTo>
                  <a:pt x="70112" y="69496"/>
                  <a:pt x="70112" y="69496"/>
                  <a:pt x="70112" y="69496"/>
                </a:cubicBezTo>
                <a:cubicBezTo>
                  <a:pt x="70786" y="69928"/>
                  <a:pt x="70786" y="69928"/>
                  <a:pt x="70786" y="69928"/>
                </a:cubicBezTo>
                <a:cubicBezTo>
                  <a:pt x="70786" y="70359"/>
                  <a:pt x="70786" y="70359"/>
                  <a:pt x="70786" y="70359"/>
                </a:cubicBezTo>
                <a:cubicBezTo>
                  <a:pt x="70112" y="70791"/>
                  <a:pt x="70112" y="70791"/>
                  <a:pt x="70112" y="70791"/>
                </a:cubicBezTo>
                <a:cubicBezTo>
                  <a:pt x="70112" y="71654"/>
                  <a:pt x="70112" y="71654"/>
                  <a:pt x="70112" y="71654"/>
                </a:cubicBezTo>
                <a:cubicBezTo>
                  <a:pt x="70786" y="72517"/>
                  <a:pt x="70786" y="72517"/>
                  <a:pt x="70786" y="72517"/>
                </a:cubicBezTo>
                <a:cubicBezTo>
                  <a:pt x="71460" y="73381"/>
                  <a:pt x="71460" y="73381"/>
                  <a:pt x="71460" y="73381"/>
                </a:cubicBezTo>
                <a:cubicBezTo>
                  <a:pt x="72808" y="73381"/>
                  <a:pt x="72808" y="73381"/>
                  <a:pt x="72808" y="73381"/>
                </a:cubicBezTo>
                <a:cubicBezTo>
                  <a:pt x="72808" y="74244"/>
                  <a:pt x="72808" y="74244"/>
                  <a:pt x="72808" y="74244"/>
                </a:cubicBezTo>
                <a:cubicBezTo>
                  <a:pt x="72134" y="74676"/>
                  <a:pt x="72134" y="74676"/>
                  <a:pt x="72134" y="74676"/>
                </a:cubicBezTo>
                <a:cubicBezTo>
                  <a:pt x="72134" y="74676"/>
                  <a:pt x="72134" y="75107"/>
                  <a:pt x="72134" y="75107"/>
                </a:cubicBezTo>
                <a:cubicBezTo>
                  <a:pt x="72808" y="75107"/>
                  <a:pt x="73483" y="75539"/>
                  <a:pt x="73483" y="75539"/>
                </a:cubicBezTo>
                <a:cubicBezTo>
                  <a:pt x="74831" y="75107"/>
                  <a:pt x="74831" y="75107"/>
                  <a:pt x="74831" y="75107"/>
                </a:cubicBezTo>
                <a:cubicBezTo>
                  <a:pt x="74831" y="75107"/>
                  <a:pt x="75505" y="75107"/>
                  <a:pt x="75505" y="75107"/>
                </a:cubicBezTo>
                <a:cubicBezTo>
                  <a:pt x="75505" y="75539"/>
                  <a:pt x="76179" y="76402"/>
                  <a:pt x="76179" y="76402"/>
                </a:cubicBezTo>
                <a:cubicBezTo>
                  <a:pt x="76853" y="76834"/>
                  <a:pt x="76853" y="76834"/>
                  <a:pt x="76853" y="76834"/>
                </a:cubicBezTo>
                <a:cubicBezTo>
                  <a:pt x="76853" y="77697"/>
                  <a:pt x="76853" y="77697"/>
                  <a:pt x="76853" y="77697"/>
                </a:cubicBezTo>
                <a:cubicBezTo>
                  <a:pt x="75505" y="78561"/>
                  <a:pt x="75505" y="78561"/>
                  <a:pt x="75505" y="78561"/>
                </a:cubicBezTo>
                <a:cubicBezTo>
                  <a:pt x="74157" y="79424"/>
                  <a:pt x="74157" y="79424"/>
                  <a:pt x="74157" y="79424"/>
                </a:cubicBezTo>
                <a:cubicBezTo>
                  <a:pt x="73483" y="79856"/>
                  <a:pt x="73483" y="79856"/>
                  <a:pt x="73483" y="79856"/>
                </a:cubicBezTo>
                <a:cubicBezTo>
                  <a:pt x="73483" y="80719"/>
                  <a:pt x="73483" y="80719"/>
                  <a:pt x="73483" y="80719"/>
                </a:cubicBezTo>
                <a:cubicBezTo>
                  <a:pt x="72808" y="81151"/>
                  <a:pt x="72808" y="81151"/>
                  <a:pt x="72808" y="81151"/>
                </a:cubicBezTo>
                <a:cubicBezTo>
                  <a:pt x="71460" y="81582"/>
                  <a:pt x="71460" y="81582"/>
                  <a:pt x="71460" y="81582"/>
                </a:cubicBezTo>
                <a:cubicBezTo>
                  <a:pt x="70112" y="82014"/>
                  <a:pt x="70112" y="82014"/>
                  <a:pt x="70112" y="82014"/>
                </a:cubicBezTo>
                <a:cubicBezTo>
                  <a:pt x="69438" y="82014"/>
                  <a:pt x="69438" y="82014"/>
                  <a:pt x="69438" y="82014"/>
                </a:cubicBezTo>
                <a:cubicBezTo>
                  <a:pt x="68764" y="82446"/>
                  <a:pt x="68764" y="82446"/>
                  <a:pt x="68764" y="82446"/>
                </a:cubicBezTo>
                <a:cubicBezTo>
                  <a:pt x="66741" y="82877"/>
                  <a:pt x="66741" y="82877"/>
                  <a:pt x="66741" y="82877"/>
                </a:cubicBezTo>
                <a:cubicBezTo>
                  <a:pt x="66067" y="82877"/>
                  <a:pt x="66067" y="82877"/>
                  <a:pt x="66067" y="82877"/>
                </a:cubicBezTo>
                <a:cubicBezTo>
                  <a:pt x="64719" y="84604"/>
                  <a:pt x="64719" y="84604"/>
                  <a:pt x="64719" y="84604"/>
                </a:cubicBezTo>
                <a:cubicBezTo>
                  <a:pt x="64719" y="84604"/>
                  <a:pt x="64719" y="85467"/>
                  <a:pt x="64719" y="85467"/>
                </a:cubicBezTo>
                <a:cubicBezTo>
                  <a:pt x="64719" y="85467"/>
                  <a:pt x="65393" y="85899"/>
                  <a:pt x="65393" y="85899"/>
                </a:cubicBezTo>
                <a:cubicBezTo>
                  <a:pt x="65393" y="85899"/>
                  <a:pt x="64044" y="86762"/>
                  <a:pt x="64044" y="86762"/>
                </a:cubicBezTo>
                <a:cubicBezTo>
                  <a:pt x="64044" y="86762"/>
                  <a:pt x="62696" y="87194"/>
                  <a:pt x="62696" y="87194"/>
                </a:cubicBezTo>
                <a:cubicBezTo>
                  <a:pt x="62022" y="88057"/>
                  <a:pt x="62022" y="88057"/>
                  <a:pt x="62022" y="88057"/>
                </a:cubicBezTo>
                <a:cubicBezTo>
                  <a:pt x="62696" y="88489"/>
                  <a:pt x="62696" y="88489"/>
                  <a:pt x="62696" y="88489"/>
                </a:cubicBezTo>
                <a:cubicBezTo>
                  <a:pt x="61348" y="88489"/>
                  <a:pt x="61348" y="88489"/>
                  <a:pt x="61348" y="88489"/>
                </a:cubicBezTo>
                <a:cubicBezTo>
                  <a:pt x="62022" y="89352"/>
                  <a:pt x="62022" y="89352"/>
                  <a:pt x="62022" y="89352"/>
                </a:cubicBezTo>
                <a:cubicBezTo>
                  <a:pt x="61348" y="89784"/>
                  <a:pt x="61348" y="89784"/>
                  <a:pt x="61348" y="89784"/>
                </a:cubicBezTo>
                <a:cubicBezTo>
                  <a:pt x="62022" y="90215"/>
                  <a:pt x="62022" y="90215"/>
                  <a:pt x="62022" y="90215"/>
                </a:cubicBezTo>
                <a:cubicBezTo>
                  <a:pt x="62022" y="90215"/>
                  <a:pt x="62696" y="91510"/>
                  <a:pt x="62696" y="91510"/>
                </a:cubicBezTo>
                <a:cubicBezTo>
                  <a:pt x="62696" y="91942"/>
                  <a:pt x="63370" y="92374"/>
                  <a:pt x="63370" y="92374"/>
                </a:cubicBezTo>
                <a:cubicBezTo>
                  <a:pt x="63370" y="92374"/>
                  <a:pt x="64044" y="92805"/>
                  <a:pt x="64044" y="92805"/>
                </a:cubicBezTo>
                <a:cubicBezTo>
                  <a:pt x="64044" y="93237"/>
                  <a:pt x="64044" y="93669"/>
                  <a:pt x="64044" y="94100"/>
                </a:cubicBezTo>
                <a:cubicBezTo>
                  <a:pt x="64044" y="94532"/>
                  <a:pt x="64719" y="95395"/>
                  <a:pt x="64719" y="95395"/>
                </a:cubicBezTo>
                <a:cubicBezTo>
                  <a:pt x="65393" y="96258"/>
                  <a:pt x="65393" y="96258"/>
                  <a:pt x="65393" y="96258"/>
                </a:cubicBezTo>
                <a:cubicBezTo>
                  <a:pt x="65393" y="96258"/>
                  <a:pt x="65393" y="96690"/>
                  <a:pt x="65393" y="96690"/>
                </a:cubicBezTo>
                <a:cubicBezTo>
                  <a:pt x="66067" y="96690"/>
                  <a:pt x="67415" y="96690"/>
                  <a:pt x="67415" y="96690"/>
                </a:cubicBezTo>
                <a:cubicBezTo>
                  <a:pt x="67415" y="96690"/>
                  <a:pt x="68764" y="96690"/>
                  <a:pt x="68764" y="96690"/>
                </a:cubicBezTo>
                <a:cubicBezTo>
                  <a:pt x="68764" y="96690"/>
                  <a:pt x="69438" y="96258"/>
                  <a:pt x="70112" y="96690"/>
                </a:cubicBezTo>
                <a:cubicBezTo>
                  <a:pt x="70112" y="96690"/>
                  <a:pt x="70112" y="97122"/>
                  <a:pt x="70112" y="97122"/>
                </a:cubicBezTo>
                <a:cubicBezTo>
                  <a:pt x="70112" y="97122"/>
                  <a:pt x="70112" y="97553"/>
                  <a:pt x="70112" y="97553"/>
                </a:cubicBezTo>
                <a:cubicBezTo>
                  <a:pt x="67415" y="99280"/>
                  <a:pt x="67415" y="99280"/>
                  <a:pt x="67415" y="99280"/>
                </a:cubicBezTo>
                <a:cubicBezTo>
                  <a:pt x="67415" y="100575"/>
                  <a:pt x="67415" y="100575"/>
                  <a:pt x="67415" y="100575"/>
                </a:cubicBezTo>
                <a:cubicBezTo>
                  <a:pt x="67415" y="100575"/>
                  <a:pt x="66741" y="100575"/>
                  <a:pt x="66741" y="100575"/>
                </a:cubicBezTo>
                <a:cubicBezTo>
                  <a:pt x="66067" y="100575"/>
                  <a:pt x="65393" y="100575"/>
                  <a:pt x="65393" y="100575"/>
                </a:cubicBezTo>
                <a:cubicBezTo>
                  <a:pt x="64044" y="99712"/>
                  <a:pt x="64044" y="99712"/>
                  <a:pt x="64044" y="99712"/>
                </a:cubicBezTo>
                <a:cubicBezTo>
                  <a:pt x="62696" y="100143"/>
                  <a:pt x="62696" y="100143"/>
                  <a:pt x="62696" y="100143"/>
                </a:cubicBezTo>
                <a:cubicBezTo>
                  <a:pt x="62696" y="100575"/>
                  <a:pt x="62696" y="100575"/>
                  <a:pt x="62696" y="100575"/>
                </a:cubicBezTo>
                <a:cubicBezTo>
                  <a:pt x="62696" y="100575"/>
                  <a:pt x="61348" y="100575"/>
                  <a:pt x="61348" y="100575"/>
                </a:cubicBezTo>
                <a:cubicBezTo>
                  <a:pt x="61348" y="100575"/>
                  <a:pt x="59325" y="100575"/>
                  <a:pt x="59325" y="100575"/>
                </a:cubicBezTo>
                <a:cubicBezTo>
                  <a:pt x="58651" y="101007"/>
                  <a:pt x="58651" y="101007"/>
                  <a:pt x="58651" y="101007"/>
                </a:cubicBezTo>
                <a:cubicBezTo>
                  <a:pt x="57977" y="102733"/>
                  <a:pt x="57977" y="102733"/>
                  <a:pt x="57977" y="102733"/>
                </a:cubicBezTo>
                <a:cubicBezTo>
                  <a:pt x="56629" y="103597"/>
                  <a:pt x="56629" y="103597"/>
                  <a:pt x="56629" y="103597"/>
                </a:cubicBezTo>
                <a:cubicBezTo>
                  <a:pt x="55280" y="104028"/>
                  <a:pt x="55280" y="104028"/>
                  <a:pt x="55280" y="104028"/>
                </a:cubicBezTo>
                <a:cubicBezTo>
                  <a:pt x="53932" y="104892"/>
                  <a:pt x="53932" y="104892"/>
                  <a:pt x="53932" y="104892"/>
                </a:cubicBezTo>
                <a:cubicBezTo>
                  <a:pt x="51910" y="105323"/>
                  <a:pt x="51910" y="105323"/>
                  <a:pt x="51910" y="105323"/>
                </a:cubicBezTo>
                <a:cubicBezTo>
                  <a:pt x="51910" y="105323"/>
                  <a:pt x="51235" y="105755"/>
                  <a:pt x="51235" y="105755"/>
                </a:cubicBezTo>
                <a:cubicBezTo>
                  <a:pt x="51235" y="106187"/>
                  <a:pt x="50561" y="107482"/>
                  <a:pt x="50561" y="107482"/>
                </a:cubicBezTo>
                <a:cubicBezTo>
                  <a:pt x="50561" y="107482"/>
                  <a:pt x="49213" y="107913"/>
                  <a:pt x="49213" y="108345"/>
                </a:cubicBezTo>
                <a:cubicBezTo>
                  <a:pt x="49213" y="108345"/>
                  <a:pt x="47865" y="108776"/>
                  <a:pt x="47865" y="108776"/>
                </a:cubicBezTo>
                <a:cubicBezTo>
                  <a:pt x="47865" y="108776"/>
                  <a:pt x="47865" y="109640"/>
                  <a:pt x="47865" y="109640"/>
                </a:cubicBezTo>
                <a:cubicBezTo>
                  <a:pt x="47865" y="109640"/>
                  <a:pt x="48539" y="110503"/>
                  <a:pt x="48539" y="110503"/>
                </a:cubicBezTo>
                <a:cubicBezTo>
                  <a:pt x="48539" y="111798"/>
                  <a:pt x="48539" y="111798"/>
                  <a:pt x="48539" y="111798"/>
                </a:cubicBezTo>
                <a:cubicBezTo>
                  <a:pt x="48539" y="112661"/>
                  <a:pt x="48539" y="112661"/>
                  <a:pt x="48539" y="112661"/>
                </a:cubicBezTo>
                <a:cubicBezTo>
                  <a:pt x="49213" y="113525"/>
                  <a:pt x="49213" y="113525"/>
                  <a:pt x="49213" y="113525"/>
                </a:cubicBezTo>
                <a:cubicBezTo>
                  <a:pt x="48539" y="114388"/>
                  <a:pt x="48539" y="114388"/>
                  <a:pt x="48539" y="114388"/>
                </a:cubicBezTo>
                <a:cubicBezTo>
                  <a:pt x="47865" y="115683"/>
                  <a:pt x="47865" y="115683"/>
                  <a:pt x="47865" y="115683"/>
                </a:cubicBezTo>
                <a:cubicBezTo>
                  <a:pt x="47865" y="116115"/>
                  <a:pt x="47865" y="116115"/>
                  <a:pt x="47865" y="116115"/>
                </a:cubicBezTo>
                <a:cubicBezTo>
                  <a:pt x="47865" y="116978"/>
                  <a:pt x="47865" y="116978"/>
                  <a:pt x="47865" y="116978"/>
                </a:cubicBezTo>
                <a:cubicBezTo>
                  <a:pt x="47865" y="118705"/>
                  <a:pt x="47865" y="118705"/>
                  <a:pt x="47865" y="118705"/>
                </a:cubicBezTo>
                <a:cubicBezTo>
                  <a:pt x="45842" y="118273"/>
                  <a:pt x="45842" y="118273"/>
                  <a:pt x="45842" y="118273"/>
                </a:cubicBezTo>
                <a:cubicBezTo>
                  <a:pt x="43820" y="118273"/>
                  <a:pt x="43820" y="118273"/>
                  <a:pt x="43820" y="118273"/>
                </a:cubicBezTo>
                <a:cubicBezTo>
                  <a:pt x="41797" y="118705"/>
                  <a:pt x="41797" y="118705"/>
                  <a:pt x="41797" y="118705"/>
                </a:cubicBezTo>
                <a:cubicBezTo>
                  <a:pt x="39101" y="119568"/>
                  <a:pt x="39101" y="119568"/>
                  <a:pt x="39101" y="119568"/>
                </a:cubicBezTo>
                <a:cubicBezTo>
                  <a:pt x="35056" y="120000"/>
                  <a:pt x="35056" y="120000"/>
                  <a:pt x="35056" y="120000"/>
                </a:cubicBezTo>
                <a:cubicBezTo>
                  <a:pt x="31685" y="120000"/>
                  <a:pt x="31685" y="120000"/>
                  <a:pt x="31685" y="120000"/>
                </a:cubicBezTo>
                <a:cubicBezTo>
                  <a:pt x="29662" y="119568"/>
                  <a:pt x="29662" y="119568"/>
                  <a:pt x="29662" y="119568"/>
                </a:cubicBezTo>
                <a:cubicBezTo>
                  <a:pt x="28314" y="119136"/>
                  <a:pt x="28314" y="119136"/>
                  <a:pt x="28314" y="119136"/>
                </a:cubicBezTo>
                <a:cubicBezTo>
                  <a:pt x="26966" y="118273"/>
                  <a:pt x="26966" y="118273"/>
                  <a:pt x="26966" y="118273"/>
                </a:cubicBezTo>
                <a:cubicBezTo>
                  <a:pt x="24943" y="116978"/>
                  <a:pt x="24943" y="116978"/>
                  <a:pt x="24943" y="116978"/>
                </a:cubicBezTo>
                <a:cubicBezTo>
                  <a:pt x="22921" y="116978"/>
                  <a:pt x="22921" y="116978"/>
                  <a:pt x="22921" y="116978"/>
                </a:cubicBezTo>
                <a:cubicBezTo>
                  <a:pt x="21573" y="116546"/>
                  <a:pt x="21573" y="116546"/>
                  <a:pt x="21573" y="116546"/>
                </a:cubicBezTo>
                <a:cubicBezTo>
                  <a:pt x="20224" y="116115"/>
                  <a:pt x="20224" y="116115"/>
                  <a:pt x="20224" y="116115"/>
                </a:cubicBezTo>
                <a:cubicBezTo>
                  <a:pt x="18876" y="115683"/>
                  <a:pt x="18876" y="115683"/>
                  <a:pt x="18876" y="115683"/>
                </a:cubicBezTo>
                <a:cubicBezTo>
                  <a:pt x="17528" y="115683"/>
                  <a:pt x="17528" y="115683"/>
                  <a:pt x="17528" y="115683"/>
                </a:cubicBezTo>
                <a:cubicBezTo>
                  <a:pt x="14831" y="114820"/>
                  <a:pt x="14831" y="114820"/>
                  <a:pt x="14831" y="114820"/>
                </a:cubicBezTo>
                <a:cubicBezTo>
                  <a:pt x="12134" y="113956"/>
                  <a:pt x="12134" y="113956"/>
                  <a:pt x="12134" y="113956"/>
                </a:cubicBezTo>
                <a:cubicBezTo>
                  <a:pt x="10786" y="114388"/>
                  <a:pt x="10786" y="114388"/>
                  <a:pt x="10786" y="114388"/>
                </a:cubicBezTo>
                <a:cubicBezTo>
                  <a:pt x="10786" y="114820"/>
                  <a:pt x="10786" y="114820"/>
                  <a:pt x="10786" y="114820"/>
                </a:cubicBezTo>
                <a:cubicBezTo>
                  <a:pt x="8764" y="114388"/>
                  <a:pt x="8764" y="114388"/>
                  <a:pt x="8764" y="114388"/>
                </a:cubicBezTo>
                <a:cubicBezTo>
                  <a:pt x="7415" y="114388"/>
                  <a:pt x="7415" y="114388"/>
                  <a:pt x="7415" y="114388"/>
                </a:cubicBezTo>
                <a:cubicBezTo>
                  <a:pt x="6067" y="114388"/>
                  <a:pt x="6067" y="114388"/>
                  <a:pt x="6067" y="114388"/>
                </a:cubicBezTo>
                <a:cubicBezTo>
                  <a:pt x="3370" y="114820"/>
                  <a:pt x="3370" y="114820"/>
                  <a:pt x="3370" y="114820"/>
                </a:cubicBezTo>
                <a:cubicBezTo>
                  <a:pt x="1348" y="115251"/>
                  <a:pt x="1348" y="115251"/>
                  <a:pt x="1348" y="115251"/>
                </a:cubicBezTo>
                <a:cubicBezTo>
                  <a:pt x="0" y="114820"/>
                  <a:pt x="0" y="114820"/>
                  <a:pt x="0" y="114820"/>
                </a:cubicBezTo>
                <a:cubicBezTo>
                  <a:pt x="1348" y="113956"/>
                  <a:pt x="1348" y="113956"/>
                  <a:pt x="1348" y="113956"/>
                </a:cubicBezTo>
                <a:cubicBezTo>
                  <a:pt x="2696" y="112661"/>
                  <a:pt x="2696" y="112661"/>
                  <a:pt x="2696" y="112661"/>
                </a:cubicBezTo>
                <a:cubicBezTo>
                  <a:pt x="4044" y="112230"/>
                  <a:pt x="4044" y="112230"/>
                  <a:pt x="4044" y="112230"/>
                </a:cubicBezTo>
                <a:cubicBezTo>
                  <a:pt x="4719" y="110935"/>
                  <a:pt x="4719" y="110935"/>
                  <a:pt x="4719" y="110935"/>
                </a:cubicBezTo>
                <a:cubicBezTo>
                  <a:pt x="6741" y="110071"/>
                  <a:pt x="6741" y="110071"/>
                  <a:pt x="6741" y="110071"/>
                </a:cubicBezTo>
                <a:cubicBezTo>
                  <a:pt x="6741" y="108776"/>
                  <a:pt x="6741" y="108776"/>
                  <a:pt x="6741" y="108776"/>
                </a:cubicBezTo>
                <a:cubicBezTo>
                  <a:pt x="8089" y="107050"/>
                  <a:pt x="8089" y="107050"/>
                  <a:pt x="8089" y="107050"/>
                </a:cubicBezTo>
                <a:cubicBezTo>
                  <a:pt x="8089" y="107050"/>
                  <a:pt x="9438" y="107050"/>
                  <a:pt x="9438" y="106618"/>
                </a:cubicBezTo>
                <a:cubicBezTo>
                  <a:pt x="10112" y="105755"/>
                  <a:pt x="10112" y="105323"/>
                  <a:pt x="10786" y="104892"/>
                </a:cubicBezTo>
                <a:cubicBezTo>
                  <a:pt x="10786" y="104460"/>
                  <a:pt x="11460" y="104460"/>
                  <a:pt x="11460" y="104028"/>
                </a:cubicBezTo>
                <a:cubicBezTo>
                  <a:pt x="11460" y="103597"/>
                  <a:pt x="10786" y="102302"/>
                  <a:pt x="10786" y="102302"/>
                </a:cubicBezTo>
                <a:cubicBezTo>
                  <a:pt x="10786" y="102302"/>
                  <a:pt x="12134" y="100575"/>
                  <a:pt x="12134" y="100575"/>
                </a:cubicBezTo>
                <a:cubicBezTo>
                  <a:pt x="12808" y="100143"/>
                  <a:pt x="12808" y="98417"/>
                  <a:pt x="12808" y="98417"/>
                </a:cubicBezTo>
                <a:cubicBezTo>
                  <a:pt x="12808" y="98417"/>
                  <a:pt x="13483" y="97553"/>
                  <a:pt x="14157" y="97122"/>
                </a:cubicBezTo>
                <a:cubicBezTo>
                  <a:pt x="14157" y="96690"/>
                  <a:pt x="14157" y="95395"/>
                  <a:pt x="14157" y="95395"/>
                </a:cubicBezTo>
                <a:cubicBezTo>
                  <a:pt x="12808" y="94100"/>
                  <a:pt x="12808" y="94100"/>
                  <a:pt x="12808" y="94100"/>
                </a:cubicBezTo>
                <a:cubicBezTo>
                  <a:pt x="14157" y="92374"/>
                  <a:pt x="14157" y="92374"/>
                  <a:pt x="14157" y="92374"/>
                </a:cubicBezTo>
                <a:cubicBezTo>
                  <a:pt x="16179" y="90215"/>
                  <a:pt x="16179" y="90215"/>
                  <a:pt x="16179" y="90215"/>
                </a:cubicBezTo>
                <a:cubicBezTo>
                  <a:pt x="18202" y="88057"/>
                  <a:pt x="18202" y="88057"/>
                  <a:pt x="18202" y="88057"/>
                </a:cubicBezTo>
                <a:cubicBezTo>
                  <a:pt x="18876" y="85899"/>
                  <a:pt x="18876" y="85899"/>
                  <a:pt x="18876" y="85899"/>
                </a:cubicBezTo>
                <a:cubicBezTo>
                  <a:pt x="18876" y="85899"/>
                  <a:pt x="18876" y="85035"/>
                  <a:pt x="18876" y="84604"/>
                </a:cubicBezTo>
                <a:cubicBezTo>
                  <a:pt x="18876" y="84604"/>
                  <a:pt x="18876" y="83741"/>
                  <a:pt x="18876" y="83741"/>
                </a:cubicBezTo>
                <a:cubicBezTo>
                  <a:pt x="18876" y="83741"/>
                  <a:pt x="18876" y="82877"/>
                  <a:pt x="18876" y="82877"/>
                </a:cubicBezTo>
                <a:cubicBezTo>
                  <a:pt x="18876" y="82877"/>
                  <a:pt x="18202" y="82014"/>
                  <a:pt x="18202" y="82014"/>
                </a:cubicBezTo>
                <a:cubicBezTo>
                  <a:pt x="17528" y="80719"/>
                  <a:pt x="17528" y="80719"/>
                  <a:pt x="17528" y="80719"/>
                </a:cubicBezTo>
                <a:cubicBezTo>
                  <a:pt x="16853" y="81151"/>
                  <a:pt x="16853" y="81151"/>
                  <a:pt x="16853" y="81151"/>
                </a:cubicBezTo>
                <a:cubicBezTo>
                  <a:pt x="16853" y="81151"/>
                  <a:pt x="16179" y="81582"/>
                  <a:pt x="15505" y="81151"/>
                </a:cubicBezTo>
                <a:cubicBezTo>
                  <a:pt x="15505" y="81151"/>
                  <a:pt x="12808" y="81151"/>
                  <a:pt x="12808" y="81151"/>
                </a:cubicBezTo>
                <a:cubicBezTo>
                  <a:pt x="11460" y="81582"/>
                  <a:pt x="11460" y="81582"/>
                  <a:pt x="11460" y="81582"/>
                </a:cubicBezTo>
                <a:cubicBezTo>
                  <a:pt x="9438" y="81151"/>
                  <a:pt x="9438" y="81151"/>
                  <a:pt x="9438" y="81151"/>
                </a:cubicBezTo>
                <a:cubicBezTo>
                  <a:pt x="9438" y="81151"/>
                  <a:pt x="8764" y="81582"/>
                  <a:pt x="8089" y="81582"/>
                </a:cubicBezTo>
                <a:cubicBezTo>
                  <a:pt x="8089" y="81582"/>
                  <a:pt x="7415" y="81582"/>
                  <a:pt x="7415" y="81151"/>
                </a:cubicBezTo>
                <a:cubicBezTo>
                  <a:pt x="7415" y="81151"/>
                  <a:pt x="9438" y="79856"/>
                  <a:pt x="9438" y="79856"/>
                </a:cubicBezTo>
                <a:cubicBezTo>
                  <a:pt x="9438" y="79856"/>
                  <a:pt x="9438" y="79856"/>
                  <a:pt x="9438" y="79424"/>
                </a:cubicBezTo>
                <a:cubicBezTo>
                  <a:pt x="9438" y="78992"/>
                  <a:pt x="9438" y="78129"/>
                  <a:pt x="9438" y="78129"/>
                </a:cubicBezTo>
                <a:cubicBezTo>
                  <a:pt x="9438" y="77697"/>
                  <a:pt x="8764" y="76402"/>
                  <a:pt x="8764" y="76402"/>
                </a:cubicBezTo>
                <a:cubicBezTo>
                  <a:pt x="8764" y="76402"/>
                  <a:pt x="8089" y="75971"/>
                  <a:pt x="8764" y="75539"/>
                </a:cubicBezTo>
                <a:cubicBezTo>
                  <a:pt x="8764" y="75107"/>
                  <a:pt x="9438" y="75107"/>
                  <a:pt x="9438" y="75107"/>
                </a:cubicBezTo>
                <a:cubicBezTo>
                  <a:pt x="8089" y="74676"/>
                  <a:pt x="8089" y="74676"/>
                  <a:pt x="8089" y="74676"/>
                </a:cubicBezTo>
                <a:cubicBezTo>
                  <a:pt x="8089" y="74676"/>
                  <a:pt x="8089" y="74676"/>
                  <a:pt x="7415" y="74676"/>
                </a:cubicBezTo>
                <a:cubicBezTo>
                  <a:pt x="6741" y="75107"/>
                  <a:pt x="6067" y="75107"/>
                  <a:pt x="6067" y="75107"/>
                </a:cubicBezTo>
                <a:cubicBezTo>
                  <a:pt x="5393" y="74244"/>
                  <a:pt x="5393" y="74244"/>
                  <a:pt x="5393" y="74244"/>
                </a:cubicBezTo>
                <a:cubicBezTo>
                  <a:pt x="5393" y="74244"/>
                  <a:pt x="4719" y="74676"/>
                  <a:pt x="4719" y="74244"/>
                </a:cubicBezTo>
                <a:cubicBezTo>
                  <a:pt x="4044" y="74244"/>
                  <a:pt x="2696" y="73812"/>
                  <a:pt x="2696" y="73812"/>
                </a:cubicBezTo>
                <a:cubicBezTo>
                  <a:pt x="2696" y="73812"/>
                  <a:pt x="2696" y="72949"/>
                  <a:pt x="2696" y="72949"/>
                </a:cubicBezTo>
                <a:cubicBezTo>
                  <a:pt x="3370" y="72517"/>
                  <a:pt x="3370" y="72517"/>
                  <a:pt x="3370" y="72086"/>
                </a:cubicBezTo>
                <a:cubicBezTo>
                  <a:pt x="3370" y="71654"/>
                  <a:pt x="3370" y="71223"/>
                  <a:pt x="4044" y="70791"/>
                </a:cubicBezTo>
                <a:cubicBezTo>
                  <a:pt x="4044" y="70359"/>
                  <a:pt x="4719" y="69928"/>
                  <a:pt x="5393" y="69928"/>
                </a:cubicBezTo>
                <a:cubicBezTo>
                  <a:pt x="6067" y="69496"/>
                  <a:pt x="6067" y="69496"/>
                  <a:pt x="6067" y="69496"/>
                </a:cubicBezTo>
                <a:cubicBezTo>
                  <a:pt x="7415" y="67769"/>
                  <a:pt x="7415" y="67769"/>
                  <a:pt x="7415" y="67769"/>
                </a:cubicBezTo>
                <a:cubicBezTo>
                  <a:pt x="7415" y="67769"/>
                  <a:pt x="7415" y="66906"/>
                  <a:pt x="7415" y="66906"/>
                </a:cubicBezTo>
                <a:cubicBezTo>
                  <a:pt x="7415" y="66906"/>
                  <a:pt x="8089" y="66043"/>
                  <a:pt x="8089" y="65611"/>
                </a:cubicBezTo>
                <a:cubicBezTo>
                  <a:pt x="8089" y="65611"/>
                  <a:pt x="8764" y="64748"/>
                  <a:pt x="8764" y="64748"/>
                </a:cubicBezTo>
                <a:cubicBezTo>
                  <a:pt x="8764" y="64748"/>
                  <a:pt x="9438" y="64316"/>
                  <a:pt x="9438" y="63884"/>
                </a:cubicBezTo>
                <a:cubicBezTo>
                  <a:pt x="10112" y="63884"/>
                  <a:pt x="11460" y="63021"/>
                  <a:pt x="11460" y="63021"/>
                </a:cubicBezTo>
                <a:cubicBezTo>
                  <a:pt x="11460" y="63021"/>
                  <a:pt x="12134" y="61726"/>
                  <a:pt x="12134" y="61726"/>
                </a:cubicBezTo>
                <a:cubicBezTo>
                  <a:pt x="12134" y="61726"/>
                  <a:pt x="12808" y="60431"/>
                  <a:pt x="12808" y="60431"/>
                </a:cubicBezTo>
                <a:cubicBezTo>
                  <a:pt x="12134" y="59568"/>
                  <a:pt x="12134" y="59568"/>
                  <a:pt x="12134" y="59568"/>
                </a:cubicBezTo>
                <a:cubicBezTo>
                  <a:pt x="11460" y="59136"/>
                  <a:pt x="11460" y="59136"/>
                  <a:pt x="11460" y="59136"/>
                </a:cubicBezTo>
                <a:cubicBezTo>
                  <a:pt x="12808" y="58705"/>
                  <a:pt x="12808" y="58705"/>
                  <a:pt x="12808" y="58705"/>
                </a:cubicBezTo>
                <a:cubicBezTo>
                  <a:pt x="12808" y="58705"/>
                  <a:pt x="12808" y="58705"/>
                  <a:pt x="13483" y="58705"/>
                </a:cubicBezTo>
                <a:cubicBezTo>
                  <a:pt x="14157" y="58705"/>
                  <a:pt x="14831" y="58273"/>
                  <a:pt x="14831" y="58273"/>
                </a:cubicBezTo>
                <a:cubicBezTo>
                  <a:pt x="15505" y="58273"/>
                  <a:pt x="16853" y="57841"/>
                  <a:pt x="16853" y="57841"/>
                </a:cubicBezTo>
                <a:cubicBezTo>
                  <a:pt x="16853" y="57410"/>
                  <a:pt x="17528" y="57410"/>
                  <a:pt x="17528" y="57410"/>
                </a:cubicBezTo>
                <a:cubicBezTo>
                  <a:pt x="18202" y="57410"/>
                  <a:pt x="19550" y="56978"/>
                  <a:pt x="19550" y="56978"/>
                </a:cubicBezTo>
                <a:cubicBezTo>
                  <a:pt x="19550" y="56978"/>
                  <a:pt x="20224" y="56546"/>
                  <a:pt x="20224" y="56546"/>
                </a:cubicBezTo>
                <a:cubicBezTo>
                  <a:pt x="20224" y="56115"/>
                  <a:pt x="20224" y="56115"/>
                  <a:pt x="20224" y="56115"/>
                </a:cubicBezTo>
                <a:cubicBezTo>
                  <a:pt x="21573" y="55683"/>
                  <a:pt x="21573" y="55683"/>
                  <a:pt x="21573" y="55683"/>
                </a:cubicBezTo>
                <a:cubicBezTo>
                  <a:pt x="21573" y="55683"/>
                  <a:pt x="22247" y="55251"/>
                  <a:pt x="22247" y="54820"/>
                </a:cubicBezTo>
                <a:cubicBezTo>
                  <a:pt x="22247" y="54820"/>
                  <a:pt x="22921" y="53956"/>
                  <a:pt x="22921" y="53956"/>
                </a:cubicBezTo>
                <a:cubicBezTo>
                  <a:pt x="22921" y="53525"/>
                  <a:pt x="24943" y="52230"/>
                  <a:pt x="24943" y="52230"/>
                </a:cubicBezTo>
                <a:cubicBezTo>
                  <a:pt x="27640" y="49208"/>
                  <a:pt x="27640" y="49208"/>
                  <a:pt x="27640" y="49208"/>
                </a:cubicBezTo>
                <a:cubicBezTo>
                  <a:pt x="33707" y="43165"/>
                  <a:pt x="33707" y="43165"/>
                  <a:pt x="33707" y="43165"/>
                </a:cubicBezTo>
                <a:cubicBezTo>
                  <a:pt x="33033" y="42302"/>
                  <a:pt x="33033" y="42302"/>
                  <a:pt x="33033" y="42302"/>
                </a:cubicBezTo>
                <a:cubicBezTo>
                  <a:pt x="35056" y="40143"/>
                  <a:pt x="35056" y="40143"/>
                  <a:pt x="35056" y="40143"/>
                </a:cubicBezTo>
                <a:cubicBezTo>
                  <a:pt x="38426" y="36690"/>
                  <a:pt x="38426" y="36690"/>
                  <a:pt x="38426" y="36690"/>
                </a:cubicBezTo>
                <a:cubicBezTo>
                  <a:pt x="41797" y="31942"/>
                  <a:pt x="41797" y="31942"/>
                  <a:pt x="41797" y="31942"/>
                </a:cubicBezTo>
                <a:cubicBezTo>
                  <a:pt x="43820" y="29352"/>
                  <a:pt x="43820" y="29352"/>
                  <a:pt x="43820" y="29352"/>
                </a:cubicBezTo>
                <a:cubicBezTo>
                  <a:pt x="46516" y="26330"/>
                  <a:pt x="46516" y="26330"/>
                  <a:pt x="46516" y="26330"/>
                </a:cubicBezTo>
                <a:cubicBezTo>
                  <a:pt x="47865" y="23741"/>
                  <a:pt x="47865" y="23741"/>
                  <a:pt x="47865" y="23741"/>
                </a:cubicBezTo>
                <a:cubicBezTo>
                  <a:pt x="47865" y="20719"/>
                  <a:pt x="47865" y="20719"/>
                  <a:pt x="47865" y="20719"/>
                </a:cubicBezTo>
                <a:cubicBezTo>
                  <a:pt x="47865" y="18561"/>
                  <a:pt x="47865" y="18561"/>
                  <a:pt x="47865" y="18561"/>
                </a:cubicBezTo>
                <a:cubicBezTo>
                  <a:pt x="47865" y="16834"/>
                  <a:pt x="47865" y="16834"/>
                  <a:pt x="47865" y="16834"/>
                </a:cubicBezTo>
                <a:cubicBezTo>
                  <a:pt x="47865" y="15971"/>
                  <a:pt x="47865" y="15971"/>
                  <a:pt x="47865" y="15971"/>
                </a:cubicBezTo>
                <a:cubicBezTo>
                  <a:pt x="47865" y="15107"/>
                  <a:pt x="47865" y="15107"/>
                  <a:pt x="47865" y="15107"/>
                </a:cubicBezTo>
                <a:cubicBezTo>
                  <a:pt x="47191" y="13812"/>
                  <a:pt x="47191" y="13812"/>
                  <a:pt x="47191" y="13812"/>
                </a:cubicBezTo>
                <a:cubicBezTo>
                  <a:pt x="48539" y="12949"/>
                  <a:pt x="48539" y="12949"/>
                  <a:pt x="48539" y="12949"/>
                </a:cubicBezTo>
                <a:cubicBezTo>
                  <a:pt x="48539" y="12086"/>
                  <a:pt x="48539" y="12086"/>
                  <a:pt x="48539" y="12086"/>
                </a:cubicBezTo>
                <a:cubicBezTo>
                  <a:pt x="48539" y="11223"/>
                  <a:pt x="48539" y="11223"/>
                  <a:pt x="48539" y="11223"/>
                </a:cubicBezTo>
                <a:cubicBezTo>
                  <a:pt x="48539" y="10359"/>
                  <a:pt x="48539" y="10359"/>
                  <a:pt x="48539" y="10359"/>
                </a:cubicBezTo>
                <a:cubicBezTo>
                  <a:pt x="49213" y="9496"/>
                  <a:pt x="49213" y="9496"/>
                  <a:pt x="49213" y="9496"/>
                </a:cubicBezTo>
                <a:cubicBezTo>
                  <a:pt x="48539" y="8201"/>
                  <a:pt x="48539" y="8201"/>
                  <a:pt x="48539" y="8201"/>
                </a:cubicBezTo>
                <a:cubicBezTo>
                  <a:pt x="49213" y="7338"/>
                  <a:pt x="49213" y="7338"/>
                  <a:pt x="49213" y="7338"/>
                </a:cubicBezTo>
                <a:cubicBezTo>
                  <a:pt x="48539" y="6906"/>
                  <a:pt x="48539" y="6906"/>
                  <a:pt x="48539" y="6906"/>
                </a:cubicBezTo>
                <a:cubicBezTo>
                  <a:pt x="49213" y="5611"/>
                  <a:pt x="49213" y="5611"/>
                  <a:pt x="49213" y="5611"/>
                </a:cubicBezTo>
                <a:cubicBezTo>
                  <a:pt x="49213" y="4748"/>
                  <a:pt x="49213" y="4748"/>
                  <a:pt x="49213" y="4748"/>
                </a:cubicBezTo>
                <a:lnTo>
                  <a:pt x="49887" y="3884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3043;p256">
            <a:extLst>
              <a:ext uri="{FF2B5EF4-FFF2-40B4-BE49-F238E27FC236}">
                <a16:creationId xmlns:a16="http://schemas.microsoft.com/office/drawing/2014/main" id="{FE067272-271A-4153-6351-85223C9C4C96}"/>
              </a:ext>
            </a:extLst>
          </p:cNvPr>
          <p:cNvSpPr/>
          <p:nvPr/>
        </p:nvSpPr>
        <p:spPr>
          <a:xfrm>
            <a:off x="8121708" y="2863006"/>
            <a:ext cx="1142632" cy="146696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5769" y="94430"/>
                </a:moveTo>
                <a:cubicBezTo>
                  <a:pt x="105769" y="94430"/>
                  <a:pt x="105769" y="94430"/>
                  <a:pt x="105769" y="94430"/>
                </a:cubicBezTo>
                <a:cubicBezTo>
                  <a:pt x="105769" y="95302"/>
                  <a:pt x="105769" y="95302"/>
                  <a:pt x="105769" y="95302"/>
                </a:cubicBezTo>
                <a:cubicBezTo>
                  <a:pt x="106153" y="96755"/>
                  <a:pt x="106153" y="96755"/>
                  <a:pt x="106153" y="96755"/>
                </a:cubicBezTo>
                <a:cubicBezTo>
                  <a:pt x="106153" y="97627"/>
                  <a:pt x="106153" y="97627"/>
                  <a:pt x="106153" y="97627"/>
                </a:cubicBezTo>
                <a:cubicBezTo>
                  <a:pt x="106153" y="97627"/>
                  <a:pt x="105769" y="98208"/>
                  <a:pt x="105384" y="98208"/>
                </a:cubicBezTo>
                <a:cubicBezTo>
                  <a:pt x="105384" y="98208"/>
                  <a:pt x="105000" y="98498"/>
                  <a:pt x="104615" y="98498"/>
                </a:cubicBezTo>
                <a:cubicBezTo>
                  <a:pt x="104230" y="98208"/>
                  <a:pt x="103846" y="97917"/>
                  <a:pt x="103846" y="97917"/>
                </a:cubicBezTo>
                <a:cubicBezTo>
                  <a:pt x="101538" y="97917"/>
                  <a:pt x="101538" y="97917"/>
                  <a:pt x="101538" y="97917"/>
                </a:cubicBezTo>
                <a:cubicBezTo>
                  <a:pt x="101538" y="97917"/>
                  <a:pt x="101538" y="98498"/>
                  <a:pt x="101538" y="98789"/>
                </a:cubicBezTo>
                <a:cubicBezTo>
                  <a:pt x="101153" y="99370"/>
                  <a:pt x="101153" y="99370"/>
                  <a:pt x="101153" y="99370"/>
                </a:cubicBezTo>
                <a:cubicBezTo>
                  <a:pt x="101153" y="100823"/>
                  <a:pt x="101153" y="100823"/>
                  <a:pt x="101153" y="100823"/>
                </a:cubicBezTo>
                <a:cubicBezTo>
                  <a:pt x="99230" y="102276"/>
                  <a:pt x="99230" y="102276"/>
                  <a:pt x="99230" y="102276"/>
                </a:cubicBezTo>
                <a:cubicBezTo>
                  <a:pt x="98846" y="102276"/>
                  <a:pt x="98846" y="102276"/>
                  <a:pt x="98846" y="102276"/>
                </a:cubicBezTo>
                <a:cubicBezTo>
                  <a:pt x="98846" y="102276"/>
                  <a:pt x="98461" y="102566"/>
                  <a:pt x="98461" y="102566"/>
                </a:cubicBezTo>
                <a:cubicBezTo>
                  <a:pt x="98461" y="102566"/>
                  <a:pt x="96538" y="103147"/>
                  <a:pt x="96538" y="103147"/>
                </a:cubicBezTo>
                <a:cubicBezTo>
                  <a:pt x="95769" y="103728"/>
                  <a:pt x="95769" y="103728"/>
                  <a:pt x="95769" y="103728"/>
                </a:cubicBezTo>
                <a:cubicBezTo>
                  <a:pt x="95384" y="103728"/>
                  <a:pt x="95384" y="103728"/>
                  <a:pt x="95384" y="103728"/>
                </a:cubicBezTo>
                <a:cubicBezTo>
                  <a:pt x="95384" y="103728"/>
                  <a:pt x="94230" y="104309"/>
                  <a:pt x="93461" y="104891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2307" y="105472"/>
                  <a:pt x="92307" y="105472"/>
                  <a:pt x="92307" y="105472"/>
                </a:cubicBezTo>
                <a:cubicBezTo>
                  <a:pt x="93076" y="106924"/>
                  <a:pt x="93076" y="106924"/>
                  <a:pt x="93076" y="106924"/>
                </a:cubicBezTo>
                <a:cubicBezTo>
                  <a:pt x="94230" y="107796"/>
                  <a:pt x="94230" y="107796"/>
                  <a:pt x="94230" y="107796"/>
                </a:cubicBezTo>
                <a:cubicBezTo>
                  <a:pt x="95384" y="109249"/>
                  <a:pt x="95384" y="109249"/>
                  <a:pt x="95384" y="109249"/>
                </a:cubicBezTo>
                <a:cubicBezTo>
                  <a:pt x="95384" y="110121"/>
                  <a:pt x="95384" y="110121"/>
                  <a:pt x="95384" y="110121"/>
                </a:cubicBezTo>
                <a:cubicBezTo>
                  <a:pt x="95384" y="110121"/>
                  <a:pt x="94615" y="110702"/>
                  <a:pt x="94615" y="110702"/>
                </a:cubicBezTo>
                <a:cubicBezTo>
                  <a:pt x="94615" y="110992"/>
                  <a:pt x="94230" y="111573"/>
                  <a:pt x="94615" y="111573"/>
                </a:cubicBezTo>
                <a:cubicBezTo>
                  <a:pt x="95000" y="111573"/>
                  <a:pt x="96538" y="111864"/>
                  <a:pt x="96538" y="111864"/>
                </a:cubicBezTo>
                <a:cubicBezTo>
                  <a:pt x="96538" y="111864"/>
                  <a:pt x="96923" y="111864"/>
                  <a:pt x="96923" y="111864"/>
                </a:cubicBezTo>
                <a:cubicBezTo>
                  <a:pt x="97307" y="111864"/>
                  <a:pt x="97307" y="112154"/>
                  <a:pt x="97307" y="112154"/>
                </a:cubicBezTo>
                <a:cubicBezTo>
                  <a:pt x="97307" y="113317"/>
                  <a:pt x="97307" y="113317"/>
                  <a:pt x="97307" y="113317"/>
                </a:cubicBezTo>
                <a:cubicBezTo>
                  <a:pt x="97307" y="113317"/>
                  <a:pt x="97307" y="113607"/>
                  <a:pt x="97307" y="114769"/>
                </a:cubicBezTo>
                <a:cubicBezTo>
                  <a:pt x="97307" y="115932"/>
                  <a:pt x="96923" y="115641"/>
                  <a:pt x="96923" y="115641"/>
                </a:cubicBezTo>
                <a:cubicBezTo>
                  <a:pt x="96923" y="115641"/>
                  <a:pt x="95000" y="115060"/>
                  <a:pt x="95000" y="115060"/>
                </a:cubicBezTo>
                <a:cubicBezTo>
                  <a:pt x="95000" y="115060"/>
                  <a:pt x="94230" y="114479"/>
                  <a:pt x="94230" y="114479"/>
                </a:cubicBezTo>
                <a:cubicBezTo>
                  <a:pt x="93846" y="114188"/>
                  <a:pt x="93846" y="113898"/>
                  <a:pt x="93846" y="113607"/>
                </a:cubicBezTo>
                <a:cubicBezTo>
                  <a:pt x="93846" y="113317"/>
                  <a:pt x="94230" y="112736"/>
                  <a:pt x="94230" y="112736"/>
                </a:cubicBezTo>
                <a:cubicBezTo>
                  <a:pt x="94230" y="112736"/>
                  <a:pt x="92692" y="112445"/>
                  <a:pt x="92692" y="112445"/>
                </a:cubicBezTo>
                <a:cubicBezTo>
                  <a:pt x="92692" y="112445"/>
                  <a:pt x="91538" y="112445"/>
                  <a:pt x="91153" y="112445"/>
                </a:cubicBezTo>
                <a:cubicBezTo>
                  <a:pt x="90769" y="112445"/>
                  <a:pt x="90384" y="113026"/>
                  <a:pt x="90384" y="113026"/>
                </a:cubicBezTo>
                <a:cubicBezTo>
                  <a:pt x="90000" y="113317"/>
                  <a:pt x="89615" y="113026"/>
                  <a:pt x="89230" y="113026"/>
                </a:cubicBezTo>
                <a:cubicBezTo>
                  <a:pt x="89230" y="113026"/>
                  <a:pt x="88846" y="112445"/>
                  <a:pt x="88846" y="112445"/>
                </a:cubicBezTo>
                <a:cubicBezTo>
                  <a:pt x="88461" y="112445"/>
                  <a:pt x="86923" y="112154"/>
                  <a:pt x="86538" y="112154"/>
                </a:cubicBezTo>
                <a:cubicBezTo>
                  <a:pt x="86538" y="112154"/>
                  <a:pt x="85769" y="112154"/>
                  <a:pt x="85000" y="112154"/>
                </a:cubicBezTo>
                <a:cubicBezTo>
                  <a:pt x="84615" y="112445"/>
                  <a:pt x="85000" y="112445"/>
                  <a:pt x="85384" y="113317"/>
                </a:cubicBezTo>
                <a:cubicBezTo>
                  <a:pt x="85384" y="114188"/>
                  <a:pt x="85000" y="113607"/>
                  <a:pt x="84615" y="113607"/>
                </a:cubicBezTo>
                <a:cubicBezTo>
                  <a:pt x="84230" y="113607"/>
                  <a:pt x="84230" y="113607"/>
                  <a:pt x="83461" y="113607"/>
                </a:cubicBezTo>
                <a:cubicBezTo>
                  <a:pt x="82692" y="113607"/>
                  <a:pt x="82307" y="113607"/>
                  <a:pt x="81538" y="113607"/>
                </a:cubicBezTo>
                <a:cubicBezTo>
                  <a:pt x="81153" y="113898"/>
                  <a:pt x="81153" y="113898"/>
                  <a:pt x="81153" y="114188"/>
                </a:cubicBezTo>
                <a:cubicBezTo>
                  <a:pt x="80769" y="114479"/>
                  <a:pt x="80000" y="114479"/>
                  <a:pt x="79615" y="114479"/>
                </a:cubicBezTo>
                <a:cubicBezTo>
                  <a:pt x="79230" y="114479"/>
                  <a:pt x="77692" y="114479"/>
                  <a:pt x="77692" y="114479"/>
                </a:cubicBezTo>
                <a:cubicBezTo>
                  <a:pt x="77307" y="114479"/>
                  <a:pt x="76923" y="115060"/>
                  <a:pt x="76538" y="115351"/>
                </a:cubicBezTo>
                <a:cubicBezTo>
                  <a:pt x="76538" y="115351"/>
                  <a:pt x="75000" y="115351"/>
                  <a:pt x="75000" y="115351"/>
                </a:cubicBezTo>
                <a:cubicBezTo>
                  <a:pt x="74615" y="115641"/>
                  <a:pt x="74615" y="115641"/>
                  <a:pt x="74230" y="115932"/>
                </a:cubicBezTo>
                <a:cubicBezTo>
                  <a:pt x="73461" y="116222"/>
                  <a:pt x="73461" y="116222"/>
                  <a:pt x="73076" y="116803"/>
                </a:cubicBezTo>
                <a:cubicBezTo>
                  <a:pt x="72307" y="117384"/>
                  <a:pt x="72692" y="117094"/>
                  <a:pt x="71153" y="116803"/>
                </a:cubicBezTo>
                <a:cubicBezTo>
                  <a:pt x="70000" y="116803"/>
                  <a:pt x="70769" y="117094"/>
                  <a:pt x="70384" y="117094"/>
                </a:cubicBezTo>
                <a:cubicBezTo>
                  <a:pt x="70000" y="117094"/>
                  <a:pt x="69615" y="117384"/>
                  <a:pt x="69230" y="117675"/>
                </a:cubicBezTo>
                <a:cubicBezTo>
                  <a:pt x="69230" y="117966"/>
                  <a:pt x="68461" y="117384"/>
                  <a:pt x="68076" y="117384"/>
                </a:cubicBezTo>
                <a:cubicBezTo>
                  <a:pt x="67692" y="117675"/>
                  <a:pt x="67692" y="117094"/>
                  <a:pt x="67692" y="116222"/>
                </a:cubicBezTo>
                <a:cubicBezTo>
                  <a:pt x="67307" y="115641"/>
                  <a:pt x="66538" y="115641"/>
                  <a:pt x="66538" y="115641"/>
                </a:cubicBezTo>
                <a:cubicBezTo>
                  <a:pt x="66538" y="115641"/>
                  <a:pt x="65769" y="115641"/>
                  <a:pt x="65769" y="115351"/>
                </a:cubicBezTo>
                <a:cubicBezTo>
                  <a:pt x="65769" y="115060"/>
                  <a:pt x="64230" y="115060"/>
                  <a:pt x="63846" y="115060"/>
                </a:cubicBezTo>
                <a:cubicBezTo>
                  <a:pt x="63846" y="115060"/>
                  <a:pt x="62692" y="115060"/>
                  <a:pt x="62692" y="115060"/>
                </a:cubicBezTo>
                <a:cubicBezTo>
                  <a:pt x="62692" y="115060"/>
                  <a:pt x="61538" y="115060"/>
                  <a:pt x="61538" y="115351"/>
                </a:cubicBezTo>
                <a:cubicBezTo>
                  <a:pt x="61538" y="115351"/>
                  <a:pt x="61153" y="115351"/>
                  <a:pt x="60384" y="115641"/>
                </a:cubicBezTo>
                <a:cubicBezTo>
                  <a:pt x="59230" y="115932"/>
                  <a:pt x="60000" y="115641"/>
                  <a:pt x="60000" y="116222"/>
                </a:cubicBezTo>
                <a:cubicBezTo>
                  <a:pt x="60384" y="116513"/>
                  <a:pt x="60384" y="116803"/>
                  <a:pt x="60384" y="116803"/>
                </a:cubicBezTo>
                <a:cubicBezTo>
                  <a:pt x="60769" y="117094"/>
                  <a:pt x="60384" y="116803"/>
                  <a:pt x="60384" y="117384"/>
                </a:cubicBezTo>
                <a:cubicBezTo>
                  <a:pt x="60000" y="117966"/>
                  <a:pt x="60000" y="117675"/>
                  <a:pt x="60000" y="118256"/>
                </a:cubicBezTo>
                <a:cubicBezTo>
                  <a:pt x="59615" y="118547"/>
                  <a:pt x="59615" y="118256"/>
                  <a:pt x="59230" y="119128"/>
                </a:cubicBezTo>
                <a:cubicBezTo>
                  <a:pt x="58846" y="119709"/>
                  <a:pt x="59230" y="119128"/>
                  <a:pt x="58846" y="119709"/>
                </a:cubicBezTo>
                <a:cubicBezTo>
                  <a:pt x="58461" y="120000"/>
                  <a:pt x="57692" y="119709"/>
                  <a:pt x="56923" y="119418"/>
                </a:cubicBezTo>
                <a:cubicBezTo>
                  <a:pt x="56538" y="119418"/>
                  <a:pt x="56923" y="119128"/>
                  <a:pt x="56923" y="118547"/>
                </a:cubicBezTo>
                <a:cubicBezTo>
                  <a:pt x="57307" y="117966"/>
                  <a:pt x="56923" y="118256"/>
                  <a:pt x="56923" y="117966"/>
                </a:cubicBezTo>
                <a:cubicBezTo>
                  <a:pt x="56923" y="117675"/>
                  <a:pt x="56538" y="117966"/>
                  <a:pt x="55769" y="118256"/>
                </a:cubicBezTo>
                <a:cubicBezTo>
                  <a:pt x="55384" y="118256"/>
                  <a:pt x="55384" y="117675"/>
                  <a:pt x="55769" y="117094"/>
                </a:cubicBezTo>
                <a:cubicBezTo>
                  <a:pt x="55769" y="116513"/>
                  <a:pt x="55384" y="116803"/>
                  <a:pt x="55384" y="116513"/>
                </a:cubicBezTo>
                <a:cubicBezTo>
                  <a:pt x="55384" y="116513"/>
                  <a:pt x="55000" y="116222"/>
                  <a:pt x="54615" y="116222"/>
                </a:cubicBezTo>
                <a:cubicBezTo>
                  <a:pt x="54230" y="116222"/>
                  <a:pt x="53846" y="115932"/>
                  <a:pt x="53846" y="115932"/>
                </a:cubicBezTo>
                <a:cubicBezTo>
                  <a:pt x="53461" y="115641"/>
                  <a:pt x="52692" y="115060"/>
                  <a:pt x="52307" y="114769"/>
                </a:cubicBezTo>
                <a:cubicBezTo>
                  <a:pt x="51538" y="114479"/>
                  <a:pt x="50769" y="114769"/>
                  <a:pt x="50769" y="114769"/>
                </a:cubicBezTo>
                <a:cubicBezTo>
                  <a:pt x="50769" y="114769"/>
                  <a:pt x="50000" y="115351"/>
                  <a:pt x="49230" y="115932"/>
                </a:cubicBezTo>
                <a:cubicBezTo>
                  <a:pt x="49230" y="115932"/>
                  <a:pt x="49230" y="116222"/>
                  <a:pt x="49230" y="116222"/>
                </a:cubicBezTo>
                <a:cubicBezTo>
                  <a:pt x="48846" y="116222"/>
                  <a:pt x="48846" y="116222"/>
                  <a:pt x="48846" y="115932"/>
                </a:cubicBezTo>
                <a:cubicBezTo>
                  <a:pt x="48846" y="115932"/>
                  <a:pt x="48461" y="115641"/>
                  <a:pt x="48461" y="115641"/>
                </a:cubicBezTo>
                <a:cubicBezTo>
                  <a:pt x="48461" y="115641"/>
                  <a:pt x="48461" y="115060"/>
                  <a:pt x="48076" y="115060"/>
                </a:cubicBezTo>
                <a:cubicBezTo>
                  <a:pt x="48076" y="115060"/>
                  <a:pt x="47692" y="115060"/>
                  <a:pt x="47307" y="114769"/>
                </a:cubicBezTo>
                <a:cubicBezTo>
                  <a:pt x="46923" y="114769"/>
                  <a:pt x="46538" y="114479"/>
                  <a:pt x="46538" y="114479"/>
                </a:cubicBezTo>
                <a:cubicBezTo>
                  <a:pt x="46153" y="114479"/>
                  <a:pt x="45384" y="113898"/>
                  <a:pt x="45384" y="113898"/>
                </a:cubicBezTo>
                <a:cubicBezTo>
                  <a:pt x="45384" y="113898"/>
                  <a:pt x="45384" y="113898"/>
                  <a:pt x="45000" y="113898"/>
                </a:cubicBezTo>
                <a:cubicBezTo>
                  <a:pt x="45000" y="113898"/>
                  <a:pt x="44615" y="113607"/>
                  <a:pt x="44615" y="113607"/>
                </a:cubicBezTo>
                <a:cubicBezTo>
                  <a:pt x="44230" y="113607"/>
                  <a:pt x="44230" y="113607"/>
                  <a:pt x="44230" y="113607"/>
                </a:cubicBezTo>
                <a:cubicBezTo>
                  <a:pt x="44230" y="113607"/>
                  <a:pt x="44230" y="113607"/>
                  <a:pt x="44230" y="113607"/>
                </a:cubicBezTo>
                <a:cubicBezTo>
                  <a:pt x="43846" y="113607"/>
                  <a:pt x="43846" y="113607"/>
                  <a:pt x="43461" y="113317"/>
                </a:cubicBezTo>
                <a:cubicBezTo>
                  <a:pt x="42692" y="113317"/>
                  <a:pt x="43076" y="113317"/>
                  <a:pt x="42307" y="113317"/>
                </a:cubicBezTo>
                <a:cubicBezTo>
                  <a:pt x="41923" y="113317"/>
                  <a:pt x="41538" y="113317"/>
                  <a:pt x="41538" y="113317"/>
                </a:cubicBezTo>
                <a:cubicBezTo>
                  <a:pt x="41538" y="113317"/>
                  <a:pt x="41153" y="113026"/>
                  <a:pt x="40384" y="113026"/>
                </a:cubicBezTo>
                <a:cubicBezTo>
                  <a:pt x="40000" y="113317"/>
                  <a:pt x="39230" y="113607"/>
                  <a:pt x="38846" y="113607"/>
                </a:cubicBezTo>
                <a:cubicBezTo>
                  <a:pt x="38846" y="113607"/>
                  <a:pt x="38461" y="113317"/>
                  <a:pt x="38461" y="113317"/>
                </a:cubicBezTo>
                <a:cubicBezTo>
                  <a:pt x="38461" y="113317"/>
                  <a:pt x="38461" y="113026"/>
                  <a:pt x="38461" y="113026"/>
                </a:cubicBezTo>
                <a:cubicBezTo>
                  <a:pt x="38461" y="113026"/>
                  <a:pt x="38076" y="112736"/>
                  <a:pt x="37692" y="112445"/>
                </a:cubicBezTo>
                <a:cubicBezTo>
                  <a:pt x="37692" y="112445"/>
                  <a:pt x="37307" y="112445"/>
                  <a:pt x="37307" y="112445"/>
                </a:cubicBezTo>
                <a:cubicBezTo>
                  <a:pt x="37307" y="112445"/>
                  <a:pt x="37307" y="112445"/>
                  <a:pt x="37307" y="112736"/>
                </a:cubicBezTo>
                <a:cubicBezTo>
                  <a:pt x="37307" y="113026"/>
                  <a:pt x="38076" y="113026"/>
                  <a:pt x="37307" y="113026"/>
                </a:cubicBezTo>
                <a:cubicBezTo>
                  <a:pt x="36923" y="112736"/>
                  <a:pt x="36538" y="112736"/>
                  <a:pt x="36538" y="112736"/>
                </a:cubicBezTo>
                <a:cubicBezTo>
                  <a:pt x="35384" y="113026"/>
                  <a:pt x="35384" y="113026"/>
                  <a:pt x="35384" y="113026"/>
                </a:cubicBezTo>
                <a:cubicBezTo>
                  <a:pt x="35769" y="112736"/>
                  <a:pt x="35769" y="112736"/>
                  <a:pt x="35769" y="112736"/>
                </a:cubicBezTo>
                <a:cubicBezTo>
                  <a:pt x="35769" y="112736"/>
                  <a:pt x="36153" y="112736"/>
                  <a:pt x="36153" y="112736"/>
                </a:cubicBezTo>
                <a:cubicBezTo>
                  <a:pt x="36153" y="112445"/>
                  <a:pt x="36153" y="112445"/>
                  <a:pt x="36153" y="112445"/>
                </a:cubicBezTo>
                <a:cubicBezTo>
                  <a:pt x="36153" y="112445"/>
                  <a:pt x="36153" y="112154"/>
                  <a:pt x="36153" y="112154"/>
                </a:cubicBezTo>
                <a:cubicBezTo>
                  <a:pt x="36538" y="112154"/>
                  <a:pt x="36923" y="111864"/>
                  <a:pt x="36538" y="111864"/>
                </a:cubicBezTo>
                <a:cubicBezTo>
                  <a:pt x="36153" y="111864"/>
                  <a:pt x="35769" y="111864"/>
                  <a:pt x="35769" y="111864"/>
                </a:cubicBezTo>
                <a:cubicBezTo>
                  <a:pt x="35769" y="111573"/>
                  <a:pt x="35769" y="111573"/>
                  <a:pt x="35769" y="111573"/>
                </a:cubicBezTo>
                <a:cubicBezTo>
                  <a:pt x="35769" y="111573"/>
                  <a:pt x="35384" y="111283"/>
                  <a:pt x="35384" y="111283"/>
                </a:cubicBezTo>
                <a:cubicBezTo>
                  <a:pt x="35384" y="111573"/>
                  <a:pt x="35384" y="111864"/>
                  <a:pt x="35384" y="111864"/>
                </a:cubicBezTo>
                <a:cubicBezTo>
                  <a:pt x="35000" y="111864"/>
                  <a:pt x="35000" y="111864"/>
                  <a:pt x="35000" y="111573"/>
                </a:cubicBezTo>
                <a:cubicBezTo>
                  <a:pt x="35000" y="111283"/>
                  <a:pt x="35000" y="111283"/>
                  <a:pt x="35000" y="111283"/>
                </a:cubicBezTo>
                <a:cubicBezTo>
                  <a:pt x="34615" y="111283"/>
                  <a:pt x="34230" y="111283"/>
                  <a:pt x="34230" y="111283"/>
                </a:cubicBezTo>
                <a:cubicBezTo>
                  <a:pt x="34230" y="111283"/>
                  <a:pt x="34615" y="111573"/>
                  <a:pt x="33846" y="111573"/>
                </a:cubicBezTo>
                <a:cubicBezTo>
                  <a:pt x="33461" y="111573"/>
                  <a:pt x="33076" y="111864"/>
                  <a:pt x="32692" y="111864"/>
                </a:cubicBezTo>
                <a:cubicBezTo>
                  <a:pt x="32307" y="112154"/>
                  <a:pt x="32307" y="112445"/>
                  <a:pt x="32307" y="112445"/>
                </a:cubicBezTo>
                <a:cubicBezTo>
                  <a:pt x="32307" y="112736"/>
                  <a:pt x="31538" y="112736"/>
                  <a:pt x="31538" y="113026"/>
                </a:cubicBezTo>
                <a:cubicBezTo>
                  <a:pt x="31923" y="113026"/>
                  <a:pt x="31538" y="113026"/>
                  <a:pt x="32307" y="113317"/>
                </a:cubicBezTo>
                <a:cubicBezTo>
                  <a:pt x="32692" y="113317"/>
                  <a:pt x="32692" y="113317"/>
                  <a:pt x="33076" y="113317"/>
                </a:cubicBezTo>
                <a:cubicBezTo>
                  <a:pt x="33461" y="113607"/>
                  <a:pt x="33846" y="113317"/>
                  <a:pt x="33846" y="113317"/>
                </a:cubicBezTo>
                <a:cubicBezTo>
                  <a:pt x="33846" y="113317"/>
                  <a:pt x="33846" y="113317"/>
                  <a:pt x="34230" y="113607"/>
                </a:cubicBezTo>
                <a:cubicBezTo>
                  <a:pt x="34230" y="113607"/>
                  <a:pt x="34615" y="113317"/>
                  <a:pt x="34615" y="113607"/>
                </a:cubicBezTo>
                <a:cubicBezTo>
                  <a:pt x="34615" y="113898"/>
                  <a:pt x="35000" y="114188"/>
                  <a:pt x="34615" y="114188"/>
                </a:cubicBezTo>
                <a:cubicBezTo>
                  <a:pt x="34230" y="114188"/>
                  <a:pt x="33846" y="114479"/>
                  <a:pt x="33846" y="114188"/>
                </a:cubicBezTo>
                <a:cubicBezTo>
                  <a:pt x="33846" y="114188"/>
                  <a:pt x="33846" y="113898"/>
                  <a:pt x="33461" y="113898"/>
                </a:cubicBezTo>
                <a:cubicBezTo>
                  <a:pt x="33461" y="113898"/>
                  <a:pt x="33076" y="113898"/>
                  <a:pt x="33076" y="113898"/>
                </a:cubicBezTo>
                <a:cubicBezTo>
                  <a:pt x="32692" y="114479"/>
                  <a:pt x="32692" y="114479"/>
                  <a:pt x="32692" y="114479"/>
                </a:cubicBezTo>
                <a:cubicBezTo>
                  <a:pt x="32692" y="114479"/>
                  <a:pt x="32692" y="114769"/>
                  <a:pt x="32307" y="114769"/>
                </a:cubicBezTo>
                <a:cubicBezTo>
                  <a:pt x="31923" y="114769"/>
                  <a:pt x="32307" y="114769"/>
                  <a:pt x="31538" y="114769"/>
                </a:cubicBezTo>
                <a:cubicBezTo>
                  <a:pt x="30769" y="114769"/>
                  <a:pt x="30769" y="114479"/>
                  <a:pt x="30384" y="114479"/>
                </a:cubicBezTo>
                <a:cubicBezTo>
                  <a:pt x="30384" y="114479"/>
                  <a:pt x="30384" y="114479"/>
                  <a:pt x="30000" y="114479"/>
                </a:cubicBezTo>
                <a:cubicBezTo>
                  <a:pt x="30000" y="114479"/>
                  <a:pt x="29230" y="113898"/>
                  <a:pt x="28846" y="114479"/>
                </a:cubicBezTo>
                <a:cubicBezTo>
                  <a:pt x="28461" y="114769"/>
                  <a:pt x="28076" y="115060"/>
                  <a:pt x="28076" y="115060"/>
                </a:cubicBezTo>
                <a:cubicBezTo>
                  <a:pt x="26923" y="115060"/>
                  <a:pt x="26923" y="115060"/>
                  <a:pt x="26923" y="115060"/>
                </a:cubicBezTo>
                <a:cubicBezTo>
                  <a:pt x="26923" y="115060"/>
                  <a:pt x="26538" y="115060"/>
                  <a:pt x="26153" y="115060"/>
                </a:cubicBezTo>
                <a:cubicBezTo>
                  <a:pt x="25769" y="115060"/>
                  <a:pt x="25384" y="115060"/>
                  <a:pt x="25384" y="115060"/>
                </a:cubicBezTo>
                <a:cubicBezTo>
                  <a:pt x="25000" y="115351"/>
                  <a:pt x="24615" y="114479"/>
                  <a:pt x="24615" y="114479"/>
                </a:cubicBezTo>
                <a:cubicBezTo>
                  <a:pt x="24615" y="114479"/>
                  <a:pt x="25000" y="113898"/>
                  <a:pt x="23846" y="114479"/>
                </a:cubicBezTo>
                <a:cubicBezTo>
                  <a:pt x="22692" y="115060"/>
                  <a:pt x="22307" y="115060"/>
                  <a:pt x="22307" y="115060"/>
                </a:cubicBezTo>
                <a:cubicBezTo>
                  <a:pt x="22307" y="115060"/>
                  <a:pt x="21923" y="115060"/>
                  <a:pt x="21923" y="115351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923" y="115060"/>
                  <a:pt x="21923" y="115060"/>
                  <a:pt x="21923" y="115060"/>
                </a:cubicBezTo>
                <a:cubicBezTo>
                  <a:pt x="21538" y="115060"/>
                  <a:pt x="21538" y="115060"/>
                  <a:pt x="21538" y="114769"/>
                </a:cubicBezTo>
                <a:cubicBezTo>
                  <a:pt x="21538" y="114769"/>
                  <a:pt x="21538" y="114769"/>
                  <a:pt x="21538" y="114769"/>
                </a:cubicBezTo>
                <a:cubicBezTo>
                  <a:pt x="21538" y="114769"/>
                  <a:pt x="21153" y="114769"/>
                  <a:pt x="21153" y="114479"/>
                </a:cubicBezTo>
                <a:cubicBezTo>
                  <a:pt x="20384" y="113898"/>
                  <a:pt x="19230" y="112736"/>
                  <a:pt x="19230" y="112736"/>
                </a:cubicBezTo>
                <a:cubicBezTo>
                  <a:pt x="20000" y="111573"/>
                  <a:pt x="20000" y="111573"/>
                  <a:pt x="20000" y="111573"/>
                </a:cubicBezTo>
                <a:cubicBezTo>
                  <a:pt x="20000" y="111573"/>
                  <a:pt x="20384" y="109539"/>
                  <a:pt x="20384" y="108958"/>
                </a:cubicBezTo>
                <a:cubicBezTo>
                  <a:pt x="20384" y="108668"/>
                  <a:pt x="20384" y="106924"/>
                  <a:pt x="20384" y="106924"/>
                </a:cubicBezTo>
                <a:cubicBezTo>
                  <a:pt x="20384" y="106924"/>
                  <a:pt x="18846" y="106634"/>
                  <a:pt x="20000" y="105762"/>
                </a:cubicBezTo>
                <a:cubicBezTo>
                  <a:pt x="21153" y="104600"/>
                  <a:pt x="22307" y="103147"/>
                  <a:pt x="22307" y="103147"/>
                </a:cubicBezTo>
                <a:cubicBezTo>
                  <a:pt x="22307" y="100242"/>
                  <a:pt x="22307" y="100242"/>
                  <a:pt x="22307" y="100242"/>
                </a:cubicBezTo>
                <a:cubicBezTo>
                  <a:pt x="22307" y="100242"/>
                  <a:pt x="21153" y="99370"/>
                  <a:pt x="22692" y="98789"/>
                </a:cubicBezTo>
                <a:cubicBezTo>
                  <a:pt x="24230" y="97917"/>
                  <a:pt x="26923" y="95302"/>
                  <a:pt x="26923" y="95302"/>
                </a:cubicBezTo>
                <a:cubicBezTo>
                  <a:pt x="29615" y="92978"/>
                  <a:pt x="29615" y="92978"/>
                  <a:pt x="29615" y="92978"/>
                </a:cubicBezTo>
                <a:cubicBezTo>
                  <a:pt x="25000" y="92106"/>
                  <a:pt x="25000" y="92106"/>
                  <a:pt x="25000" y="92106"/>
                </a:cubicBezTo>
                <a:cubicBezTo>
                  <a:pt x="22307" y="91815"/>
                  <a:pt x="22307" y="91815"/>
                  <a:pt x="22307" y="91815"/>
                </a:cubicBezTo>
                <a:cubicBezTo>
                  <a:pt x="20384" y="90944"/>
                  <a:pt x="20384" y="90944"/>
                  <a:pt x="20384" y="90944"/>
                </a:cubicBezTo>
                <a:cubicBezTo>
                  <a:pt x="19230" y="89491"/>
                  <a:pt x="19230" y="89491"/>
                  <a:pt x="19230" y="89491"/>
                </a:cubicBezTo>
                <a:cubicBezTo>
                  <a:pt x="18076" y="90072"/>
                  <a:pt x="18076" y="90072"/>
                  <a:pt x="18076" y="90072"/>
                </a:cubicBezTo>
                <a:cubicBezTo>
                  <a:pt x="16923" y="90653"/>
                  <a:pt x="16923" y="90653"/>
                  <a:pt x="16923" y="90653"/>
                </a:cubicBezTo>
                <a:cubicBezTo>
                  <a:pt x="14230" y="90363"/>
                  <a:pt x="14230" y="90363"/>
                  <a:pt x="14230" y="90363"/>
                </a:cubicBezTo>
                <a:cubicBezTo>
                  <a:pt x="12307" y="88910"/>
                  <a:pt x="12307" y="88910"/>
                  <a:pt x="12307" y="88910"/>
                </a:cubicBezTo>
                <a:cubicBezTo>
                  <a:pt x="10769" y="89782"/>
                  <a:pt x="10769" y="89782"/>
                  <a:pt x="10769" y="89782"/>
                </a:cubicBezTo>
                <a:cubicBezTo>
                  <a:pt x="9230" y="88910"/>
                  <a:pt x="9230" y="88910"/>
                  <a:pt x="9230" y="88910"/>
                </a:cubicBezTo>
                <a:cubicBezTo>
                  <a:pt x="8076" y="87457"/>
                  <a:pt x="8076" y="87457"/>
                  <a:pt x="8076" y="87457"/>
                </a:cubicBezTo>
                <a:cubicBezTo>
                  <a:pt x="7692" y="86295"/>
                  <a:pt x="7692" y="86295"/>
                  <a:pt x="7692" y="86295"/>
                </a:cubicBezTo>
                <a:cubicBezTo>
                  <a:pt x="5769" y="84842"/>
                  <a:pt x="5769" y="84842"/>
                  <a:pt x="5769" y="84842"/>
                </a:cubicBezTo>
                <a:cubicBezTo>
                  <a:pt x="5000" y="84842"/>
                  <a:pt x="5000" y="84842"/>
                  <a:pt x="5000" y="84842"/>
                </a:cubicBezTo>
                <a:cubicBezTo>
                  <a:pt x="5000" y="84552"/>
                  <a:pt x="5000" y="84552"/>
                  <a:pt x="5000" y="84552"/>
                </a:cubicBezTo>
                <a:cubicBezTo>
                  <a:pt x="4615" y="82808"/>
                  <a:pt x="4615" y="82808"/>
                  <a:pt x="4615" y="82808"/>
                </a:cubicBezTo>
                <a:cubicBezTo>
                  <a:pt x="5769" y="82227"/>
                  <a:pt x="5769" y="82227"/>
                  <a:pt x="5769" y="82227"/>
                </a:cubicBezTo>
                <a:cubicBezTo>
                  <a:pt x="6538" y="81355"/>
                  <a:pt x="6538" y="81355"/>
                  <a:pt x="6538" y="81355"/>
                </a:cubicBezTo>
                <a:cubicBezTo>
                  <a:pt x="7307" y="80484"/>
                  <a:pt x="7307" y="80484"/>
                  <a:pt x="7307" y="80484"/>
                </a:cubicBezTo>
                <a:cubicBezTo>
                  <a:pt x="6923" y="79322"/>
                  <a:pt x="6923" y="79322"/>
                  <a:pt x="6923" y="79322"/>
                </a:cubicBezTo>
                <a:cubicBezTo>
                  <a:pt x="6923" y="79322"/>
                  <a:pt x="5384" y="79322"/>
                  <a:pt x="5000" y="79031"/>
                </a:cubicBezTo>
                <a:cubicBezTo>
                  <a:pt x="4615" y="79031"/>
                  <a:pt x="3461" y="78450"/>
                  <a:pt x="3461" y="78450"/>
                </a:cubicBezTo>
                <a:cubicBezTo>
                  <a:pt x="3076" y="76997"/>
                  <a:pt x="3076" y="76997"/>
                  <a:pt x="3076" y="76997"/>
                </a:cubicBezTo>
                <a:cubicBezTo>
                  <a:pt x="2307" y="76125"/>
                  <a:pt x="2307" y="76125"/>
                  <a:pt x="2307" y="76125"/>
                </a:cubicBezTo>
                <a:cubicBezTo>
                  <a:pt x="1923" y="74673"/>
                  <a:pt x="1923" y="74673"/>
                  <a:pt x="1923" y="74673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307" y="73220"/>
                  <a:pt x="2307" y="73220"/>
                  <a:pt x="2307" y="73220"/>
                </a:cubicBezTo>
                <a:cubicBezTo>
                  <a:pt x="2692" y="73220"/>
                  <a:pt x="2692" y="73220"/>
                  <a:pt x="2692" y="73220"/>
                </a:cubicBezTo>
                <a:cubicBezTo>
                  <a:pt x="3076" y="72639"/>
                  <a:pt x="3076" y="72639"/>
                  <a:pt x="3076" y="72639"/>
                </a:cubicBezTo>
                <a:cubicBezTo>
                  <a:pt x="3076" y="72348"/>
                  <a:pt x="3076" y="72348"/>
                  <a:pt x="3076" y="72348"/>
                </a:cubicBezTo>
                <a:cubicBezTo>
                  <a:pt x="3076" y="72348"/>
                  <a:pt x="3461" y="72058"/>
                  <a:pt x="3846" y="72058"/>
                </a:cubicBezTo>
                <a:cubicBezTo>
                  <a:pt x="3846" y="72058"/>
                  <a:pt x="4230" y="72058"/>
                  <a:pt x="4230" y="72058"/>
                </a:cubicBezTo>
                <a:cubicBezTo>
                  <a:pt x="4615" y="72058"/>
                  <a:pt x="4615" y="71186"/>
                  <a:pt x="4615" y="71186"/>
                </a:cubicBezTo>
                <a:cubicBezTo>
                  <a:pt x="5384" y="71186"/>
                  <a:pt x="5384" y="71186"/>
                  <a:pt x="5384" y="71186"/>
                </a:cubicBezTo>
                <a:cubicBezTo>
                  <a:pt x="5384" y="71186"/>
                  <a:pt x="5769" y="70895"/>
                  <a:pt x="5769" y="70895"/>
                </a:cubicBezTo>
                <a:cubicBezTo>
                  <a:pt x="5769" y="70605"/>
                  <a:pt x="5769" y="70314"/>
                  <a:pt x="5769" y="70314"/>
                </a:cubicBezTo>
                <a:cubicBezTo>
                  <a:pt x="5769" y="70314"/>
                  <a:pt x="6153" y="69733"/>
                  <a:pt x="6153" y="69443"/>
                </a:cubicBezTo>
                <a:cubicBezTo>
                  <a:pt x="6153" y="69152"/>
                  <a:pt x="5769" y="68861"/>
                  <a:pt x="5769" y="68861"/>
                </a:cubicBezTo>
                <a:cubicBezTo>
                  <a:pt x="5769" y="68861"/>
                  <a:pt x="5384" y="68280"/>
                  <a:pt x="5000" y="68280"/>
                </a:cubicBezTo>
                <a:cubicBezTo>
                  <a:pt x="5000" y="68280"/>
                  <a:pt x="4230" y="68280"/>
                  <a:pt x="4230" y="68280"/>
                </a:cubicBezTo>
                <a:cubicBezTo>
                  <a:pt x="3846" y="68280"/>
                  <a:pt x="3461" y="67699"/>
                  <a:pt x="3461" y="67699"/>
                </a:cubicBezTo>
                <a:cubicBezTo>
                  <a:pt x="3461" y="67699"/>
                  <a:pt x="3846" y="67409"/>
                  <a:pt x="3846" y="67118"/>
                </a:cubicBezTo>
                <a:cubicBezTo>
                  <a:pt x="4230" y="67118"/>
                  <a:pt x="4230" y="66246"/>
                  <a:pt x="4230" y="66246"/>
                </a:cubicBezTo>
                <a:cubicBezTo>
                  <a:pt x="4230" y="66246"/>
                  <a:pt x="3846" y="65956"/>
                  <a:pt x="3461" y="65956"/>
                </a:cubicBezTo>
                <a:cubicBezTo>
                  <a:pt x="3461" y="65956"/>
                  <a:pt x="2692" y="65956"/>
                  <a:pt x="2692" y="65956"/>
                </a:cubicBezTo>
                <a:cubicBezTo>
                  <a:pt x="2692" y="65084"/>
                  <a:pt x="2692" y="65084"/>
                  <a:pt x="2692" y="65084"/>
                </a:cubicBezTo>
                <a:cubicBezTo>
                  <a:pt x="2692" y="65084"/>
                  <a:pt x="1923" y="64794"/>
                  <a:pt x="1538" y="64794"/>
                </a:cubicBezTo>
                <a:cubicBezTo>
                  <a:pt x="1538" y="64794"/>
                  <a:pt x="1538" y="64503"/>
                  <a:pt x="1153" y="64503"/>
                </a:cubicBezTo>
                <a:cubicBezTo>
                  <a:pt x="1538" y="64503"/>
                  <a:pt x="1538" y="64503"/>
                  <a:pt x="1538" y="64503"/>
                </a:cubicBezTo>
                <a:cubicBezTo>
                  <a:pt x="1538" y="64503"/>
                  <a:pt x="1538" y="64503"/>
                  <a:pt x="1538" y="64503"/>
                </a:cubicBezTo>
                <a:cubicBezTo>
                  <a:pt x="1538" y="64213"/>
                  <a:pt x="1153" y="63922"/>
                  <a:pt x="1153" y="63631"/>
                </a:cubicBezTo>
                <a:cubicBezTo>
                  <a:pt x="1153" y="63631"/>
                  <a:pt x="1538" y="63631"/>
                  <a:pt x="1538" y="63631"/>
                </a:cubicBezTo>
                <a:cubicBezTo>
                  <a:pt x="1538" y="63631"/>
                  <a:pt x="1538" y="63341"/>
                  <a:pt x="1923" y="63050"/>
                </a:cubicBezTo>
                <a:cubicBezTo>
                  <a:pt x="1923" y="63050"/>
                  <a:pt x="1923" y="63050"/>
                  <a:pt x="2307" y="63050"/>
                </a:cubicBezTo>
                <a:cubicBezTo>
                  <a:pt x="2307" y="63050"/>
                  <a:pt x="2307" y="62760"/>
                  <a:pt x="2692" y="62760"/>
                </a:cubicBezTo>
                <a:cubicBezTo>
                  <a:pt x="2692" y="62469"/>
                  <a:pt x="2692" y="61888"/>
                  <a:pt x="2692" y="61888"/>
                </a:cubicBezTo>
                <a:cubicBezTo>
                  <a:pt x="2692" y="61888"/>
                  <a:pt x="2692" y="61888"/>
                  <a:pt x="2307" y="61598"/>
                </a:cubicBezTo>
                <a:cubicBezTo>
                  <a:pt x="1923" y="61598"/>
                  <a:pt x="1923" y="61598"/>
                  <a:pt x="1923" y="61307"/>
                </a:cubicBezTo>
                <a:cubicBezTo>
                  <a:pt x="1538" y="61307"/>
                  <a:pt x="1923" y="61016"/>
                  <a:pt x="1923" y="61016"/>
                </a:cubicBezTo>
                <a:cubicBezTo>
                  <a:pt x="1923" y="61016"/>
                  <a:pt x="1153" y="60726"/>
                  <a:pt x="1153" y="60726"/>
                </a:cubicBezTo>
                <a:cubicBezTo>
                  <a:pt x="1153" y="60726"/>
                  <a:pt x="384" y="60726"/>
                  <a:pt x="384" y="60726"/>
                </a:cubicBezTo>
                <a:cubicBezTo>
                  <a:pt x="384" y="60726"/>
                  <a:pt x="384" y="60726"/>
                  <a:pt x="384" y="60726"/>
                </a:cubicBezTo>
                <a:cubicBezTo>
                  <a:pt x="384" y="60145"/>
                  <a:pt x="384" y="60145"/>
                  <a:pt x="384" y="60145"/>
                </a:cubicBezTo>
                <a:cubicBezTo>
                  <a:pt x="0" y="59564"/>
                  <a:pt x="0" y="59564"/>
                  <a:pt x="0" y="59564"/>
                </a:cubicBezTo>
                <a:cubicBezTo>
                  <a:pt x="384" y="59273"/>
                  <a:pt x="384" y="59273"/>
                  <a:pt x="384" y="59273"/>
                </a:cubicBezTo>
                <a:cubicBezTo>
                  <a:pt x="1153" y="59854"/>
                  <a:pt x="1153" y="59854"/>
                  <a:pt x="1153" y="59854"/>
                </a:cubicBezTo>
                <a:cubicBezTo>
                  <a:pt x="1153" y="59854"/>
                  <a:pt x="1153" y="59564"/>
                  <a:pt x="1153" y="59273"/>
                </a:cubicBezTo>
                <a:cubicBezTo>
                  <a:pt x="1538" y="59273"/>
                  <a:pt x="1923" y="58692"/>
                  <a:pt x="1923" y="58692"/>
                </a:cubicBezTo>
                <a:cubicBezTo>
                  <a:pt x="2692" y="58692"/>
                  <a:pt x="2692" y="58692"/>
                  <a:pt x="2692" y="58692"/>
                </a:cubicBezTo>
                <a:cubicBezTo>
                  <a:pt x="2692" y="58692"/>
                  <a:pt x="4230" y="58692"/>
                  <a:pt x="4230" y="58692"/>
                </a:cubicBezTo>
                <a:cubicBezTo>
                  <a:pt x="4615" y="58401"/>
                  <a:pt x="3846" y="57820"/>
                  <a:pt x="3846" y="57820"/>
                </a:cubicBezTo>
                <a:cubicBezTo>
                  <a:pt x="3846" y="57820"/>
                  <a:pt x="3076" y="58401"/>
                  <a:pt x="3076" y="58401"/>
                </a:cubicBezTo>
                <a:cubicBezTo>
                  <a:pt x="2692" y="58401"/>
                  <a:pt x="2692" y="57530"/>
                  <a:pt x="2692" y="57530"/>
                </a:cubicBezTo>
                <a:cubicBezTo>
                  <a:pt x="2692" y="56949"/>
                  <a:pt x="2692" y="56949"/>
                  <a:pt x="2692" y="56949"/>
                </a:cubicBezTo>
                <a:cubicBezTo>
                  <a:pt x="3461" y="56658"/>
                  <a:pt x="3461" y="56658"/>
                  <a:pt x="3461" y="56658"/>
                </a:cubicBezTo>
                <a:cubicBezTo>
                  <a:pt x="3846" y="56077"/>
                  <a:pt x="3846" y="56077"/>
                  <a:pt x="3846" y="56077"/>
                </a:cubicBezTo>
                <a:cubicBezTo>
                  <a:pt x="3846" y="56077"/>
                  <a:pt x="4615" y="55496"/>
                  <a:pt x="4615" y="55496"/>
                </a:cubicBezTo>
                <a:cubicBezTo>
                  <a:pt x="5000" y="55205"/>
                  <a:pt x="4615" y="54624"/>
                  <a:pt x="4615" y="54624"/>
                </a:cubicBezTo>
                <a:cubicBezTo>
                  <a:pt x="5000" y="53753"/>
                  <a:pt x="5000" y="53753"/>
                  <a:pt x="5000" y="53753"/>
                </a:cubicBezTo>
                <a:cubicBezTo>
                  <a:pt x="4230" y="52881"/>
                  <a:pt x="4230" y="52881"/>
                  <a:pt x="4230" y="52881"/>
                </a:cubicBezTo>
                <a:cubicBezTo>
                  <a:pt x="4230" y="52009"/>
                  <a:pt x="4230" y="52009"/>
                  <a:pt x="4230" y="52009"/>
                </a:cubicBezTo>
                <a:cubicBezTo>
                  <a:pt x="3461" y="51138"/>
                  <a:pt x="3461" y="51138"/>
                  <a:pt x="3461" y="51138"/>
                </a:cubicBezTo>
                <a:cubicBezTo>
                  <a:pt x="3461" y="50847"/>
                  <a:pt x="3461" y="50847"/>
                  <a:pt x="3461" y="50847"/>
                </a:cubicBezTo>
                <a:cubicBezTo>
                  <a:pt x="3076" y="50266"/>
                  <a:pt x="3076" y="50266"/>
                  <a:pt x="3076" y="50266"/>
                </a:cubicBezTo>
                <a:cubicBezTo>
                  <a:pt x="3076" y="49685"/>
                  <a:pt x="3076" y="49685"/>
                  <a:pt x="3076" y="49685"/>
                </a:cubicBezTo>
                <a:cubicBezTo>
                  <a:pt x="3076" y="49685"/>
                  <a:pt x="2307" y="49104"/>
                  <a:pt x="1923" y="49104"/>
                </a:cubicBezTo>
                <a:cubicBezTo>
                  <a:pt x="1538" y="49104"/>
                  <a:pt x="1923" y="48813"/>
                  <a:pt x="1923" y="48813"/>
                </a:cubicBezTo>
                <a:cubicBezTo>
                  <a:pt x="1923" y="48232"/>
                  <a:pt x="1923" y="48232"/>
                  <a:pt x="1923" y="48232"/>
                </a:cubicBezTo>
                <a:cubicBezTo>
                  <a:pt x="1923" y="47360"/>
                  <a:pt x="1923" y="47360"/>
                  <a:pt x="1923" y="47360"/>
                </a:cubicBezTo>
                <a:cubicBezTo>
                  <a:pt x="3846" y="47651"/>
                  <a:pt x="3846" y="47651"/>
                  <a:pt x="3846" y="47651"/>
                </a:cubicBezTo>
                <a:cubicBezTo>
                  <a:pt x="4615" y="47651"/>
                  <a:pt x="4615" y="47651"/>
                  <a:pt x="4615" y="47651"/>
                </a:cubicBezTo>
                <a:cubicBezTo>
                  <a:pt x="3461" y="47070"/>
                  <a:pt x="3461" y="47070"/>
                  <a:pt x="3461" y="47070"/>
                </a:cubicBezTo>
                <a:cubicBezTo>
                  <a:pt x="4615" y="46779"/>
                  <a:pt x="4615" y="46779"/>
                  <a:pt x="4615" y="46779"/>
                </a:cubicBezTo>
                <a:cubicBezTo>
                  <a:pt x="5384" y="47360"/>
                  <a:pt x="5384" y="47360"/>
                  <a:pt x="5384" y="47360"/>
                </a:cubicBezTo>
                <a:cubicBezTo>
                  <a:pt x="6538" y="47651"/>
                  <a:pt x="6538" y="47651"/>
                  <a:pt x="6538" y="47651"/>
                </a:cubicBezTo>
                <a:cubicBezTo>
                  <a:pt x="6923" y="48232"/>
                  <a:pt x="6923" y="48232"/>
                  <a:pt x="6923" y="48232"/>
                </a:cubicBezTo>
                <a:cubicBezTo>
                  <a:pt x="7307" y="47651"/>
                  <a:pt x="7307" y="47651"/>
                  <a:pt x="7307" y="47651"/>
                </a:cubicBezTo>
                <a:cubicBezTo>
                  <a:pt x="8461" y="47651"/>
                  <a:pt x="8461" y="47651"/>
                  <a:pt x="8461" y="47651"/>
                </a:cubicBezTo>
                <a:cubicBezTo>
                  <a:pt x="8846" y="47651"/>
                  <a:pt x="8846" y="47651"/>
                  <a:pt x="8846" y="47651"/>
                </a:cubicBezTo>
                <a:cubicBezTo>
                  <a:pt x="10000" y="47360"/>
                  <a:pt x="10000" y="47360"/>
                  <a:pt x="10000" y="47360"/>
                </a:cubicBezTo>
                <a:cubicBezTo>
                  <a:pt x="11153" y="47360"/>
                  <a:pt x="11153" y="47360"/>
                  <a:pt x="11153" y="47360"/>
                </a:cubicBezTo>
                <a:cubicBezTo>
                  <a:pt x="11538" y="46779"/>
                  <a:pt x="11538" y="46779"/>
                  <a:pt x="11538" y="46779"/>
                </a:cubicBezTo>
                <a:cubicBezTo>
                  <a:pt x="12307" y="46489"/>
                  <a:pt x="12307" y="46489"/>
                  <a:pt x="12307" y="46489"/>
                </a:cubicBezTo>
                <a:cubicBezTo>
                  <a:pt x="12692" y="46198"/>
                  <a:pt x="12692" y="46198"/>
                  <a:pt x="12692" y="46198"/>
                </a:cubicBezTo>
                <a:cubicBezTo>
                  <a:pt x="11538" y="45617"/>
                  <a:pt x="11538" y="45617"/>
                  <a:pt x="11538" y="45617"/>
                </a:cubicBezTo>
                <a:cubicBezTo>
                  <a:pt x="10769" y="44745"/>
                  <a:pt x="10769" y="44745"/>
                  <a:pt x="10769" y="44745"/>
                </a:cubicBezTo>
                <a:cubicBezTo>
                  <a:pt x="11538" y="44745"/>
                  <a:pt x="11538" y="44745"/>
                  <a:pt x="11538" y="44745"/>
                </a:cubicBezTo>
                <a:cubicBezTo>
                  <a:pt x="11538" y="43874"/>
                  <a:pt x="11538" y="43874"/>
                  <a:pt x="11538" y="43874"/>
                </a:cubicBezTo>
                <a:cubicBezTo>
                  <a:pt x="11538" y="43874"/>
                  <a:pt x="13076" y="44164"/>
                  <a:pt x="13076" y="44164"/>
                </a:cubicBezTo>
                <a:cubicBezTo>
                  <a:pt x="13076" y="43874"/>
                  <a:pt x="13076" y="43874"/>
                  <a:pt x="13461" y="43583"/>
                </a:cubicBezTo>
                <a:cubicBezTo>
                  <a:pt x="13846" y="43583"/>
                  <a:pt x="14615" y="43292"/>
                  <a:pt x="14615" y="43292"/>
                </a:cubicBezTo>
                <a:cubicBezTo>
                  <a:pt x="15000" y="42711"/>
                  <a:pt x="15000" y="42711"/>
                  <a:pt x="15000" y="42711"/>
                </a:cubicBezTo>
                <a:cubicBezTo>
                  <a:pt x="15000" y="42711"/>
                  <a:pt x="15769" y="42421"/>
                  <a:pt x="15769" y="42421"/>
                </a:cubicBezTo>
                <a:cubicBezTo>
                  <a:pt x="16153" y="42421"/>
                  <a:pt x="15769" y="42130"/>
                  <a:pt x="15769" y="41840"/>
                </a:cubicBezTo>
                <a:cubicBezTo>
                  <a:pt x="15769" y="41549"/>
                  <a:pt x="15769" y="40968"/>
                  <a:pt x="15769" y="40968"/>
                </a:cubicBezTo>
                <a:cubicBezTo>
                  <a:pt x="16153" y="40387"/>
                  <a:pt x="16153" y="40387"/>
                  <a:pt x="16153" y="40387"/>
                </a:cubicBezTo>
                <a:cubicBezTo>
                  <a:pt x="15384" y="39225"/>
                  <a:pt x="15384" y="39225"/>
                  <a:pt x="15384" y="39225"/>
                </a:cubicBezTo>
                <a:cubicBezTo>
                  <a:pt x="14230" y="39515"/>
                  <a:pt x="14230" y="39515"/>
                  <a:pt x="14230" y="39515"/>
                </a:cubicBezTo>
                <a:cubicBezTo>
                  <a:pt x="13461" y="38934"/>
                  <a:pt x="13461" y="38934"/>
                  <a:pt x="13461" y="38934"/>
                </a:cubicBezTo>
                <a:cubicBezTo>
                  <a:pt x="13461" y="38934"/>
                  <a:pt x="12307" y="38934"/>
                  <a:pt x="12307" y="38644"/>
                </a:cubicBezTo>
                <a:cubicBezTo>
                  <a:pt x="11923" y="38353"/>
                  <a:pt x="11538" y="37772"/>
                  <a:pt x="11538" y="37772"/>
                </a:cubicBezTo>
                <a:cubicBezTo>
                  <a:pt x="11538" y="37191"/>
                  <a:pt x="11538" y="37191"/>
                  <a:pt x="11538" y="37191"/>
                </a:cubicBezTo>
                <a:cubicBezTo>
                  <a:pt x="12692" y="37191"/>
                  <a:pt x="12692" y="37191"/>
                  <a:pt x="12692" y="37191"/>
                </a:cubicBezTo>
                <a:cubicBezTo>
                  <a:pt x="11923" y="36900"/>
                  <a:pt x="11923" y="36900"/>
                  <a:pt x="11923" y="36900"/>
                </a:cubicBezTo>
                <a:cubicBezTo>
                  <a:pt x="11923" y="36029"/>
                  <a:pt x="11923" y="36029"/>
                  <a:pt x="11923" y="36029"/>
                </a:cubicBezTo>
                <a:cubicBezTo>
                  <a:pt x="13461" y="35738"/>
                  <a:pt x="13461" y="35738"/>
                  <a:pt x="13461" y="35738"/>
                </a:cubicBezTo>
                <a:cubicBezTo>
                  <a:pt x="13461" y="35738"/>
                  <a:pt x="15384" y="36319"/>
                  <a:pt x="15769" y="36319"/>
                </a:cubicBezTo>
                <a:cubicBezTo>
                  <a:pt x="16153" y="36610"/>
                  <a:pt x="16153" y="35447"/>
                  <a:pt x="16153" y="35447"/>
                </a:cubicBezTo>
                <a:cubicBezTo>
                  <a:pt x="16538" y="33995"/>
                  <a:pt x="16538" y="33995"/>
                  <a:pt x="16538" y="33995"/>
                </a:cubicBezTo>
                <a:cubicBezTo>
                  <a:pt x="16538" y="33995"/>
                  <a:pt x="16153" y="32832"/>
                  <a:pt x="16538" y="32542"/>
                </a:cubicBezTo>
                <a:cubicBezTo>
                  <a:pt x="16923" y="32542"/>
                  <a:pt x="18076" y="30799"/>
                  <a:pt x="18076" y="30799"/>
                </a:cubicBezTo>
                <a:cubicBezTo>
                  <a:pt x="18076" y="30799"/>
                  <a:pt x="18076" y="29055"/>
                  <a:pt x="18076" y="28765"/>
                </a:cubicBezTo>
                <a:cubicBezTo>
                  <a:pt x="18076" y="28474"/>
                  <a:pt x="18076" y="27312"/>
                  <a:pt x="18076" y="27312"/>
                </a:cubicBezTo>
                <a:cubicBezTo>
                  <a:pt x="18076" y="27021"/>
                  <a:pt x="18076" y="27021"/>
                  <a:pt x="18076" y="27021"/>
                </a:cubicBezTo>
                <a:cubicBezTo>
                  <a:pt x="18076" y="27021"/>
                  <a:pt x="16923" y="26731"/>
                  <a:pt x="16538" y="26731"/>
                </a:cubicBezTo>
                <a:cubicBezTo>
                  <a:pt x="16538" y="26440"/>
                  <a:pt x="16923" y="25859"/>
                  <a:pt x="16923" y="25859"/>
                </a:cubicBezTo>
                <a:cubicBezTo>
                  <a:pt x="15000" y="25569"/>
                  <a:pt x="15000" y="25569"/>
                  <a:pt x="15000" y="25569"/>
                </a:cubicBezTo>
                <a:cubicBezTo>
                  <a:pt x="15384" y="24697"/>
                  <a:pt x="15769" y="23244"/>
                  <a:pt x="16153" y="23244"/>
                </a:cubicBezTo>
                <a:cubicBezTo>
                  <a:pt x="16538" y="22953"/>
                  <a:pt x="17307" y="22372"/>
                  <a:pt x="17307" y="22372"/>
                </a:cubicBezTo>
                <a:cubicBezTo>
                  <a:pt x="17307" y="21210"/>
                  <a:pt x="17307" y="21210"/>
                  <a:pt x="17307" y="21210"/>
                </a:cubicBezTo>
                <a:cubicBezTo>
                  <a:pt x="16538" y="20338"/>
                  <a:pt x="16538" y="20338"/>
                  <a:pt x="16538" y="20338"/>
                </a:cubicBezTo>
                <a:cubicBezTo>
                  <a:pt x="17307" y="19467"/>
                  <a:pt x="17307" y="19467"/>
                  <a:pt x="17307" y="19467"/>
                </a:cubicBezTo>
                <a:cubicBezTo>
                  <a:pt x="17307" y="19467"/>
                  <a:pt x="18846" y="18886"/>
                  <a:pt x="18846" y="18886"/>
                </a:cubicBezTo>
                <a:cubicBezTo>
                  <a:pt x="19230" y="18886"/>
                  <a:pt x="21538" y="18886"/>
                  <a:pt x="21538" y="18886"/>
                </a:cubicBezTo>
                <a:cubicBezTo>
                  <a:pt x="23076" y="18305"/>
                  <a:pt x="23076" y="18305"/>
                  <a:pt x="23076" y="18305"/>
                </a:cubicBezTo>
                <a:cubicBezTo>
                  <a:pt x="25384" y="18305"/>
                  <a:pt x="25384" y="18305"/>
                  <a:pt x="25384" y="18305"/>
                </a:cubicBezTo>
                <a:cubicBezTo>
                  <a:pt x="26923" y="18014"/>
                  <a:pt x="26923" y="18014"/>
                  <a:pt x="26923" y="18014"/>
                </a:cubicBezTo>
                <a:cubicBezTo>
                  <a:pt x="28076" y="18595"/>
                  <a:pt x="28076" y="18595"/>
                  <a:pt x="28076" y="18595"/>
                </a:cubicBezTo>
                <a:cubicBezTo>
                  <a:pt x="28076" y="18595"/>
                  <a:pt x="28846" y="19176"/>
                  <a:pt x="28846" y="19467"/>
                </a:cubicBezTo>
                <a:cubicBezTo>
                  <a:pt x="28846" y="19467"/>
                  <a:pt x="29615" y="20048"/>
                  <a:pt x="29615" y="20338"/>
                </a:cubicBezTo>
                <a:cubicBezTo>
                  <a:pt x="29230" y="20338"/>
                  <a:pt x="30000" y="21210"/>
                  <a:pt x="30000" y="21210"/>
                </a:cubicBezTo>
                <a:cubicBezTo>
                  <a:pt x="30000" y="21210"/>
                  <a:pt x="29615" y="21791"/>
                  <a:pt x="29615" y="22082"/>
                </a:cubicBezTo>
                <a:cubicBezTo>
                  <a:pt x="29615" y="22082"/>
                  <a:pt x="30000" y="23244"/>
                  <a:pt x="30000" y="23244"/>
                </a:cubicBezTo>
                <a:cubicBezTo>
                  <a:pt x="30000" y="23535"/>
                  <a:pt x="30769" y="23825"/>
                  <a:pt x="30769" y="23825"/>
                </a:cubicBezTo>
                <a:cubicBezTo>
                  <a:pt x="31538" y="23535"/>
                  <a:pt x="31538" y="23535"/>
                  <a:pt x="31538" y="23535"/>
                </a:cubicBezTo>
                <a:cubicBezTo>
                  <a:pt x="31923" y="22953"/>
                  <a:pt x="31923" y="22953"/>
                  <a:pt x="31923" y="22953"/>
                </a:cubicBezTo>
                <a:cubicBezTo>
                  <a:pt x="31153" y="22082"/>
                  <a:pt x="31153" y="22082"/>
                  <a:pt x="31153" y="22082"/>
                </a:cubicBezTo>
                <a:cubicBezTo>
                  <a:pt x="30769" y="22082"/>
                  <a:pt x="30769" y="22082"/>
                  <a:pt x="30769" y="22082"/>
                </a:cubicBezTo>
                <a:cubicBezTo>
                  <a:pt x="31153" y="20920"/>
                  <a:pt x="31153" y="20920"/>
                  <a:pt x="31153" y="20920"/>
                </a:cubicBezTo>
                <a:cubicBezTo>
                  <a:pt x="31153" y="20920"/>
                  <a:pt x="31923" y="20629"/>
                  <a:pt x="32307" y="20920"/>
                </a:cubicBezTo>
                <a:cubicBezTo>
                  <a:pt x="32692" y="20920"/>
                  <a:pt x="33846" y="21791"/>
                  <a:pt x="33846" y="21791"/>
                </a:cubicBezTo>
                <a:cubicBezTo>
                  <a:pt x="34615" y="22082"/>
                  <a:pt x="34615" y="22082"/>
                  <a:pt x="34615" y="22082"/>
                </a:cubicBezTo>
                <a:cubicBezTo>
                  <a:pt x="34615" y="22082"/>
                  <a:pt x="35769" y="21501"/>
                  <a:pt x="35769" y="21501"/>
                </a:cubicBezTo>
                <a:cubicBezTo>
                  <a:pt x="35769" y="21501"/>
                  <a:pt x="34615" y="20338"/>
                  <a:pt x="34615" y="20338"/>
                </a:cubicBezTo>
                <a:cubicBezTo>
                  <a:pt x="35000" y="18886"/>
                  <a:pt x="35000" y="18886"/>
                  <a:pt x="35000" y="18886"/>
                </a:cubicBezTo>
                <a:cubicBezTo>
                  <a:pt x="35384" y="17723"/>
                  <a:pt x="35384" y="17723"/>
                  <a:pt x="35384" y="17723"/>
                </a:cubicBezTo>
                <a:cubicBezTo>
                  <a:pt x="36923" y="16852"/>
                  <a:pt x="36923" y="16852"/>
                  <a:pt x="36923" y="16852"/>
                </a:cubicBezTo>
                <a:cubicBezTo>
                  <a:pt x="38076" y="17433"/>
                  <a:pt x="38076" y="17433"/>
                  <a:pt x="38076" y="17433"/>
                </a:cubicBezTo>
                <a:cubicBezTo>
                  <a:pt x="40000" y="17433"/>
                  <a:pt x="40000" y="17433"/>
                  <a:pt x="40000" y="17433"/>
                </a:cubicBezTo>
                <a:cubicBezTo>
                  <a:pt x="41923" y="17433"/>
                  <a:pt x="41923" y="17433"/>
                  <a:pt x="41923" y="17433"/>
                </a:cubicBezTo>
                <a:cubicBezTo>
                  <a:pt x="43076" y="17142"/>
                  <a:pt x="43076" y="17142"/>
                  <a:pt x="43076" y="17142"/>
                </a:cubicBezTo>
                <a:cubicBezTo>
                  <a:pt x="44615" y="17142"/>
                  <a:pt x="44615" y="17142"/>
                  <a:pt x="44615" y="17142"/>
                </a:cubicBezTo>
                <a:cubicBezTo>
                  <a:pt x="44615" y="17142"/>
                  <a:pt x="43846" y="16561"/>
                  <a:pt x="43846" y="16561"/>
                </a:cubicBezTo>
                <a:cubicBezTo>
                  <a:pt x="43461" y="16561"/>
                  <a:pt x="42692" y="15980"/>
                  <a:pt x="42692" y="15980"/>
                </a:cubicBezTo>
                <a:cubicBezTo>
                  <a:pt x="42692" y="15980"/>
                  <a:pt x="42307" y="16561"/>
                  <a:pt x="42307" y="16561"/>
                </a:cubicBezTo>
                <a:cubicBezTo>
                  <a:pt x="41923" y="16852"/>
                  <a:pt x="40769" y="16852"/>
                  <a:pt x="40769" y="16561"/>
                </a:cubicBezTo>
                <a:cubicBezTo>
                  <a:pt x="40384" y="16561"/>
                  <a:pt x="40000" y="15690"/>
                  <a:pt x="40000" y="15690"/>
                </a:cubicBezTo>
                <a:cubicBezTo>
                  <a:pt x="40000" y="14818"/>
                  <a:pt x="40000" y="14818"/>
                  <a:pt x="40000" y="14818"/>
                </a:cubicBezTo>
                <a:cubicBezTo>
                  <a:pt x="40769" y="14527"/>
                  <a:pt x="40769" y="14527"/>
                  <a:pt x="40769" y="14527"/>
                </a:cubicBezTo>
                <a:cubicBezTo>
                  <a:pt x="39615" y="13656"/>
                  <a:pt x="39615" y="13656"/>
                  <a:pt x="39615" y="13656"/>
                </a:cubicBezTo>
                <a:cubicBezTo>
                  <a:pt x="39615" y="13656"/>
                  <a:pt x="39615" y="12784"/>
                  <a:pt x="40000" y="12493"/>
                </a:cubicBezTo>
                <a:cubicBezTo>
                  <a:pt x="40384" y="12493"/>
                  <a:pt x="40384" y="11912"/>
                  <a:pt x="40384" y="11912"/>
                </a:cubicBezTo>
                <a:cubicBezTo>
                  <a:pt x="39230" y="11912"/>
                  <a:pt x="39230" y="11912"/>
                  <a:pt x="39230" y="11912"/>
                </a:cubicBezTo>
                <a:cubicBezTo>
                  <a:pt x="39230" y="11912"/>
                  <a:pt x="38846" y="11912"/>
                  <a:pt x="38846" y="11331"/>
                </a:cubicBezTo>
                <a:cubicBezTo>
                  <a:pt x="39230" y="10750"/>
                  <a:pt x="39230" y="10460"/>
                  <a:pt x="39230" y="10460"/>
                </a:cubicBezTo>
                <a:cubicBezTo>
                  <a:pt x="37692" y="10460"/>
                  <a:pt x="37692" y="10460"/>
                  <a:pt x="37692" y="10460"/>
                </a:cubicBezTo>
                <a:cubicBezTo>
                  <a:pt x="36923" y="10460"/>
                  <a:pt x="36923" y="10460"/>
                  <a:pt x="36923" y="10460"/>
                </a:cubicBezTo>
                <a:cubicBezTo>
                  <a:pt x="35769" y="9588"/>
                  <a:pt x="35769" y="9588"/>
                  <a:pt x="35769" y="9588"/>
                </a:cubicBezTo>
                <a:cubicBezTo>
                  <a:pt x="36153" y="8716"/>
                  <a:pt x="36153" y="8716"/>
                  <a:pt x="36153" y="8716"/>
                </a:cubicBezTo>
                <a:cubicBezTo>
                  <a:pt x="38461" y="8426"/>
                  <a:pt x="38461" y="8426"/>
                  <a:pt x="38461" y="8426"/>
                </a:cubicBezTo>
                <a:cubicBezTo>
                  <a:pt x="41153" y="7554"/>
                  <a:pt x="41153" y="7554"/>
                  <a:pt x="41153" y="7554"/>
                </a:cubicBezTo>
                <a:cubicBezTo>
                  <a:pt x="40769" y="6973"/>
                  <a:pt x="40769" y="6973"/>
                  <a:pt x="40769" y="6973"/>
                </a:cubicBezTo>
                <a:cubicBezTo>
                  <a:pt x="40000" y="7263"/>
                  <a:pt x="40000" y="7263"/>
                  <a:pt x="40000" y="7263"/>
                </a:cubicBezTo>
                <a:cubicBezTo>
                  <a:pt x="40000" y="7263"/>
                  <a:pt x="39615" y="7554"/>
                  <a:pt x="39615" y="7554"/>
                </a:cubicBezTo>
                <a:cubicBezTo>
                  <a:pt x="39230" y="7554"/>
                  <a:pt x="38461" y="7554"/>
                  <a:pt x="38461" y="7554"/>
                </a:cubicBezTo>
                <a:cubicBezTo>
                  <a:pt x="38461" y="6973"/>
                  <a:pt x="38461" y="6973"/>
                  <a:pt x="38461" y="6973"/>
                </a:cubicBezTo>
                <a:cubicBezTo>
                  <a:pt x="39615" y="6973"/>
                  <a:pt x="39615" y="6973"/>
                  <a:pt x="39615" y="6973"/>
                </a:cubicBezTo>
                <a:cubicBezTo>
                  <a:pt x="40384" y="6682"/>
                  <a:pt x="40384" y="6682"/>
                  <a:pt x="40384" y="6682"/>
                </a:cubicBezTo>
                <a:cubicBezTo>
                  <a:pt x="39615" y="6392"/>
                  <a:pt x="39615" y="6392"/>
                  <a:pt x="39615" y="6392"/>
                </a:cubicBezTo>
                <a:cubicBezTo>
                  <a:pt x="38461" y="5230"/>
                  <a:pt x="38461" y="5230"/>
                  <a:pt x="38461" y="5230"/>
                </a:cubicBezTo>
                <a:cubicBezTo>
                  <a:pt x="38076" y="4358"/>
                  <a:pt x="38076" y="4358"/>
                  <a:pt x="38076" y="4358"/>
                </a:cubicBezTo>
                <a:cubicBezTo>
                  <a:pt x="37307" y="4067"/>
                  <a:pt x="37307" y="4067"/>
                  <a:pt x="37307" y="4067"/>
                </a:cubicBezTo>
                <a:cubicBezTo>
                  <a:pt x="36538" y="3486"/>
                  <a:pt x="36538" y="3486"/>
                  <a:pt x="36538" y="3486"/>
                </a:cubicBezTo>
                <a:cubicBezTo>
                  <a:pt x="36538" y="2615"/>
                  <a:pt x="36538" y="2615"/>
                  <a:pt x="36538" y="2615"/>
                </a:cubicBezTo>
                <a:cubicBezTo>
                  <a:pt x="36153" y="290"/>
                  <a:pt x="36153" y="290"/>
                  <a:pt x="36153" y="290"/>
                </a:cubicBezTo>
                <a:cubicBezTo>
                  <a:pt x="37307" y="290"/>
                  <a:pt x="37307" y="290"/>
                  <a:pt x="37307" y="290"/>
                </a:cubicBezTo>
                <a:cubicBezTo>
                  <a:pt x="38076" y="0"/>
                  <a:pt x="38076" y="0"/>
                  <a:pt x="38076" y="0"/>
                </a:cubicBezTo>
                <a:cubicBezTo>
                  <a:pt x="38076" y="0"/>
                  <a:pt x="40000" y="581"/>
                  <a:pt x="40384" y="581"/>
                </a:cubicBezTo>
                <a:cubicBezTo>
                  <a:pt x="40769" y="581"/>
                  <a:pt x="41538" y="871"/>
                  <a:pt x="41538" y="871"/>
                </a:cubicBezTo>
                <a:cubicBezTo>
                  <a:pt x="43076" y="1452"/>
                  <a:pt x="43076" y="1452"/>
                  <a:pt x="43076" y="1452"/>
                </a:cubicBezTo>
                <a:cubicBezTo>
                  <a:pt x="44230" y="1743"/>
                  <a:pt x="44230" y="1743"/>
                  <a:pt x="44230" y="1743"/>
                </a:cubicBezTo>
                <a:cubicBezTo>
                  <a:pt x="44230" y="1743"/>
                  <a:pt x="44615" y="1743"/>
                  <a:pt x="44615" y="1743"/>
                </a:cubicBezTo>
                <a:cubicBezTo>
                  <a:pt x="45000" y="1743"/>
                  <a:pt x="45769" y="1452"/>
                  <a:pt x="45769" y="1452"/>
                </a:cubicBezTo>
                <a:cubicBezTo>
                  <a:pt x="45769" y="1452"/>
                  <a:pt x="46923" y="871"/>
                  <a:pt x="47307" y="871"/>
                </a:cubicBezTo>
                <a:cubicBezTo>
                  <a:pt x="47307" y="581"/>
                  <a:pt x="47692" y="581"/>
                  <a:pt x="47692" y="581"/>
                </a:cubicBezTo>
                <a:cubicBezTo>
                  <a:pt x="48461" y="1743"/>
                  <a:pt x="48461" y="1743"/>
                  <a:pt x="48461" y="1743"/>
                </a:cubicBezTo>
                <a:cubicBezTo>
                  <a:pt x="49230" y="1162"/>
                  <a:pt x="49230" y="1162"/>
                  <a:pt x="49230" y="1162"/>
                </a:cubicBezTo>
                <a:cubicBezTo>
                  <a:pt x="49615" y="581"/>
                  <a:pt x="49615" y="581"/>
                  <a:pt x="49615" y="581"/>
                </a:cubicBezTo>
                <a:cubicBezTo>
                  <a:pt x="52692" y="3196"/>
                  <a:pt x="52692" y="3196"/>
                  <a:pt x="52692" y="3196"/>
                </a:cubicBezTo>
                <a:cubicBezTo>
                  <a:pt x="53076" y="4358"/>
                  <a:pt x="53076" y="4358"/>
                  <a:pt x="53076" y="4358"/>
                </a:cubicBezTo>
                <a:cubicBezTo>
                  <a:pt x="53076" y="4358"/>
                  <a:pt x="53076" y="5230"/>
                  <a:pt x="53076" y="5230"/>
                </a:cubicBezTo>
                <a:cubicBezTo>
                  <a:pt x="52692" y="5230"/>
                  <a:pt x="52307" y="6392"/>
                  <a:pt x="52307" y="6392"/>
                </a:cubicBezTo>
                <a:cubicBezTo>
                  <a:pt x="52307" y="7263"/>
                  <a:pt x="52307" y="7263"/>
                  <a:pt x="52307" y="7263"/>
                </a:cubicBezTo>
                <a:cubicBezTo>
                  <a:pt x="53076" y="7554"/>
                  <a:pt x="53076" y="7554"/>
                  <a:pt x="53076" y="7554"/>
                </a:cubicBezTo>
                <a:cubicBezTo>
                  <a:pt x="54230" y="7554"/>
                  <a:pt x="54230" y="7554"/>
                  <a:pt x="54230" y="7554"/>
                </a:cubicBezTo>
                <a:cubicBezTo>
                  <a:pt x="55000" y="8135"/>
                  <a:pt x="55000" y="8135"/>
                  <a:pt x="55000" y="8135"/>
                </a:cubicBezTo>
                <a:cubicBezTo>
                  <a:pt x="55384" y="8426"/>
                  <a:pt x="55384" y="8426"/>
                  <a:pt x="55384" y="8426"/>
                </a:cubicBezTo>
                <a:cubicBezTo>
                  <a:pt x="56538" y="8426"/>
                  <a:pt x="56538" y="8426"/>
                  <a:pt x="56538" y="8426"/>
                </a:cubicBezTo>
                <a:cubicBezTo>
                  <a:pt x="56923" y="8135"/>
                  <a:pt x="56923" y="8135"/>
                  <a:pt x="56923" y="8135"/>
                </a:cubicBezTo>
                <a:cubicBezTo>
                  <a:pt x="58461" y="8426"/>
                  <a:pt x="58461" y="8426"/>
                  <a:pt x="58461" y="8426"/>
                </a:cubicBezTo>
                <a:cubicBezTo>
                  <a:pt x="59615" y="9007"/>
                  <a:pt x="59615" y="9007"/>
                  <a:pt x="59615" y="9007"/>
                </a:cubicBezTo>
                <a:cubicBezTo>
                  <a:pt x="60769" y="9588"/>
                  <a:pt x="60769" y="9588"/>
                  <a:pt x="60769" y="9588"/>
                </a:cubicBezTo>
                <a:cubicBezTo>
                  <a:pt x="62692" y="10169"/>
                  <a:pt x="62692" y="10169"/>
                  <a:pt x="62692" y="10169"/>
                </a:cubicBezTo>
                <a:cubicBezTo>
                  <a:pt x="63076" y="9297"/>
                  <a:pt x="63076" y="9297"/>
                  <a:pt x="63076" y="9297"/>
                </a:cubicBezTo>
                <a:cubicBezTo>
                  <a:pt x="63461" y="9007"/>
                  <a:pt x="63461" y="9007"/>
                  <a:pt x="63461" y="9007"/>
                </a:cubicBezTo>
                <a:cubicBezTo>
                  <a:pt x="64615" y="9007"/>
                  <a:pt x="64615" y="9007"/>
                  <a:pt x="64615" y="9007"/>
                </a:cubicBezTo>
                <a:cubicBezTo>
                  <a:pt x="65384" y="8716"/>
                  <a:pt x="65384" y="8716"/>
                  <a:pt x="65384" y="8716"/>
                </a:cubicBezTo>
                <a:cubicBezTo>
                  <a:pt x="65769" y="8426"/>
                  <a:pt x="65769" y="8426"/>
                  <a:pt x="65769" y="8426"/>
                </a:cubicBezTo>
                <a:cubicBezTo>
                  <a:pt x="64615" y="7554"/>
                  <a:pt x="64615" y="7554"/>
                  <a:pt x="64615" y="7554"/>
                </a:cubicBezTo>
                <a:cubicBezTo>
                  <a:pt x="64615" y="6682"/>
                  <a:pt x="64615" y="6682"/>
                  <a:pt x="64615" y="6682"/>
                </a:cubicBezTo>
                <a:cubicBezTo>
                  <a:pt x="64615" y="6682"/>
                  <a:pt x="65384" y="6101"/>
                  <a:pt x="65384" y="6101"/>
                </a:cubicBezTo>
                <a:cubicBezTo>
                  <a:pt x="65769" y="6101"/>
                  <a:pt x="67307" y="6392"/>
                  <a:pt x="67307" y="6392"/>
                </a:cubicBezTo>
                <a:cubicBezTo>
                  <a:pt x="67692" y="7263"/>
                  <a:pt x="67692" y="7263"/>
                  <a:pt x="67692" y="7263"/>
                </a:cubicBezTo>
                <a:cubicBezTo>
                  <a:pt x="68076" y="8135"/>
                  <a:pt x="68076" y="8135"/>
                  <a:pt x="68076" y="8135"/>
                </a:cubicBezTo>
                <a:cubicBezTo>
                  <a:pt x="66538" y="8426"/>
                  <a:pt x="66538" y="8426"/>
                  <a:pt x="66538" y="8426"/>
                </a:cubicBezTo>
                <a:cubicBezTo>
                  <a:pt x="66153" y="9007"/>
                  <a:pt x="66153" y="9007"/>
                  <a:pt x="66153" y="9007"/>
                </a:cubicBezTo>
                <a:cubicBezTo>
                  <a:pt x="66153" y="10169"/>
                  <a:pt x="66153" y="10169"/>
                  <a:pt x="66153" y="10169"/>
                </a:cubicBezTo>
                <a:cubicBezTo>
                  <a:pt x="66153" y="11331"/>
                  <a:pt x="66153" y="11331"/>
                  <a:pt x="66153" y="11331"/>
                </a:cubicBezTo>
                <a:cubicBezTo>
                  <a:pt x="66153" y="11331"/>
                  <a:pt x="66153" y="11912"/>
                  <a:pt x="65769" y="11912"/>
                </a:cubicBezTo>
                <a:cubicBezTo>
                  <a:pt x="65384" y="12203"/>
                  <a:pt x="64615" y="12203"/>
                  <a:pt x="64615" y="12203"/>
                </a:cubicBezTo>
                <a:cubicBezTo>
                  <a:pt x="64615" y="12784"/>
                  <a:pt x="64615" y="12784"/>
                  <a:pt x="64615" y="12784"/>
                </a:cubicBezTo>
                <a:cubicBezTo>
                  <a:pt x="63461" y="13365"/>
                  <a:pt x="63461" y="13365"/>
                  <a:pt x="63461" y="13365"/>
                </a:cubicBezTo>
                <a:cubicBezTo>
                  <a:pt x="62307" y="13365"/>
                  <a:pt x="62307" y="13365"/>
                  <a:pt x="62307" y="13365"/>
                </a:cubicBezTo>
                <a:cubicBezTo>
                  <a:pt x="61923" y="13656"/>
                  <a:pt x="61923" y="13656"/>
                  <a:pt x="61923" y="13656"/>
                </a:cubicBezTo>
                <a:cubicBezTo>
                  <a:pt x="62307" y="14527"/>
                  <a:pt x="62307" y="14527"/>
                  <a:pt x="62307" y="14527"/>
                </a:cubicBezTo>
                <a:cubicBezTo>
                  <a:pt x="63076" y="15108"/>
                  <a:pt x="63076" y="15108"/>
                  <a:pt x="63076" y="15108"/>
                </a:cubicBezTo>
                <a:cubicBezTo>
                  <a:pt x="64230" y="15399"/>
                  <a:pt x="64230" y="15399"/>
                  <a:pt x="64230" y="15399"/>
                </a:cubicBezTo>
                <a:cubicBezTo>
                  <a:pt x="65000" y="15108"/>
                  <a:pt x="65000" y="15108"/>
                  <a:pt x="65000" y="15108"/>
                </a:cubicBezTo>
                <a:cubicBezTo>
                  <a:pt x="65384" y="14527"/>
                  <a:pt x="65384" y="14527"/>
                  <a:pt x="65384" y="14527"/>
                </a:cubicBezTo>
                <a:cubicBezTo>
                  <a:pt x="66538" y="14237"/>
                  <a:pt x="66538" y="14237"/>
                  <a:pt x="66538" y="14237"/>
                </a:cubicBezTo>
                <a:cubicBezTo>
                  <a:pt x="68076" y="14818"/>
                  <a:pt x="68076" y="14818"/>
                  <a:pt x="68076" y="14818"/>
                </a:cubicBezTo>
                <a:cubicBezTo>
                  <a:pt x="68461" y="15399"/>
                  <a:pt x="68461" y="15399"/>
                  <a:pt x="68461" y="15399"/>
                </a:cubicBezTo>
                <a:cubicBezTo>
                  <a:pt x="68461" y="15399"/>
                  <a:pt x="70000" y="15399"/>
                  <a:pt x="70000" y="15399"/>
                </a:cubicBezTo>
                <a:cubicBezTo>
                  <a:pt x="70000" y="15399"/>
                  <a:pt x="70384" y="14527"/>
                  <a:pt x="70384" y="14527"/>
                </a:cubicBezTo>
                <a:cubicBezTo>
                  <a:pt x="70384" y="14527"/>
                  <a:pt x="70769" y="13946"/>
                  <a:pt x="71153" y="13946"/>
                </a:cubicBezTo>
                <a:cubicBezTo>
                  <a:pt x="71538" y="13946"/>
                  <a:pt x="71923" y="13365"/>
                  <a:pt x="72307" y="13365"/>
                </a:cubicBezTo>
                <a:cubicBezTo>
                  <a:pt x="72307" y="13075"/>
                  <a:pt x="72692" y="12493"/>
                  <a:pt x="72692" y="12493"/>
                </a:cubicBezTo>
                <a:cubicBezTo>
                  <a:pt x="72692" y="12493"/>
                  <a:pt x="73461" y="12203"/>
                  <a:pt x="73846" y="12203"/>
                </a:cubicBezTo>
                <a:cubicBezTo>
                  <a:pt x="74230" y="12203"/>
                  <a:pt x="76538" y="11912"/>
                  <a:pt x="76538" y="11912"/>
                </a:cubicBezTo>
                <a:cubicBezTo>
                  <a:pt x="76538" y="11912"/>
                  <a:pt x="78076" y="11622"/>
                  <a:pt x="78461" y="11331"/>
                </a:cubicBezTo>
                <a:cubicBezTo>
                  <a:pt x="78461" y="11331"/>
                  <a:pt x="80000" y="10460"/>
                  <a:pt x="80000" y="10460"/>
                </a:cubicBezTo>
                <a:cubicBezTo>
                  <a:pt x="80384" y="9588"/>
                  <a:pt x="80384" y="9588"/>
                  <a:pt x="80384" y="9588"/>
                </a:cubicBezTo>
                <a:cubicBezTo>
                  <a:pt x="81538" y="8716"/>
                  <a:pt x="81538" y="8716"/>
                  <a:pt x="81538" y="8716"/>
                </a:cubicBezTo>
                <a:cubicBezTo>
                  <a:pt x="81538" y="8716"/>
                  <a:pt x="81923" y="8716"/>
                  <a:pt x="81923" y="8426"/>
                </a:cubicBezTo>
                <a:cubicBezTo>
                  <a:pt x="81923" y="8135"/>
                  <a:pt x="82307" y="7263"/>
                  <a:pt x="82307" y="7263"/>
                </a:cubicBezTo>
                <a:cubicBezTo>
                  <a:pt x="83076" y="6973"/>
                  <a:pt x="83076" y="6973"/>
                  <a:pt x="83076" y="6973"/>
                </a:cubicBezTo>
                <a:cubicBezTo>
                  <a:pt x="83076" y="6973"/>
                  <a:pt x="83846" y="7263"/>
                  <a:pt x="83846" y="7554"/>
                </a:cubicBezTo>
                <a:cubicBezTo>
                  <a:pt x="83846" y="7554"/>
                  <a:pt x="83461" y="8135"/>
                  <a:pt x="83461" y="8135"/>
                </a:cubicBezTo>
                <a:cubicBezTo>
                  <a:pt x="83461" y="8135"/>
                  <a:pt x="82692" y="8426"/>
                  <a:pt x="82307" y="8716"/>
                </a:cubicBezTo>
                <a:cubicBezTo>
                  <a:pt x="82307" y="8716"/>
                  <a:pt x="82307" y="9297"/>
                  <a:pt x="82307" y="9297"/>
                </a:cubicBezTo>
                <a:cubicBezTo>
                  <a:pt x="83076" y="8716"/>
                  <a:pt x="83076" y="8716"/>
                  <a:pt x="83076" y="8716"/>
                </a:cubicBezTo>
                <a:cubicBezTo>
                  <a:pt x="83076" y="8716"/>
                  <a:pt x="83461" y="8426"/>
                  <a:pt x="83461" y="8426"/>
                </a:cubicBezTo>
                <a:cubicBezTo>
                  <a:pt x="83461" y="8426"/>
                  <a:pt x="85000" y="8135"/>
                  <a:pt x="85000" y="8135"/>
                </a:cubicBezTo>
                <a:cubicBezTo>
                  <a:pt x="85000" y="8135"/>
                  <a:pt x="85769" y="8426"/>
                  <a:pt x="85769" y="8426"/>
                </a:cubicBezTo>
                <a:cubicBezTo>
                  <a:pt x="85769" y="8426"/>
                  <a:pt x="86538" y="8716"/>
                  <a:pt x="86538" y="8716"/>
                </a:cubicBezTo>
                <a:cubicBezTo>
                  <a:pt x="88076" y="8426"/>
                  <a:pt x="88076" y="8426"/>
                  <a:pt x="88076" y="8426"/>
                </a:cubicBezTo>
                <a:cubicBezTo>
                  <a:pt x="88076" y="7845"/>
                  <a:pt x="88076" y="7845"/>
                  <a:pt x="88076" y="7845"/>
                </a:cubicBezTo>
                <a:cubicBezTo>
                  <a:pt x="88076" y="7845"/>
                  <a:pt x="88076" y="7554"/>
                  <a:pt x="88461" y="7554"/>
                </a:cubicBezTo>
                <a:cubicBezTo>
                  <a:pt x="88846" y="7263"/>
                  <a:pt x="89615" y="6973"/>
                  <a:pt x="89615" y="6973"/>
                </a:cubicBezTo>
                <a:cubicBezTo>
                  <a:pt x="89615" y="6973"/>
                  <a:pt x="89615" y="6392"/>
                  <a:pt x="89615" y="6101"/>
                </a:cubicBezTo>
                <a:cubicBezTo>
                  <a:pt x="89615" y="6101"/>
                  <a:pt x="90000" y="5520"/>
                  <a:pt x="90000" y="5520"/>
                </a:cubicBezTo>
                <a:cubicBezTo>
                  <a:pt x="90000" y="5520"/>
                  <a:pt x="90000" y="5520"/>
                  <a:pt x="90000" y="5520"/>
                </a:cubicBezTo>
                <a:cubicBezTo>
                  <a:pt x="90000" y="5520"/>
                  <a:pt x="90769" y="5230"/>
                  <a:pt x="90769" y="5230"/>
                </a:cubicBezTo>
                <a:cubicBezTo>
                  <a:pt x="90769" y="5230"/>
                  <a:pt x="91153" y="4358"/>
                  <a:pt x="91153" y="4358"/>
                </a:cubicBezTo>
                <a:cubicBezTo>
                  <a:pt x="91153" y="4358"/>
                  <a:pt x="91153" y="4067"/>
                  <a:pt x="91538" y="4067"/>
                </a:cubicBezTo>
                <a:cubicBezTo>
                  <a:pt x="91538" y="4067"/>
                  <a:pt x="92307" y="3486"/>
                  <a:pt x="92307" y="3486"/>
                </a:cubicBezTo>
                <a:cubicBezTo>
                  <a:pt x="92692" y="3196"/>
                  <a:pt x="92692" y="3196"/>
                  <a:pt x="93076" y="3196"/>
                </a:cubicBezTo>
                <a:cubicBezTo>
                  <a:pt x="93076" y="3196"/>
                  <a:pt x="93461" y="3777"/>
                  <a:pt x="93461" y="3777"/>
                </a:cubicBezTo>
                <a:cubicBezTo>
                  <a:pt x="93461" y="3777"/>
                  <a:pt x="93461" y="4067"/>
                  <a:pt x="93076" y="4358"/>
                </a:cubicBezTo>
                <a:cubicBezTo>
                  <a:pt x="92692" y="4358"/>
                  <a:pt x="92307" y="4648"/>
                  <a:pt x="92307" y="4648"/>
                </a:cubicBezTo>
                <a:cubicBezTo>
                  <a:pt x="92307" y="4648"/>
                  <a:pt x="93076" y="5230"/>
                  <a:pt x="93076" y="5230"/>
                </a:cubicBezTo>
                <a:cubicBezTo>
                  <a:pt x="93076" y="5230"/>
                  <a:pt x="93461" y="5520"/>
                  <a:pt x="93461" y="5520"/>
                </a:cubicBezTo>
                <a:cubicBezTo>
                  <a:pt x="93461" y="5811"/>
                  <a:pt x="93076" y="6101"/>
                  <a:pt x="93076" y="6101"/>
                </a:cubicBezTo>
                <a:cubicBezTo>
                  <a:pt x="93461" y="6101"/>
                  <a:pt x="94615" y="5811"/>
                  <a:pt x="94615" y="5811"/>
                </a:cubicBezTo>
                <a:cubicBezTo>
                  <a:pt x="94615" y="5811"/>
                  <a:pt x="94615" y="5230"/>
                  <a:pt x="94615" y="5230"/>
                </a:cubicBezTo>
                <a:cubicBezTo>
                  <a:pt x="94615" y="5230"/>
                  <a:pt x="95384" y="4648"/>
                  <a:pt x="95384" y="4648"/>
                </a:cubicBezTo>
                <a:cubicBezTo>
                  <a:pt x="95769" y="4648"/>
                  <a:pt x="96538" y="4939"/>
                  <a:pt x="96538" y="4939"/>
                </a:cubicBezTo>
                <a:cubicBezTo>
                  <a:pt x="96538" y="4939"/>
                  <a:pt x="96538" y="5230"/>
                  <a:pt x="96538" y="5520"/>
                </a:cubicBezTo>
                <a:cubicBezTo>
                  <a:pt x="96153" y="5520"/>
                  <a:pt x="95384" y="6101"/>
                  <a:pt x="95384" y="6101"/>
                </a:cubicBezTo>
                <a:cubicBezTo>
                  <a:pt x="95384" y="6392"/>
                  <a:pt x="95000" y="6392"/>
                  <a:pt x="95384" y="6392"/>
                </a:cubicBezTo>
                <a:cubicBezTo>
                  <a:pt x="95384" y="6682"/>
                  <a:pt x="96153" y="7263"/>
                  <a:pt x="96153" y="7263"/>
                </a:cubicBezTo>
                <a:cubicBezTo>
                  <a:pt x="97307" y="7845"/>
                  <a:pt x="97307" y="7845"/>
                  <a:pt x="97307" y="7845"/>
                </a:cubicBezTo>
                <a:cubicBezTo>
                  <a:pt x="97307" y="7845"/>
                  <a:pt x="97307" y="8135"/>
                  <a:pt x="97307" y="8426"/>
                </a:cubicBezTo>
                <a:cubicBezTo>
                  <a:pt x="97307" y="8426"/>
                  <a:pt x="95384" y="8426"/>
                  <a:pt x="95384" y="8426"/>
                </a:cubicBezTo>
                <a:cubicBezTo>
                  <a:pt x="95384" y="8426"/>
                  <a:pt x="95384" y="8426"/>
                  <a:pt x="95000" y="8716"/>
                </a:cubicBezTo>
                <a:cubicBezTo>
                  <a:pt x="95000" y="8716"/>
                  <a:pt x="94615" y="9007"/>
                  <a:pt x="93846" y="9297"/>
                </a:cubicBezTo>
                <a:cubicBezTo>
                  <a:pt x="93076" y="9297"/>
                  <a:pt x="93076" y="9297"/>
                  <a:pt x="93076" y="9588"/>
                </a:cubicBezTo>
                <a:cubicBezTo>
                  <a:pt x="93076" y="9878"/>
                  <a:pt x="92692" y="10169"/>
                  <a:pt x="93076" y="10460"/>
                </a:cubicBezTo>
                <a:cubicBezTo>
                  <a:pt x="93461" y="10750"/>
                  <a:pt x="94230" y="11041"/>
                  <a:pt x="94230" y="11041"/>
                </a:cubicBezTo>
                <a:cubicBezTo>
                  <a:pt x="94230" y="11041"/>
                  <a:pt x="96153" y="11622"/>
                  <a:pt x="96153" y="11331"/>
                </a:cubicBezTo>
                <a:cubicBezTo>
                  <a:pt x="96153" y="11331"/>
                  <a:pt x="98846" y="11331"/>
                  <a:pt x="98846" y="11331"/>
                </a:cubicBezTo>
                <a:cubicBezTo>
                  <a:pt x="100000" y="11331"/>
                  <a:pt x="100000" y="11331"/>
                  <a:pt x="100000" y="11331"/>
                </a:cubicBezTo>
                <a:cubicBezTo>
                  <a:pt x="100000" y="11331"/>
                  <a:pt x="100384" y="11912"/>
                  <a:pt x="100769" y="12203"/>
                </a:cubicBezTo>
                <a:cubicBezTo>
                  <a:pt x="100769" y="12203"/>
                  <a:pt x="102307" y="13075"/>
                  <a:pt x="102307" y="13075"/>
                </a:cubicBezTo>
                <a:cubicBezTo>
                  <a:pt x="103076" y="13075"/>
                  <a:pt x="103076" y="13075"/>
                  <a:pt x="103076" y="13075"/>
                </a:cubicBezTo>
                <a:cubicBezTo>
                  <a:pt x="103461" y="14237"/>
                  <a:pt x="103461" y="14237"/>
                  <a:pt x="103461" y="14237"/>
                </a:cubicBezTo>
                <a:cubicBezTo>
                  <a:pt x="103076" y="15108"/>
                  <a:pt x="103076" y="15108"/>
                  <a:pt x="103076" y="15108"/>
                </a:cubicBezTo>
                <a:cubicBezTo>
                  <a:pt x="101923" y="15399"/>
                  <a:pt x="101923" y="15399"/>
                  <a:pt x="101923" y="15399"/>
                </a:cubicBezTo>
                <a:cubicBezTo>
                  <a:pt x="100384" y="16271"/>
                  <a:pt x="100384" y="16271"/>
                  <a:pt x="100384" y="16271"/>
                </a:cubicBezTo>
                <a:cubicBezTo>
                  <a:pt x="99615" y="15980"/>
                  <a:pt x="99615" y="15980"/>
                  <a:pt x="99615" y="15980"/>
                </a:cubicBezTo>
                <a:cubicBezTo>
                  <a:pt x="99615" y="15980"/>
                  <a:pt x="100384" y="16561"/>
                  <a:pt x="100769" y="16561"/>
                </a:cubicBezTo>
                <a:cubicBezTo>
                  <a:pt x="101153" y="16561"/>
                  <a:pt x="101538" y="16852"/>
                  <a:pt x="101538" y="16852"/>
                </a:cubicBezTo>
                <a:cubicBezTo>
                  <a:pt x="101923" y="16852"/>
                  <a:pt x="103461" y="16852"/>
                  <a:pt x="105000" y="16852"/>
                </a:cubicBezTo>
                <a:cubicBezTo>
                  <a:pt x="105000" y="17142"/>
                  <a:pt x="105000" y="17142"/>
                  <a:pt x="105000" y="17433"/>
                </a:cubicBezTo>
                <a:cubicBezTo>
                  <a:pt x="105384" y="17723"/>
                  <a:pt x="105769" y="18886"/>
                  <a:pt x="105769" y="19176"/>
                </a:cubicBezTo>
                <a:cubicBezTo>
                  <a:pt x="105769" y="19176"/>
                  <a:pt x="106153" y="20338"/>
                  <a:pt x="106923" y="21210"/>
                </a:cubicBezTo>
                <a:cubicBezTo>
                  <a:pt x="108076" y="22372"/>
                  <a:pt x="107692" y="22663"/>
                  <a:pt x="107692" y="22663"/>
                </a:cubicBezTo>
                <a:cubicBezTo>
                  <a:pt x="107692" y="25278"/>
                  <a:pt x="107692" y="25278"/>
                  <a:pt x="107692" y="25278"/>
                </a:cubicBezTo>
                <a:cubicBezTo>
                  <a:pt x="107692" y="27602"/>
                  <a:pt x="107692" y="27602"/>
                  <a:pt x="107692" y="27602"/>
                </a:cubicBezTo>
                <a:cubicBezTo>
                  <a:pt x="105769" y="28765"/>
                  <a:pt x="105769" y="28765"/>
                  <a:pt x="105769" y="28765"/>
                </a:cubicBezTo>
                <a:cubicBezTo>
                  <a:pt x="105000" y="31380"/>
                  <a:pt x="105000" y="31380"/>
                  <a:pt x="105000" y="31380"/>
                </a:cubicBezTo>
                <a:cubicBezTo>
                  <a:pt x="105000" y="31380"/>
                  <a:pt x="105384" y="31670"/>
                  <a:pt x="105769" y="31670"/>
                </a:cubicBezTo>
                <a:cubicBezTo>
                  <a:pt x="106153" y="31961"/>
                  <a:pt x="107307" y="32832"/>
                  <a:pt x="107307" y="32832"/>
                </a:cubicBezTo>
                <a:cubicBezTo>
                  <a:pt x="107692" y="33123"/>
                  <a:pt x="110000" y="33995"/>
                  <a:pt x="111153" y="34285"/>
                </a:cubicBezTo>
                <a:cubicBezTo>
                  <a:pt x="112307" y="34866"/>
                  <a:pt x="111923" y="36319"/>
                  <a:pt x="111923" y="36319"/>
                </a:cubicBezTo>
                <a:cubicBezTo>
                  <a:pt x="111153" y="38353"/>
                  <a:pt x="111153" y="38353"/>
                  <a:pt x="111153" y="38353"/>
                </a:cubicBezTo>
                <a:cubicBezTo>
                  <a:pt x="111153" y="38353"/>
                  <a:pt x="111538" y="39515"/>
                  <a:pt x="112307" y="39515"/>
                </a:cubicBezTo>
                <a:cubicBezTo>
                  <a:pt x="112692" y="39225"/>
                  <a:pt x="113076" y="40968"/>
                  <a:pt x="113076" y="40968"/>
                </a:cubicBezTo>
                <a:cubicBezTo>
                  <a:pt x="113076" y="40968"/>
                  <a:pt x="113461" y="42711"/>
                  <a:pt x="113461" y="43002"/>
                </a:cubicBezTo>
                <a:cubicBezTo>
                  <a:pt x="113076" y="43292"/>
                  <a:pt x="113461" y="43583"/>
                  <a:pt x="113461" y="43583"/>
                </a:cubicBezTo>
                <a:cubicBezTo>
                  <a:pt x="114230" y="44745"/>
                  <a:pt x="114230" y="44745"/>
                  <a:pt x="114230" y="44745"/>
                </a:cubicBezTo>
                <a:cubicBezTo>
                  <a:pt x="114230" y="44745"/>
                  <a:pt x="113846" y="45617"/>
                  <a:pt x="113461" y="45907"/>
                </a:cubicBezTo>
                <a:cubicBezTo>
                  <a:pt x="113461" y="46489"/>
                  <a:pt x="113076" y="47070"/>
                  <a:pt x="113076" y="47070"/>
                </a:cubicBezTo>
                <a:cubicBezTo>
                  <a:pt x="113461" y="47941"/>
                  <a:pt x="113461" y="47941"/>
                  <a:pt x="113461" y="47941"/>
                </a:cubicBezTo>
                <a:cubicBezTo>
                  <a:pt x="115000" y="49394"/>
                  <a:pt x="115000" y="49394"/>
                  <a:pt x="115000" y="49394"/>
                </a:cubicBezTo>
                <a:cubicBezTo>
                  <a:pt x="115000" y="50847"/>
                  <a:pt x="115000" y="50847"/>
                  <a:pt x="115000" y="50847"/>
                </a:cubicBezTo>
                <a:cubicBezTo>
                  <a:pt x="115000" y="51719"/>
                  <a:pt x="115000" y="51719"/>
                  <a:pt x="115000" y="51719"/>
                </a:cubicBezTo>
                <a:cubicBezTo>
                  <a:pt x="115000" y="51719"/>
                  <a:pt x="116153" y="52009"/>
                  <a:pt x="116538" y="52009"/>
                </a:cubicBezTo>
                <a:cubicBezTo>
                  <a:pt x="116923" y="52009"/>
                  <a:pt x="117692" y="52590"/>
                  <a:pt x="117692" y="52590"/>
                </a:cubicBezTo>
                <a:cubicBezTo>
                  <a:pt x="117692" y="52590"/>
                  <a:pt x="117692" y="53171"/>
                  <a:pt x="117692" y="53462"/>
                </a:cubicBezTo>
                <a:cubicBezTo>
                  <a:pt x="117692" y="53462"/>
                  <a:pt x="118846" y="54624"/>
                  <a:pt x="118846" y="54624"/>
                </a:cubicBezTo>
                <a:cubicBezTo>
                  <a:pt x="119230" y="54915"/>
                  <a:pt x="120000" y="55786"/>
                  <a:pt x="120000" y="55786"/>
                </a:cubicBezTo>
                <a:cubicBezTo>
                  <a:pt x="120000" y="55786"/>
                  <a:pt x="120000" y="56368"/>
                  <a:pt x="118846" y="57239"/>
                </a:cubicBezTo>
                <a:cubicBezTo>
                  <a:pt x="118076" y="58111"/>
                  <a:pt x="118461" y="58111"/>
                  <a:pt x="118461" y="58401"/>
                </a:cubicBezTo>
                <a:cubicBezTo>
                  <a:pt x="118461" y="58692"/>
                  <a:pt x="118846" y="59273"/>
                  <a:pt x="118846" y="59273"/>
                </a:cubicBezTo>
                <a:cubicBezTo>
                  <a:pt x="118846" y="59273"/>
                  <a:pt x="118461" y="59564"/>
                  <a:pt x="118076" y="59854"/>
                </a:cubicBezTo>
                <a:cubicBezTo>
                  <a:pt x="118076" y="59854"/>
                  <a:pt x="117692" y="60435"/>
                  <a:pt x="117692" y="61016"/>
                </a:cubicBezTo>
                <a:cubicBezTo>
                  <a:pt x="116153" y="61888"/>
                  <a:pt x="116153" y="61888"/>
                  <a:pt x="116153" y="61888"/>
                </a:cubicBezTo>
                <a:cubicBezTo>
                  <a:pt x="116153" y="61888"/>
                  <a:pt x="116153" y="61888"/>
                  <a:pt x="115769" y="62179"/>
                </a:cubicBezTo>
                <a:cubicBezTo>
                  <a:pt x="115769" y="61888"/>
                  <a:pt x="115384" y="61888"/>
                  <a:pt x="115000" y="61888"/>
                </a:cubicBezTo>
                <a:cubicBezTo>
                  <a:pt x="114615" y="61598"/>
                  <a:pt x="114230" y="61307"/>
                  <a:pt x="114230" y="61307"/>
                </a:cubicBezTo>
                <a:cubicBezTo>
                  <a:pt x="114230" y="61307"/>
                  <a:pt x="114230" y="60726"/>
                  <a:pt x="114230" y="60145"/>
                </a:cubicBezTo>
                <a:cubicBezTo>
                  <a:pt x="114230" y="59564"/>
                  <a:pt x="114230" y="59854"/>
                  <a:pt x="114230" y="59564"/>
                </a:cubicBezTo>
                <a:cubicBezTo>
                  <a:pt x="113846" y="59273"/>
                  <a:pt x="113076" y="58983"/>
                  <a:pt x="112307" y="58692"/>
                </a:cubicBezTo>
                <a:cubicBezTo>
                  <a:pt x="111538" y="58692"/>
                  <a:pt x="110000" y="58692"/>
                  <a:pt x="109615" y="58983"/>
                </a:cubicBezTo>
                <a:cubicBezTo>
                  <a:pt x="109615" y="58983"/>
                  <a:pt x="109615" y="60145"/>
                  <a:pt x="109615" y="60145"/>
                </a:cubicBezTo>
                <a:cubicBezTo>
                  <a:pt x="110384" y="61016"/>
                  <a:pt x="110384" y="61016"/>
                  <a:pt x="110384" y="61016"/>
                </a:cubicBezTo>
                <a:cubicBezTo>
                  <a:pt x="110000" y="61598"/>
                  <a:pt x="110000" y="61598"/>
                  <a:pt x="110000" y="61598"/>
                </a:cubicBezTo>
                <a:cubicBezTo>
                  <a:pt x="110000" y="61598"/>
                  <a:pt x="106538" y="62179"/>
                  <a:pt x="105384" y="62179"/>
                </a:cubicBezTo>
                <a:cubicBezTo>
                  <a:pt x="104230" y="62179"/>
                  <a:pt x="104615" y="62760"/>
                  <a:pt x="104615" y="62760"/>
                </a:cubicBezTo>
                <a:cubicBezTo>
                  <a:pt x="103846" y="63922"/>
                  <a:pt x="103846" y="63922"/>
                  <a:pt x="103846" y="63922"/>
                </a:cubicBezTo>
                <a:cubicBezTo>
                  <a:pt x="103076" y="64503"/>
                  <a:pt x="103076" y="64503"/>
                  <a:pt x="103076" y="64503"/>
                </a:cubicBezTo>
                <a:cubicBezTo>
                  <a:pt x="100769" y="65084"/>
                  <a:pt x="100769" y="65084"/>
                  <a:pt x="100769" y="65084"/>
                </a:cubicBezTo>
                <a:cubicBezTo>
                  <a:pt x="100769" y="65084"/>
                  <a:pt x="98461" y="66537"/>
                  <a:pt x="98076" y="66537"/>
                </a:cubicBezTo>
                <a:cubicBezTo>
                  <a:pt x="96538" y="67409"/>
                  <a:pt x="96538" y="67409"/>
                  <a:pt x="96538" y="67409"/>
                </a:cubicBezTo>
                <a:cubicBezTo>
                  <a:pt x="96538" y="67409"/>
                  <a:pt x="96153" y="67409"/>
                  <a:pt x="95000" y="67990"/>
                </a:cubicBezTo>
                <a:cubicBezTo>
                  <a:pt x="93461" y="68280"/>
                  <a:pt x="94230" y="68861"/>
                  <a:pt x="93846" y="69152"/>
                </a:cubicBezTo>
                <a:cubicBezTo>
                  <a:pt x="93846" y="69733"/>
                  <a:pt x="93461" y="69733"/>
                  <a:pt x="92692" y="70024"/>
                </a:cubicBezTo>
                <a:cubicBezTo>
                  <a:pt x="92307" y="70024"/>
                  <a:pt x="91153" y="69733"/>
                  <a:pt x="90384" y="69733"/>
                </a:cubicBezTo>
                <a:cubicBezTo>
                  <a:pt x="90000" y="69733"/>
                  <a:pt x="88846" y="70314"/>
                  <a:pt x="88076" y="70314"/>
                </a:cubicBezTo>
                <a:cubicBezTo>
                  <a:pt x="86923" y="70314"/>
                  <a:pt x="86923" y="70314"/>
                  <a:pt x="86923" y="70314"/>
                </a:cubicBezTo>
                <a:cubicBezTo>
                  <a:pt x="85384" y="71767"/>
                  <a:pt x="85384" y="71767"/>
                  <a:pt x="85384" y="71767"/>
                </a:cubicBezTo>
                <a:cubicBezTo>
                  <a:pt x="84230" y="73510"/>
                  <a:pt x="84230" y="73510"/>
                  <a:pt x="84230" y="73510"/>
                </a:cubicBezTo>
                <a:cubicBezTo>
                  <a:pt x="83846" y="72639"/>
                  <a:pt x="83846" y="72639"/>
                  <a:pt x="83846" y="72639"/>
                </a:cubicBezTo>
                <a:cubicBezTo>
                  <a:pt x="83461" y="71476"/>
                  <a:pt x="83461" y="71476"/>
                  <a:pt x="83461" y="71476"/>
                </a:cubicBezTo>
                <a:cubicBezTo>
                  <a:pt x="81538" y="71476"/>
                  <a:pt x="81538" y="71476"/>
                  <a:pt x="81538" y="71476"/>
                </a:cubicBezTo>
                <a:cubicBezTo>
                  <a:pt x="81923" y="72348"/>
                  <a:pt x="81923" y="72348"/>
                  <a:pt x="81923" y="72348"/>
                </a:cubicBezTo>
                <a:cubicBezTo>
                  <a:pt x="81923" y="72348"/>
                  <a:pt x="82692" y="74382"/>
                  <a:pt x="83076" y="74673"/>
                </a:cubicBezTo>
                <a:cubicBezTo>
                  <a:pt x="83461" y="74963"/>
                  <a:pt x="83846" y="74963"/>
                  <a:pt x="84615" y="75254"/>
                </a:cubicBezTo>
                <a:cubicBezTo>
                  <a:pt x="85769" y="75835"/>
                  <a:pt x="85769" y="75835"/>
                  <a:pt x="86923" y="76416"/>
                </a:cubicBezTo>
                <a:cubicBezTo>
                  <a:pt x="88076" y="76997"/>
                  <a:pt x="87692" y="77578"/>
                  <a:pt x="87692" y="77869"/>
                </a:cubicBezTo>
                <a:cubicBezTo>
                  <a:pt x="87692" y="78450"/>
                  <a:pt x="87692" y="78450"/>
                  <a:pt x="86923" y="79031"/>
                </a:cubicBezTo>
                <a:cubicBezTo>
                  <a:pt x="86153" y="79903"/>
                  <a:pt x="86923" y="80484"/>
                  <a:pt x="86923" y="80484"/>
                </a:cubicBezTo>
                <a:cubicBezTo>
                  <a:pt x="86923" y="80484"/>
                  <a:pt x="87307" y="81065"/>
                  <a:pt x="88076" y="81646"/>
                </a:cubicBezTo>
                <a:cubicBezTo>
                  <a:pt x="88846" y="82227"/>
                  <a:pt x="88461" y="82518"/>
                  <a:pt x="88846" y="83389"/>
                </a:cubicBezTo>
                <a:cubicBezTo>
                  <a:pt x="88846" y="84261"/>
                  <a:pt x="88846" y="83970"/>
                  <a:pt x="89615" y="84842"/>
                </a:cubicBezTo>
                <a:cubicBezTo>
                  <a:pt x="90384" y="85423"/>
                  <a:pt x="90000" y="85133"/>
                  <a:pt x="90769" y="85714"/>
                </a:cubicBezTo>
                <a:cubicBezTo>
                  <a:pt x="91538" y="86295"/>
                  <a:pt x="91538" y="86585"/>
                  <a:pt x="91538" y="86585"/>
                </a:cubicBezTo>
                <a:cubicBezTo>
                  <a:pt x="91538" y="86585"/>
                  <a:pt x="93846" y="86004"/>
                  <a:pt x="94615" y="86585"/>
                </a:cubicBezTo>
                <a:cubicBezTo>
                  <a:pt x="95384" y="87167"/>
                  <a:pt x="95000" y="86876"/>
                  <a:pt x="96538" y="87748"/>
                </a:cubicBezTo>
                <a:cubicBezTo>
                  <a:pt x="97692" y="88910"/>
                  <a:pt x="96538" y="88329"/>
                  <a:pt x="96923" y="89200"/>
                </a:cubicBezTo>
                <a:cubicBezTo>
                  <a:pt x="97307" y="89782"/>
                  <a:pt x="97692" y="89491"/>
                  <a:pt x="97692" y="89491"/>
                </a:cubicBezTo>
                <a:cubicBezTo>
                  <a:pt x="97692" y="89491"/>
                  <a:pt x="98076" y="89782"/>
                  <a:pt x="98846" y="89782"/>
                </a:cubicBezTo>
                <a:cubicBezTo>
                  <a:pt x="99615" y="89782"/>
                  <a:pt x="99615" y="90363"/>
                  <a:pt x="99615" y="90944"/>
                </a:cubicBezTo>
                <a:cubicBezTo>
                  <a:pt x="100000" y="91525"/>
                  <a:pt x="100000" y="91525"/>
                  <a:pt x="100769" y="92106"/>
                </a:cubicBezTo>
                <a:cubicBezTo>
                  <a:pt x="101153" y="92397"/>
                  <a:pt x="101538" y="92106"/>
                  <a:pt x="102692" y="91815"/>
                </a:cubicBezTo>
                <a:cubicBezTo>
                  <a:pt x="103461" y="91815"/>
                  <a:pt x="103076" y="92397"/>
                  <a:pt x="103076" y="92687"/>
                </a:cubicBezTo>
                <a:cubicBezTo>
                  <a:pt x="103076" y="92978"/>
                  <a:pt x="103846" y="92978"/>
                  <a:pt x="104615" y="93268"/>
                </a:cubicBezTo>
                <a:cubicBezTo>
                  <a:pt x="105384" y="93559"/>
                  <a:pt x="105000" y="93559"/>
                  <a:pt x="105769" y="94140"/>
                </a:cubicBezTo>
                <a:cubicBezTo>
                  <a:pt x="105769" y="94140"/>
                  <a:pt x="105769" y="94140"/>
                  <a:pt x="105769" y="94430"/>
                </a:cubicBezTo>
                <a:close/>
                <a:moveTo>
                  <a:pt x="21153" y="114479"/>
                </a:moveTo>
                <a:cubicBezTo>
                  <a:pt x="21153" y="114479"/>
                  <a:pt x="21153" y="114479"/>
                  <a:pt x="21153" y="114479"/>
                </a:cubicBezTo>
                <a:cubicBezTo>
                  <a:pt x="21153" y="114479"/>
                  <a:pt x="21153" y="114479"/>
                  <a:pt x="21153" y="114479"/>
                </a:cubicBezTo>
                <a:cubicBezTo>
                  <a:pt x="21153" y="114479"/>
                  <a:pt x="21153" y="114479"/>
                  <a:pt x="21153" y="114479"/>
                </a:cubicBezTo>
                <a:close/>
                <a:moveTo>
                  <a:pt x="49230" y="116222"/>
                </a:move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ubicBezTo>
                  <a:pt x="49230" y="116222"/>
                  <a:pt x="49230" y="116222"/>
                  <a:pt x="49230" y="116222"/>
                </a:cubicBezTo>
                <a:close/>
                <a:moveTo>
                  <a:pt x="120000" y="59273"/>
                </a:moveTo>
                <a:cubicBezTo>
                  <a:pt x="120000" y="59273"/>
                  <a:pt x="120000" y="59273"/>
                  <a:pt x="120000" y="59273"/>
                </a:cubicBezTo>
                <a:cubicBezTo>
                  <a:pt x="120000" y="59273"/>
                  <a:pt x="120000" y="59273"/>
                  <a:pt x="120000" y="59273"/>
                </a:cubicBezTo>
                <a:cubicBezTo>
                  <a:pt x="120000" y="59273"/>
                  <a:pt x="120000" y="59273"/>
                  <a:pt x="120000" y="59273"/>
                </a:cubicBez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3044;p256">
            <a:extLst>
              <a:ext uri="{FF2B5EF4-FFF2-40B4-BE49-F238E27FC236}">
                <a16:creationId xmlns:a16="http://schemas.microsoft.com/office/drawing/2014/main" id="{1DDCF8B8-ACAA-5190-558C-3104F9B5126B}"/>
              </a:ext>
            </a:extLst>
          </p:cNvPr>
          <p:cNvSpPr/>
          <p:nvPr/>
        </p:nvSpPr>
        <p:spPr>
          <a:xfrm>
            <a:off x="8172927" y="4353710"/>
            <a:ext cx="1801417" cy="199225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1707" y="101818"/>
                </a:moveTo>
                <a:cubicBezTo>
                  <a:pt x="91951" y="103315"/>
                  <a:pt x="91951" y="103315"/>
                  <a:pt x="91951" y="103315"/>
                </a:cubicBezTo>
                <a:cubicBezTo>
                  <a:pt x="91951" y="103315"/>
                  <a:pt x="90487" y="105454"/>
                  <a:pt x="90487" y="105668"/>
                </a:cubicBezTo>
                <a:cubicBezTo>
                  <a:pt x="90487" y="105882"/>
                  <a:pt x="90000" y="106737"/>
                  <a:pt x="89512" y="107379"/>
                </a:cubicBezTo>
                <a:cubicBezTo>
                  <a:pt x="89268" y="107807"/>
                  <a:pt x="87804" y="109518"/>
                  <a:pt x="87804" y="109518"/>
                </a:cubicBezTo>
                <a:cubicBezTo>
                  <a:pt x="87804" y="109518"/>
                  <a:pt x="87804" y="110160"/>
                  <a:pt x="88292" y="110588"/>
                </a:cubicBezTo>
                <a:cubicBezTo>
                  <a:pt x="88536" y="111016"/>
                  <a:pt x="89268" y="111657"/>
                  <a:pt x="89268" y="112299"/>
                </a:cubicBezTo>
                <a:cubicBezTo>
                  <a:pt x="89268" y="112727"/>
                  <a:pt x="90487" y="113368"/>
                  <a:pt x="90487" y="113368"/>
                </a:cubicBezTo>
                <a:cubicBezTo>
                  <a:pt x="90731" y="114652"/>
                  <a:pt x="90731" y="114652"/>
                  <a:pt x="90731" y="114652"/>
                </a:cubicBezTo>
                <a:cubicBezTo>
                  <a:pt x="90731" y="114652"/>
                  <a:pt x="91463" y="115294"/>
                  <a:pt x="91463" y="115508"/>
                </a:cubicBezTo>
                <a:cubicBezTo>
                  <a:pt x="91219" y="115721"/>
                  <a:pt x="90000" y="116791"/>
                  <a:pt x="90000" y="116791"/>
                </a:cubicBezTo>
                <a:cubicBezTo>
                  <a:pt x="89756" y="118074"/>
                  <a:pt x="89756" y="118074"/>
                  <a:pt x="89756" y="118074"/>
                </a:cubicBezTo>
                <a:cubicBezTo>
                  <a:pt x="89756" y="118716"/>
                  <a:pt x="89756" y="118716"/>
                  <a:pt x="89756" y="118716"/>
                </a:cubicBezTo>
                <a:cubicBezTo>
                  <a:pt x="89756" y="118716"/>
                  <a:pt x="90000" y="118716"/>
                  <a:pt x="89756" y="119358"/>
                </a:cubicBezTo>
                <a:cubicBezTo>
                  <a:pt x="89512" y="119786"/>
                  <a:pt x="89512" y="119786"/>
                  <a:pt x="89268" y="119786"/>
                </a:cubicBezTo>
                <a:cubicBezTo>
                  <a:pt x="89024" y="120000"/>
                  <a:pt x="86585" y="119786"/>
                  <a:pt x="86585" y="119786"/>
                </a:cubicBezTo>
                <a:cubicBezTo>
                  <a:pt x="84146" y="119358"/>
                  <a:pt x="84146" y="119358"/>
                  <a:pt x="84146" y="119358"/>
                </a:cubicBezTo>
                <a:cubicBezTo>
                  <a:pt x="84146" y="119358"/>
                  <a:pt x="82926" y="119144"/>
                  <a:pt x="82439" y="118930"/>
                </a:cubicBezTo>
                <a:cubicBezTo>
                  <a:pt x="82195" y="118716"/>
                  <a:pt x="81707" y="118502"/>
                  <a:pt x="81707" y="118502"/>
                </a:cubicBezTo>
                <a:cubicBezTo>
                  <a:pt x="80975" y="116577"/>
                  <a:pt x="80975" y="116577"/>
                  <a:pt x="80975" y="116577"/>
                </a:cubicBezTo>
                <a:cubicBezTo>
                  <a:pt x="79024" y="116363"/>
                  <a:pt x="79024" y="116363"/>
                  <a:pt x="79024" y="116363"/>
                </a:cubicBezTo>
                <a:cubicBezTo>
                  <a:pt x="74146" y="115721"/>
                  <a:pt x="74146" y="115721"/>
                  <a:pt x="74146" y="115721"/>
                </a:cubicBezTo>
                <a:cubicBezTo>
                  <a:pt x="74146" y="115721"/>
                  <a:pt x="72439" y="114438"/>
                  <a:pt x="72195" y="114224"/>
                </a:cubicBezTo>
                <a:cubicBezTo>
                  <a:pt x="71707" y="114010"/>
                  <a:pt x="71219" y="113368"/>
                  <a:pt x="71219" y="113368"/>
                </a:cubicBezTo>
                <a:cubicBezTo>
                  <a:pt x="70243" y="113155"/>
                  <a:pt x="70243" y="113155"/>
                  <a:pt x="70243" y="113155"/>
                </a:cubicBezTo>
                <a:cubicBezTo>
                  <a:pt x="68292" y="111443"/>
                  <a:pt x="68292" y="111443"/>
                  <a:pt x="68292" y="111443"/>
                </a:cubicBezTo>
                <a:cubicBezTo>
                  <a:pt x="66341" y="111443"/>
                  <a:pt x="66341" y="111443"/>
                  <a:pt x="66341" y="111443"/>
                </a:cubicBezTo>
                <a:cubicBezTo>
                  <a:pt x="64878" y="110588"/>
                  <a:pt x="64878" y="110588"/>
                  <a:pt x="64878" y="110588"/>
                </a:cubicBezTo>
                <a:cubicBezTo>
                  <a:pt x="63170" y="110588"/>
                  <a:pt x="63170" y="110588"/>
                  <a:pt x="63170" y="110588"/>
                </a:cubicBezTo>
                <a:cubicBezTo>
                  <a:pt x="63170" y="110588"/>
                  <a:pt x="61951" y="110374"/>
                  <a:pt x="61951" y="110160"/>
                </a:cubicBezTo>
                <a:cubicBezTo>
                  <a:pt x="61707" y="109732"/>
                  <a:pt x="60243" y="109090"/>
                  <a:pt x="60243" y="109090"/>
                </a:cubicBezTo>
                <a:cubicBezTo>
                  <a:pt x="60243" y="109090"/>
                  <a:pt x="60243" y="107807"/>
                  <a:pt x="60243" y="107593"/>
                </a:cubicBezTo>
                <a:cubicBezTo>
                  <a:pt x="60243" y="107379"/>
                  <a:pt x="60487" y="105240"/>
                  <a:pt x="60487" y="105240"/>
                </a:cubicBezTo>
                <a:cubicBezTo>
                  <a:pt x="61463" y="104171"/>
                  <a:pt x="61463" y="104171"/>
                  <a:pt x="61463" y="104171"/>
                </a:cubicBezTo>
                <a:cubicBezTo>
                  <a:pt x="62926" y="103743"/>
                  <a:pt x="62926" y="103743"/>
                  <a:pt x="62926" y="103743"/>
                </a:cubicBezTo>
                <a:cubicBezTo>
                  <a:pt x="63414" y="104598"/>
                  <a:pt x="63414" y="104598"/>
                  <a:pt x="63414" y="104598"/>
                </a:cubicBezTo>
                <a:cubicBezTo>
                  <a:pt x="65121" y="105240"/>
                  <a:pt x="65121" y="105240"/>
                  <a:pt x="65121" y="105240"/>
                </a:cubicBezTo>
                <a:cubicBezTo>
                  <a:pt x="66097" y="104598"/>
                  <a:pt x="66097" y="104598"/>
                  <a:pt x="66097" y="104598"/>
                </a:cubicBezTo>
                <a:cubicBezTo>
                  <a:pt x="66585" y="103315"/>
                  <a:pt x="66585" y="103315"/>
                  <a:pt x="66585" y="103315"/>
                </a:cubicBezTo>
                <a:cubicBezTo>
                  <a:pt x="68048" y="102887"/>
                  <a:pt x="68048" y="102887"/>
                  <a:pt x="68048" y="102887"/>
                </a:cubicBezTo>
                <a:cubicBezTo>
                  <a:pt x="69756" y="103529"/>
                  <a:pt x="69756" y="103529"/>
                  <a:pt x="69756" y="103529"/>
                </a:cubicBezTo>
                <a:cubicBezTo>
                  <a:pt x="70975" y="104598"/>
                  <a:pt x="70975" y="104598"/>
                  <a:pt x="70975" y="104598"/>
                </a:cubicBezTo>
                <a:cubicBezTo>
                  <a:pt x="73414" y="105240"/>
                  <a:pt x="73414" y="105240"/>
                  <a:pt x="73414" y="105240"/>
                </a:cubicBezTo>
                <a:cubicBezTo>
                  <a:pt x="75609" y="104812"/>
                  <a:pt x="75609" y="104812"/>
                  <a:pt x="75609" y="104812"/>
                </a:cubicBezTo>
                <a:cubicBezTo>
                  <a:pt x="77560" y="104598"/>
                  <a:pt x="77560" y="104598"/>
                  <a:pt x="77560" y="104598"/>
                </a:cubicBezTo>
                <a:cubicBezTo>
                  <a:pt x="77560" y="104598"/>
                  <a:pt x="78536" y="104598"/>
                  <a:pt x="79024" y="104598"/>
                </a:cubicBezTo>
                <a:cubicBezTo>
                  <a:pt x="79268" y="104385"/>
                  <a:pt x="80731" y="103957"/>
                  <a:pt x="80731" y="103957"/>
                </a:cubicBezTo>
                <a:cubicBezTo>
                  <a:pt x="83170" y="103315"/>
                  <a:pt x="83170" y="103315"/>
                  <a:pt x="83170" y="103315"/>
                </a:cubicBezTo>
                <a:cubicBezTo>
                  <a:pt x="84634" y="101604"/>
                  <a:pt x="84634" y="101604"/>
                  <a:pt x="84634" y="101604"/>
                </a:cubicBezTo>
                <a:cubicBezTo>
                  <a:pt x="86585" y="102245"/>
                  <a:pt x="86585" y="102245"/>
                  <a:pt x="86585" y="102245"/>
                </a:cubicBezTo>
                <a:cubicBezTo>
                  <a:pt x="88292" y="102459"/>
                  <a:pt x="88292" y="102459"/>
                  <a:pt x="88292" y="102459"/>
                </a:cubicBezTo>
                <a:cubicBezTo>
                  <a:pt x="89024" y="101390"/>
                  <a:pt x="89024" y="101390"/>
                  <a:pt x="89024" y="101390"/>
                </a:cubicBezTo>
                <a:cubicBezTo>
                  <a:pt x="90731" y="100534"/>
                  <a:pt x="90731" y="100534"/>
                  <a:pt x="90731" y="100534"/>
                </a:cubicBezTo>
                <a:cubicBezTo>
                  <a:pt x="91707" y="101818"/>
                  <a:pt x="91707" y="101818"/>
                  <a:pt x="91707" y="101818"/>
                </a:cubicBezTo>
                <a:close/>
                <a:moveTo>
                  <a:pt x="94634" y="100320"/>
                </a:moveTo>
                <a:cubicBezTo>
                  <a:pt x="94634" y="100320"/>
                  <a:pt x="94634" y="100320"/>
                  <a:pt x="94634" y="100320"/>
                </a:cubicBezTo>
                <a:cubicBezTo>
                  <a:pt x="93658" y="101176"/>
                  <a:pt x="93658" y="101176"/>
                  <a:pt x="93658" y="101176"/>
                </a:cubicBezTo>
                <a:cubicBezTo>
                  <a:pt x="92682" y="101818"/>
                  <a:pt x="92682" y="101818"/>
                  <a:pt x="92682" y="101818"/>
                </a:cubicBezTo>
                <a:cubicBezTo>
                  <a:pt x="92682" y="101818"/>
                  <a:pt x="92926" y="102673"/>
                  <a:pt x="92926" y="103101"/>
                </a:cubicBezTo>
                <a:cubicBezTo>
                  <a:pt x="93170" y="103529"/>
                  <a:pt x="93902" y="104598"/>
                  <a:pt x="93902" y="104598"/>
                </a:cubicBezTo>
                <a:cubicBezTo>
                  <a:pt x="96341" y="104598"/>
                  <a:pt x="96341" y="104598"/>
                  <a:pt x="96341" y="104598"/>
                </a:cubicBezTo>
                <a:cubicBezTo>
                  <a:pt x="98048" y="103743"/>
                  <a:pt x="98048" y="103743"/>
                  <a:pt x="98048" y="103743"/>
                </a:cubicBezTo>
                <a:cubicBezTo>
                  <a:pt x="98292" y="102245"/>
                  <a:pt x="98292" y="102245"/>
                  <a:pt x="98292" y="102245"/>
                </a:cubicBezTo>
                <a:cubicBezTo>
                  <a:pt x="99024" y="100748"/>
                  <a:pt x="99024" y="100748"/>
                  <a:pt x="99024" y="100748"/>
                </a:cubicBezTo>
                <a:cubicBezTo>
                  <a:pt x="100487" y="99893"/>
                  <a:pt x="100487" y="99893"/>
                  <a:pt x="100487" y="99893"/>
                </a:cubicBezTo>
                <a:cubicBezTo>
                  <a:pt x="101707" y="98823"/>
                  <a:pt x="101707" y="98823"/>
                  <a:pt x="101707" y="98823"/>
                </a:cubicBezTo>
                <a:cubicBezTo>
                  <a:pt x="102439" y="97754"/>
                  <a:pt x="102439" y="97754"/>
                  <a:pt x="102439" y="97754"/>
                </a:cubicBezTo>
                <a:cubicBezTo>
                  <a:pt x="102682" y="94973"/>
                  <a:pt x="102682" y="94973"/>
                  <a:pt x="102682" y="94973"/>
                </a:cubicBezTo>
                <a:cubicBezTo>
                  <a:pt x="103414" y="92834"/>
                  <a:pt x="103414" y="92834"/>
                  <a:pt x="103414" y="92834"/>
                </a:cubicBezTo>
                <a:cubicBezTo>
                  <a:pt x="107317" y="91550"/>
                  <a:pt x="107317" y="91550"/>
                  <a:pt x="107317" y="91550"/>
                </a:cubicBezTo>
                <a:cubicBezTo>
                  <a:pt x="108048" y="91122"/>
                  <a:pt x="108048" y="91122"/>
                  <a:pt x="108048" y="91122"/>
                </a:cubicBezTo>
                <a:cubicBezTo>
                  <a:pt x="108048" y="91122"/>
                  <a:pt x="108048" y="90695"/>
                  <a:pt x="107804" y="90267"/>
                </a:cubicBezTo>
                <a:cubicBezTo>
                  <a:pt x="107804" y="90053"/>
                  <a:pt x="107073" y="89411"/>
                  <a:pt x="107073" y="89411"/>
                </a:cubicBezTo>
                <a:cubicBezTo>
                  <a:pt x="107073" y="89411"/>
                  <a:pt x="107317" y="88770"/>
                  <a:pt x="107317" y="88556"/>
                </a:cubicBezTo>
                <a:cubicBezTo>
                  <a:pt x="107317" y="88342"/>
                  <a:pt x="107073" y="86844"/>
                  <a:pt x="107073" y="86844"/>
                </a:cubicBezTo>
                <a:cubicBezTo>
                  <a:pt x="106585" y="85347"/>
                  <a:pt x="106585" y="85347"/>
                  <a:pt x="106585" y="85347"/>
                </a:cubicBezTo>
                <a:cubicBezTo>
                  <a:pt x="106585" y="85347"/>
                  <a:pt x="106097" y="85347"/>
                  <a:pt x="105365" y="84919"/>
                </a:cubicBezTo>
                <a:cubicBezTo>
                  <a:pt x="104634" y="84705"/>
                  <a:pt x="103414" y="84064"/>
                  <a:pt x="103414" y="84064"/>
                </a:cubicBezTo>
                <a:cubicBezTo>
                  <a:pt x="102195" y="83636"/>
                  <a:pt x="102195" y="83636"/>
                  <a:pt x="102195" y="83636"/>
                </a:cubicBezTo>
                <a:cubicBezTo>
                  <a:pt x="100731" y="83422"/>
                  <a:pt x="100731" y="83422"/>
                  <a:pt x="100731" y="83422"/>
                </a:cubicBezTo>
                <a:cubicBezTo>
                  <a:pt x="100243" y="82352"/>
                  <a:pt x="100243" y="82352"/>
                  <a:pt x="100243" y="82352"/>
                </a:cubicBezTo>
                <a:cubicBezTo>
                  <a:pt x="101219" y="79358"/>
                  <a:pt x="101219" y="79358"/>
                  <a:pt x="101219" y="79358"/>
                </a:cubicBezTo>
                <a:cubicBezTo>
                  <a:pt x="100487" y="77860"/>
                  <a:pt x="100487" y="77860"/>
                  <a:pt x="100487" y="77860"/>
                </a:cubicBezTo>
                <a:cubicBezTo>
                  <a:pt x="102682" y="75721"/>
                  <a:pt x="102682" y="75721"/>
                  <a:pt x="102682" y="75721"/>
                </a:cubicBezTo>
                <a:cubicBezTo>
                  <a:pt x="103658" y="74224"/>
                  <a:pt x="103658" y="74224"/>
                  <a:pt x="103658" y="74224"/>
                </a:cubicBezTo>
                <a:cubicBezTo>
                  <a:pt x="104878" y="73368"/>
                  <a:pt x="104878" y="73368"/>
                  <a:pt x="104878" y="73368"/>
                </a:cubicBezTo>
                <a:cubicBezTo>
                  <a:pt x="106829" y="73796"/>
                  <a:pt x="106829" y="73796"/>
                  <a:pt x="106829" y="73796"/>
                </a:cubicBezTo>
                <a:cubicBezTo>
                  <a:pt x="107560" y="74652"/>
                  <a:pt x="107560" y="74652"/>
                  <a:pt x="107560" y="74652"/>
                </a:cubicBezTo>
                <a:cubicBezTo>
                  <a:pt x="108780" y="74866"/>
                  <a:pt x="108780" y="74866"/>
                  <a:pt x="108780" y="74866"/>
                </a:cubicBezTo>
                <a:cubicBezTo>
                  <a:pt x="110975" y="74866"/>
                  <a:pt x="110975" y="74866"/>
                  <a:pt x="110975" y="74866"/>
                </a:cubicBezTo>
                <a:cubicBezTo>
                  <a:pt x="113414" y="75294"/>
                  <a:pt x="113414" y="75294"/>
                  <a:pt x="113414" y="75294"/>
                </a:cubicBezTo>
                <a:cubicBezTo>
                  <a:pt x="114390" y="76577"/>
                  <a:pt x="114390" y="76577"/>
                  <a:pt x="114390" y="76577"/>
                </a:cubicBezTo>
                <a:cubicBezTo>
                  <a:pt x="115365" y="78074"/>
                  <a:pt x="115365" y="78074"/>
                  <a:pt x="115365" y="78074"/>
                </a:cubicBezTo>
                <a:cubicBezTo>
                  <a:pt x="115365" y="78074"/>
                  <a:pt x="115853" y="78716"/>
                  <a:pt x="116097" y="78930"/>
                </a:cubicBezTo>
                <a:cubicBezTo>
                  <a:pt x="116097" y="78930"/>
                  <a:pt x="117073" y="79572"/>
                  <a:pt x="117317" y="79572"/>
                </a:cubicBezTo>
                <a:cubicBezTo>
                  <a:pt x="117560" y="79786"/>
                  <a:pt x="119024" y="80000"/>
                  <a:pt x="119024" y="80000"/>
                </a:cubicBezTo>
                <a:cubicBezTo>
                  <a:pt x="119024" y="80000"/>
                  <a:pt x="119024" y="78502"/>
                  <a:pt x="119268" y="78074"/>
                </a:cubicBezTo>
                <a:cubicBezTo>
                  <a:pt x="119512" y="77860"/>
                  <a:pt x="120000" y="77005"/>
                  <a:pt x="120000" y="76791"/>
                </a:cubicBezTo>
                <a:cubicBezTo>
                  <a:pt x="120000" y="76577"/>
                  <a:pt x="119512" y="75080"/>
                  <a:pt x="119512" y="75080"/>
                </a:cubicBezTo>
                <a:cubicBezTo>
                  <a:pt x="117804" y="73368"/>
                  <a:pt x="117804" y="73368"/>
                  <a:pt x="117804" y="73368"/>
                </a:cubicBezTo>
                <a:cubicBezTo>
                  <a:pt x="116097" y="72299"/>
                  <a:pt x="116097" y="72299"/>
                  <a:pt x="116097" y="72299"/>
                </a:cubicBezTo>
                <a:cubicBezTo>
                  <a:pt x="111951" y="69946"/>
                  <a:pt x="111951" y="69946"/>
                  <a:pt x="111951" y="69946"/>
                </a:cubicBezTo>
                <a:cubicBezTo>
                  <a:pt x="106097" y="68235"/>
                  <a:pt x="106097" y="68235"/>
                  <a:pt x="106097" y="68235"/>
                </a:cubicBezTo>
                <a:cubicBezTo>
                  <a:pt x="102195" y="66096"/>
                  <a:pt x="102195" y="66096"/>
                  <a:pt x="102195" y="66096"/>
                </a:cubicBezTo>
                <a:cubicBezTo>
                  <a:pt x="99024" y="65454"/>
                  <a:pt x="99024" y="65454"/>
                  <a:pt x="99024" y="65454"/>
                </a:cubicBezTo>
                <a:cubicBezTo>
                  <a:pt x="99024" y="65454"/>
                  <a:pt x="95609" y="63957"/>
                  <a:pt x="95365" y="63957"/>
                </a:cubicBezTo>
                <a:cubicBezTo>
                  <a:pt x="95121" y="63957"/>
                  <a:pt x="94390" y="63743"/>
                  <a:pt x="94390" y="63743"/>
                </a:cubicBezTo>
                <a:cubicBezTo>
                  <a:pt x="94390" y="63743"/>
                  <a:pt x="92439" y="63315"/>
                  <a:pt x="92439" y="63101"/>
                </a:cubicBezTo>
                <a:cubicBezTo>
                  <a:pt x="92195" y="62887"/>
                  <a:pt x="91951" y="62245"/>
                  <a:pt x="91707" y="62032"/>
                </a:cubicBezTo>
                <a:cubicBezTo>
                  <a:pt x="91707" y="61818"/>
                  <a:pt x="91951" y="61176"/>
                  <a:pt x="91951" y="61176"/>
                </a:cubicBezTo>
                <a:cubicBezTo>
                  <a:pt x="92926" y="60320"/>
                  <a:pt x="92926" y="60320"/>
                  <a:pt x="92926" y="60320"/>
                </a:cubicBezTo>
                <a:cubicBezTo>
                  <a:pt x="92926" y="60320"/>
                  <a:pt x="93902" y="59465"/>
                  <a:pt x="93902" y="59251"/>
                </a:cubicBezTo>
                <a:cubicBezTo>
                  <a:pt x="93902" y="59037"/>
                  <a:pt x="94146" y="57754"/>
                  <a:pt x="94146" y="57754"/>
                </a:cubicBezTo>
                <a:cubicBezTo>
                  <a:pt x="92926" y="57326"/>
                  <a:pt x="92926" y="57326"/>
                  <a:pt x="92926" y="57326"/>
                </a:cubicBezTo>
                <a:cubicBezTo>
                  <a:pt x="90000" y="57540"/>
                  <a:pt x="90000" y="57540"/>
                  <a:pt x="90000" y="57540"/>
                </a:cubicBezTo>
                <a:cubicBezTo>
                  <a:pt x="85365" y="57967"/>
                  <a:pt x="85365" y="57967"/>
                  <a:pt x="85365" y="57967"/>
                </a:cubicBezTo>
                <a:cubicBezTo>
                  <a:pt x="82926" y="57967"/>
                  <a:pt x="82926" y="57967"/>
                  <a:pt x="82926" y="57967"/>
                </a:cubicBezTo>
                <a:cubicBezTo>
                  <a:pt x="79756" y="56256"/>
                  <a:pt x="79756" y="56256"/>
                  <a:pt x="79756" y="56256"/>
                </a:cubicBezTo>
                <a:cubicBezTo>
                  <a:pt x="77073" y="54331"/>
                  <a:pt x="77073" y="54331"/>
                  <a:pt x="77073" y="54331"/>
                </a:cubicBezTo>
                <a:cubicBezTo>
                  <a:pt x="75365" y="53475"/>
                  <a:pt x="75365" y="53475"/>
                  <a:pt x="75365" y="53475"/>
                </a:cubicBezTo>
                <a:cubicBezTo>
                  <a:pt x="72926" y="51122"/>
                  <a:pt x="72926" y="51122"/>
                  <a:pt x="72926" y="51122"/>
                </a:cubicBezTo>
                <a:cubicBezTo>
                  <a:pt x="71707" y="49625"/>
                  <a:pt x="71707" y="49625"/>
                  <a:pt x="71707" y="49625"/>
                </a:cubicBezTo>
                <a:cubicBezTo>
                  <a:pt x="71707" y="49625"/>
                  <a:pt x="70975" y="47486"/>
                  <a:pt x="70731" y="46631"/>
                </a:cubicBezTo>
                <a:cubicBezTo>
                  <a:pt x="70487" y="45989"/>
                  <a:pt x="68536" y="43636"/>
                  <a:pt x="68536" y="43636"/>
                </a:cubicBezTo>
                <a:cubicBezTo>
                  <a:pt x="68536" y="43636"/>
                  <a:pt x="67560" y="41711"/>
                  <a:pt x="67560" y="41497"/>
                </a:cubicBezTo>
                <a:cubicBezTo>
                  <a:pt x="67560" y="41283"/>
                  <a:pt x="67073" y="39786"/>
                  <a:pt x="67073" y="39786"/>
                </a:cubicBezTo>
                <a:cubicBezTo>
                  <a:pt x="63902" y="38502"/>
                  <a:pt x="63902" y="38502"/>
                  <a:pt x="63902" y="38502"/>
                </a:cubicBezTo>
                <a:cubicBezTo>
                  <a:pt x="59756" y="36363"/>
                  <a:pt x="59756" y="36363"/>
                  <a:pt x="59756" y="36363"/>
                </a:cubicBezTo>
                <a:cubicBezTo>
                  <a:pt x="56341" y="34438"/>
                  <a:pt x="56341" y="34438"/>
                  <a:pt x="56341" y="34438"/>
                </a:cubicBezTo>
                <a:cubicBezTo>
                  <a:pt x="54634" y="32299"/>
                  <a:pt x="54634" y="32299"/>
                  <a:pt x="54634" y="32299"/>
                </a:cubicBezTo>
                <a:cubicBezTo>
                  <a:pt x="53170" y="28877"/>
                  <a:pt x="53170" y="28877"/>
                  <a:pt x="53170" y="28877"/>
                </a:cubicBezTo>
                <a:cubicBezTo>
                  <a:pt x="52926" y="26096"/>
                  <a:pt x="52926" y="26096"/>
                  <a:pt x="52926" y="26096"/>
                </a:cubicBezTo>
                <a:cubicBezTo>
                  <a:pt x="54634" y="25454"/>
                  <a:pt x="54634" y="25454"/>
                  <a:pt x="54634" y="25454"/>
                </a:cubicBezTo>
                <a:cubicBezTo>
                  <a:pt x="54634" y="24171"/>
                  <a:pt x="54634" y="24171"/>
                  <a:pt x="54634" y="24171"/>
                </a:cubicBezTo>
                <a:cubicBezTo>
                  <a:pt x="53170" y="23315"/>
                  <a:pt x="53170" y="23315"/>
                  <a:pt x="53170" y="23315"/>
                </a:cubicBezTo>
                <a:cubicBezTo>
                  <a:pt x="53170" y="22032"/>
                  <a:pt x="53170" y="22032"/>
                  <a:pt x="53170" y="22032"/>
                </a:cubicBezTo>
                <a:cubicBezTo>
                  <a:pt x="52439" y="21604"/>
                  <a:pt x="52439" y="21604"/>
                  <a:pt x="52439" y="21604"/>
                </a:cubicBezTo>
                <a:cubicBezTo>
                  <a:pt x="51463" y="20534"/>
                  <a:pt x="51463" y="20534"/>
                  <a:pt x="51463" y="20534"/>
                </a:cubicBezTo>
                <a:cubicBezTo>
                  <a:pt x="53414" y="19679"/>
                  <a:pt x="53414" y="19679"/>
                  <a:pt x="53414" y="19679"/>
                </a:cubicBezTo>
                <a:cubicBezTo>
                  <a:pt x="53414" y="19679"/>
                  <a:pt x="54146" y="18823"/>
                  <a:pt x="55121" y="18823"/>
                </a:cubicBezTo>
                <a:cubicBezTo>
                  <a:pt x="56097" y="18823"/>
                  <a:pt x="56829" y="17967"/>
                  <a:pt x="56829" y="17967"/>
                </a:cubicBezTo>
                <a:cubicBezTo>
                  <a:pt x="56829" y="17967"/>
                  <a:pt x="57560" y="17326"/>
                  <a:pt x="57804" y="17326"/>
                </a:cubicBezTo>
                <a:cubicBezTo>
                  <a:pt x="58292" y="17326"/>
                  <a:pt x="58780" y="17112"/>
                  <a:pt x="59268" y="16898"/>
                </a:cubicBezTo>
                <a:cubicBezTo>
                  <a:pt x="59512" y="16898"/>
                  <a:pt x="60243" y="16684"/>
                  <a:pt x="60243" y="16684"/>
                </a:cubicBezTo>
                <a:cubicBezTo>
                  <a:pt x="60243" y="16470"/>
                  <a:pt x="60487" y="14973"/>
                  <a:pt x="60731" y="14973"/>
                </a:cubicBezTo>
                <a:cubicBezTo>
                  <a:pt x="60975" y="14973"/>
                  <a:pt x="61463" y="15828"/>
                  <a:pt x="62195" y="15828"/>
                </a:cubicBezTo>
                <a:cubicBezTo>
                  <a:pt x="62439" y="15828"/>
                  <a:pt x="62926" y="16256"/>
                  <a:pt x="63170" y="16042"/>
                </a:cubicBezTo>
                <a:cubicBezTo>
                  <a:pt x="63658" y="15828"/>
                  <a:pt x="63902" y="15187"/>
                  <a:pt x="63902" y="15187"/>
                </a:cubicBezTo>
                <a:cubicBezTo>
                  <a:pt x="64146" y="14973"/>
                  <a:pt x="64390" y="14759"/>
                  <a:pt x="65121" y="14545"/>
                </a:cubicBezTo>
                <a:cubicBezTo>
                  <a:pt x="65121" y="14545"/>
                  <a:pt x="65121" y="14545"/>
                  <a:pt x="65121" y="14545"/>
                </a:cubicBezTo>
                <a:cubicBezTo>
                  <a:pt x="65121" y="14545"/>
                  <a:pt x="64634" y="14331"/>
                  <a:pt x="64634" y="14331"/>
                </a:cubicBezTo>
                <a:cubicBezTo>
                  <a:pt x="64634" y="14117"/>
                  <a:pt x="64634" y="14117"/>
                  <a:pt x="64878" y="13903"/>
                </a:cubicBezTo>
                <a:cubicBezTo>
                  <a:pt x="64878" y="13689"/>
                  <a:pt x="64878" y="13689"/>
                  <a:pt x="65121" y="13475"/>
                </a:cubicBezTo>
                <a:cubicBezTo>
                  <a:pt x="65121" y="13475"/>
                  <a:pt x="65121" y="13048"/>
                  <a:pt x="65121" y="13048"/>
                </a:cubicBezTo>
                <a:cubicBezTo>
                  <a:pt x="65121" y="13048"/>
                  <a:pt x="65365" y="12834"/>
                  <a:pt x="65121" y="12834"/>
                </a:cubicBezTo>
                <a:cubicBezTo>
                  <a:pt x="65121" y="12620"/>
                  <a:pt x="64878" y="12406"/>
                  <a:pt x="64878" y="12406"/>
                </a:cubicBezTo>
                <a:cubicBezTo>
                  <a:pt x="64878" y="12406"/>
                  <a:pt x="64878" y="12406"/>
                  <a:pt x="64634" y="12406"/>
                </a:cubicBezTo>
                <a:cubicBezTo>
                  <a:pt x="64634" y="12620"/>
                  <a:pt x="64634" y="12620"/>
                  <a:pt x="64634" y="12620"/>
                </a:cubicBezTo>
                <a:cubicBezTo>
                  <a:pt x="64146" y="12834"/>
                  <a:pt x="64146" y="12834"/>
                  <a:pt x="64146" y="12834"/>
                </a:cubicBezTo>
                <a:cubicBezTo>
                  <a:pt x="64146" y="12834"/>
                  <a:pt x="63902" y="12406"/>
                  <a:pt x="63902" y="12406"/>
                </a:cubicBezTo>
                <a:cubicBezTo>
                  <a:pt x="63658" y="12406"/>
                  <a:pt x="63658" y="12406"/>
                  <a:pt x="63658" y="12192"/>
                </a:cubicBezTo>
                <a:cubicBezTo>
                  <a:pt x="63658" y="12192"/>
                  <a:pt x="63902" y="11978"/>
                  <a:pt x="63902" y="11978"/>
                </a:cubicBezTo>
                <a:cubicBezTo>
                  <a:pt x="63902" y="11978"/>
                  <a:pt x="63658" y="11764"/>
                  <a:pt x="63658" y="11764"/>
                </a:cubicBezTo>
                <a:cubicBezTo>
                  <a:pt x="63658" y="11764"/>
                  <a:pt x="63902" y="11336"/>
                  <a:pt x="64146" y="11336"/>
                </a:cubicBezTo>
                <a:cubicBezTo>
                  <a:pt x="64390" y="11122"/>
                  <a:pt x="64878" y="10695"/>
                  <a:pt x="64878" y="10695"/>
                </a:cubicBezTo>
                <a:cubicBezTo>
                  <a:pt x="65121" y="10267"/>
                  <a:pt x="65121" y="10267"/>
                  <a:pt x="65121" y="10267"/>
                </a:cubicBezTo>
                <a:cubicBezTo>
                  <a:pt x="64878" y="10053"/>
                  <a:pt x="64878" y="10053"/>
                  <a:pt x="64878" y="10053"/>
                </a:cubicBezTo>
                <a:cubicBezTo>
                  <a:pt x="64878" y="10053"/>
                  <a:pt x="64634" y="10267"/>
                  <a:pt x="64634" y="10267"/>
                </a:cubicBezTo>
                <a:cubicBezTo>
                  <a:pt x="64146" y="10053"/>
                  <a:pt x="64146" y="10053"/>
                  <a:pt x="64146" y="10053"/>
                </a:cubicBezTo>
                <a:cubicBezTo>
                  <a:pt x="63658" y="9839"/>
                  <a:pt x="63658" y="9839"/>
                  <a:pt x="63658" y="9839"/>
                </a:cubicBezTo>
                <a:cubicBezTo>
                  <a:pt x="62926" y="9839"/>
                  <a:pt x="62926" y="9839"/>
                  <a:pt x="62926" y="9839"/>
                </a:cubicBezTo>
                <a:cubicBezTo>
                  <a:pt x="62439" y="9411"/>
                  <a:pt x="62439" y="9411"/>
                  <a:pt x="62439" y="9411"/>
                </a:cubicBezTo>
                <a:cubicBezTo>
                  <a:pt x="62682" y="8983"/>
                  <a:pt x="62682" y="8983"/>
                  <a:pt x="62682" y="8983"/>
                </a:cubicBezTo>
                <a:cubicBezTo>
                  <a:pt x="62682" y="8556"/>
                  <a:pt x="62682" y="8556"/>
                  <a:pt x="62682" y="8556"/>
                </a:cubicBezTo>
                <a:cubicBezTo>
                  <a:pt x="62682" y="8556"/>
                  <a:pt x="63170" y="8128"/>
                  <a:pt x="63170" y="8128"/>
                </a:cubicBezTo>
                <a:cubicBezTo>
                  <a:pt x="63414" y="7914"/>
                  <a:pt x="63902" y="7700"/>
                  <a:pt x="63902" y="7700"/>
                </a:cubicBezTo>
                <a:cubicBezTo>
                  <a:pt x="64146" y="7272"/>
                  <a:pt x="64146" y="7272"/>
                  <a:pt x="64146" y="7272"/>
                </a:cubicBezTo>
                <a:cubicBezTo>
                  <a:pt x="64146" y="7272"/>
                  <a:pt x="64390" y="7058"/>
                  <a:pt x="64634" y="7058"/>
                </a:cubicBezTo>
                <a:cubicBezTo>
                  <a:pt x="64878" y="7058"/>
                  <a:pt x="64878" y="7272"/>
                  <a:pt x="64878" y="7058"/>
                </a:cubicBezTo>
                <a:cubicBezTo>
                  <a:pt x="65121" y="7058"/>
                  <a:pt x="65121" y="6631"/>
                  <a:pt x="65121" y="6417"/>
                </a:cubicBezTo>
                <a:cubicBezTo>
                  <a:pt x="65121" y="5775"/>
                  <a:pt x="65121" y="5775"/>
                  <a:pt x="65121" y="5775"/>
                </a:cubicBezTo>
                <a:cubicBezTo>
                  <a:pt x="63902" y="5989"/>
                  <a:pt x="63902" y="5989"/>
                  <a:pt x="63902" y="5989"/>
                </a:cubicBezTo>
                <a:cubicBezTo>
                  <a:pt x="63902" y="5989"/>
                  <a:pt x="62682" y="5775"/>
                  <a:pt x="61951" y="5775"/>
                </a:cubicBezTo>
                <a:cubicBezTo>
                  <a:pt x="60975" y="5775"/>
                  <a:pt x="59024" y="5347"/>
                  <a:pt x="59024" y="5347"/>
                </a:cubicBezTo>
                <a:cubicBezTo>
                  <a:pt x="56585" y="4705"/>
                  <a:pt x="56585" y="4705"/>
                  <a:pt x="56585" y="4705"/>
                </a:cubicBezTo>
                <a:cubicBezTo>
                  <a:pt x="55121" y="4705"/>
                  <a:pt x="55121" y="4705"/>
                  <a:pt x="55121" y="4705"/>
                </a:cubicBezTo>
                <a:cubicBezTo>
                  <a:pt x="52926" y="4491"/>
                  <a:pt x="52926" y="4491"/>
                  <a:pt x="52926" y="4491"/>
                </a:cubicBezTo>
                <a:cubicBezTo>
                  <a:pt x="52926" y="4491"/>
                  <a:pt x="52682" y="4064"/>
                  <a:pt x="52439" y="3850"/>
                </a:cubicBezTo>
                <a:cubicBezTo>
                  <a:pt x="52439" y="3636"/>
                  <a:pt x="51707" y="3208"/>
                  <a:pt x="51707" y="3208"/>
                </a:cubicBezTo>
                <a:cubicBezTo>
                  <a:pt x="51707" y="2780"/>
                  <a:pt x="51707" y="2780"/>
                  <a:pt x="51707" y="2780"/>
                </a:cubicBezTo>
                <a:cubicBezTo>
                  <a:pt x="51219" y="1711"/>
                  <a:pt x="51219" y="1711"/>
                  <a:pt x="51219" y="1711"/>
                </a:cubicBezTo>
                <a:cubicBezTo>
                  <a:pt x="50731" y="855"/>
                  <a:pt x="50731" y="855"/>
                  <a:pt x="50731" y="855"/>
                </a:cubicBezTo>
                <a:cubicBezTo>
                  <a:pt x="51219" y="213"/>
                  <a:pt x="51219" y="213"/>
                  <a:pt x="51219" y="213"/>
                </a:cubicBezTo>
                <a:cubicBezTo>
                  <a:pt x="50731" y="0"/>
                  <a:pt x="50731" y="0"/>
                  <a:pt x="50731" y="0"/>
                </a:cubicBezTo>
                <a:cubicBezTo>
                  <a:pt x="50731" y="0"/>
                  <a:pt x="49756" y="213"/>
                  <a:pt x="49268" y="213"/>
                </a:cubicBezTo>
                <a:cubicBezTo>
                  <a:pt x="49024" y="427"/>
                  <a:pt x="47560" y="641"/>
                  <a:pt x="47560" y="641"/>
                </a:cubicBezTo>
                <a:cubicBezTo>
                  <a:pt x="47073" y="855"/>
                  <a:pt x="47073" y="855"/>
                  <a:pt x="47073" y="855"/>
                </a:cubicBezTo>
                <a:cubicBezTo>
                  <a:pt x="45121" y="855"/>
                  <a:pt x="45121" y="855"/>
                  <a:pt x="45121" y="855"/>
                </a:cubicBezTo>
                <a:cubicBezTo>
                  <a:pt x="43170" y="1069"/>
                  <a:pt x="43170" y="1069"/>
                  <a:pt x="43170" y="1069"/>
                </a:cubicBezTo>
                <a:cubicBezTo>
                  <a:pt x="42439" y="1497"/>
                  <a:pt x="42439" y="1497"/>
                  <a:pt x="42439" y="1497"/>
                </a:cubicBezTo>
                <a:cubicBezTo>
                  <a:pt x="40975" y="2139"/>
                  <a:pt x="40975" y="2139"/>
                  <a:pt x="40975" y="2139"/>
                </a:cubicBezTo>
                <a:cubicBezTo>
                  <a:pt x="40975" y="2994"/>
                  <a:pt x="40975" y="2994"/>
                  <a:pt x="40975" y="2994"/>
                </a:cubicBezTo>
                <a:cubicBezTo>
                  <a:pt x="40243" y="3850"/>
                  <a:pt x="40243" y="3850"/>
                  <a:pt x="40243" y="3850"/>
                </a:cubicBezTo>
                <a:cubicBezTo>
                  <a:pt x="39024" y="3850"/>
                  <a:pt x="39024" y="3850"/>
                  <a:pt x="39024" y="3850"/>
                </a:cubicBezTo>
                <a:cubicBezTo>
                  <a:pt x="37804" y="2994"/>
                  <a:pt x="37804" y="2994"/>
                  <a:pt x="37804" y="2994"/>
                </a:cubicBezTo>
                <a:cubicBezTo>
                  <a:pt x="37317" y="3422"/>
                  <a:pt x="37317" y="3422"/>
                  <a:pt x="37317" y="3422"/>
                </a:cubicBezTo>
                <a:cubicBezTo>
                  <a:pt x="36097" y="3208"/>
                  <a:pt x="36097" y="3208"/>
                  <a:pt x="36097" y="3208"/>
                </a:cubicBezTo>
                <a:cubicBezTo>
                  <a:pt x="35853" y="3208"/>
                  <a:pt x="35853" y="3208"/>
                  <a:pt x="35853" y="3208"/>
                </a:cubicBezTo>
                <a:cubicBezTo>
                  <a:pt x="35609" y="3208"/>
                  <a:pt x="35609" y="3208"/>
                  <a:pt x="35609" y="3208"/>
                </a:cubicBezTo>
                <a:cubicBezTo>
                  <a:pt x="35609" y="3208"/>
                  <a:pt x="35365" y="3422"/>
                  <a:pt x="35365" y="3422"/>
                </a:cubicBezTo>
                <a:cubicBezTo>
                  <a:pt x="35609" y="3850"/>
                  <a:pt x="35609" y="3850"/>
                  <a:pt x="35609" y="3850"/>
                </a:cubicBezTo>
                <a:cubicBezTo>
                  <a:pt x="35365" y="4064"/>
                  <a:pt x="35365" y="4064"/>
                  <a:pt x="35365" y="4064"/>
                </a:cubicBezTo>
                <a:cubicBezTo>
                  <a:pt x="35609" y="4491"/>
                  <a:pt x="35609" y="4491"/>
                  <a:pt x="35609" y="4491"/>
                </a:cubicBezTo>
                <a:cubicBezTo>
                  <a:pt x="35609" y="4491"/>
                  <a:pt x="35365" y="4705"/>
                  <a:pt x="35121" y="4919"/>
                </a:cubicBezTo>
                <a:cubicBezTo>
                  <a:pt x="34878" y="4919"/>
                  <a:pt x="35365" y="5347"/>
                  <a:pt x="35365" y="5347"/>
                </a:cubicBezTo>
                <a:cubicBezTo>
                  <a:pt x="35365" y="5347"/>
                  <a:pt x="35609" y="5347"/>
                  <a:pt x="36097" y="5561"/>
                </a:cubicBezTo>
                <a:cubicBezTo>
                  <a:pt x="36341" y="5775"/>
                  <a:pt x="36097" y="5775"/>
                  <a:pt x="36097" y="5775"/>
                </a:cubicBezTo>
                <a:cubicBezTo>
                  <a:pt x="36097" y="5989"/>
                  <a:pt x="36097" y="6203"/>
                  <a:pt x="35853" y="6203"/>
                </a:cubicBezTo>
                <a:cubicBezTo>
                  <a:pt x="35853" y="6417"/>
                  <a:pt x="35853" y="6417"/>
                  <a:pt x="35853" y="6417"/>
                </a:cubicBezTo>
                <a:cubicBezTo>
                  <a:pt x="35609" y="6417"/>
                  <a:pt x="35609" y="6417"/>
                  <a:pt x="35609" y="6417"/>
                </a:cubicBezTo>
                <a:cubicBezTo>
                  <a:pt x="35609" y="6417"/>
                  <a:pt x="34878" y="6631"/>
                  <a:pt x="34878" y="6417"/>
                </a:cubicBezTo>
                <a:cubicBezTo>
                  <a:pt x="34634" y="6417"/>
                  <a:pt x="34878" y="6417"/>
                  <a:pt x="34878" y="6417"/>
                </a:cubicBezTo>
                <a:cubicBezTo>
                  <a:pt x="34634" y="6417"/>
                  <a:pt x="34634" y="6417"/>
                  <a:pt x="34634" y="6417"/>
                </a:cubicBezTo>
                <a:cubicBezTo>
                  <a:pt x="34634" y="6417"/>
                  <a:pt x="33902" y="5989"/>
                  <a:pt x="33902" y="5989"/>
                </a:cubicBezTo>
                <a:cubicBezTo>
                  <a:pt x="33902" y="5775"/>
                  <a:pt x="33902" y="5775"/>
                  <a:pt x="33902" y="5775"/>
                </a:cubicBezTo>
                <a:cubicBezTo>
                  <a:pt x="33902" y="5775"/>
                  <a:pt x="33658" y="5561"/>
                  <a:pt x="33658" y="5561"/>
                </a:cubicBezTo>
                <a:cubicBezTo>
                  <a:pt x="33414" y="5561"/>
                  <a:pt x="33414" y="5775"/>
                  <a:pt x="33414" y="5775"/>
                </a:cubicBezTo>
                <a:cubicBezTo>
                  <a:pt x="33170" y="5775"/>
                  <a:pt x="32926" y="5775"/>
                  <a:pt x="32682" y="5775"/>
                </a:cubicBezTo>
                <a:cubicBezTo>
                  <a:pt x="32682" y="5775"/>
                  <a:pt x="32682" y="5989"/>
                  <a:pt x="32439" y="5989"/>
                </a:cubicBezTo>
                <a:cubicBezTo>
                  <a:pt x="32439" y="6203"/>
                  <a:pt x="32439" y="6203"/>
                  <a:pt x="32439" y="6417"/>
                </a:cubicBezTo>
                <a:cubicBezTo>
                  <a:pt x="32195" y="6417"/>
                  <a:pt x="32195" y="6631"/>
                  <a:pt x="32195" y="6631"/>
                </a:cubicBezTo>
                <a:cubicBezTo>
                  <a:pt x="32195" y="6844"/>
                  <a:pt x="32195" y="6844"/>
                  <a:pt x="32195" y="6844"/>
                </a:cubicBezTo>
                <a:cubicBezTo>
                  <a:pt x="31951" y="7272"/>
                  <a:pt x="31951" y="7272"/>
                  <a:pt x="31951" y="7272"/>
                </a:cubicBezTo>
                <a:cubicBezTo>
                  <a:pt x="32195" y="7272"/>
                  <a:pt x="32195" y="7272"/>
                  <a:pt x="32195" y="7272"/>
                </a:cubicBezTo>
                <a:cubicBezTo>
                  <a:pt x="32195" y="7272"/>
                  <a:pt x="32195" y="7700"/>
                  <a:pt x="32195" y="7700"/>
                </a:cubicBezTo>
                <a:cubicBezTo>
                  <a:pt x="32195" y="7914"/>
                  <a:pt x="32195" y="7914"/>
                  <a:pt x="32195" y="7914"/>
                </a:cubicBezTo>
                <a:cubicBezTo>
                  <a:pt x="32439" y="8128"/>
                  <a:pt x="32682" y="7914"/>
                  <a:pt x="32682" y="7914"/>
                </a:cubicBezTo>
                <a:cubicBezTo>
                  <a:pt x="32682" y="7914"/>
                  <a:pt x="32926" y="8128"/>
                  <a:pt x="32926" y="8342"/>
                </a:cubicBezTo>
                <a:cubicBezTo>
                  <a:pt x="33170" y="8342"/>
                  <a:pt x="32926" y="8556"/>
                  <a:pt x="32926" y="8556"/>
                </a:cubicBezTo>
                <a:cubicBezTo>
                  <a:pt x="32926" y="8556"/>
                  <a:pt x="32682" y="8770"/>
                  <a:pt x="32682" y="8770"/>
                </a:cubicBezTo>
                <a:cubicBezTo>
                  <a:pt x="32439" y="8770"/>
                  <a:pt x="32439" y="8770"/>
                  <a:pt x="32682" y="8983"/>
                </a:cubicBezTo>
                <a:cubicBezTo>
                  <a:pt x="32682" y="9197"/>
                  <a:pt x="32926" y="9197"/>
                  <a:pt x="32926" y="9197"/>
                </a:cubicBezTo>
                <a:cubicBezTo>
                  <a:pt x="33170" y="9197"/>
                  <a:pt x="33170" y="9839"/>
                  <a:pt x="33170" y="9839"/>
                </a:cubicBezTo>
                <a:cubicBezTo>
                  <a:pt x="33170" y="10053"/>
                  <a:pt x="32926" y="10267"/>
                  <a:pt x="32926" y="10267"/>
                </a:cubicBezTo>
                <a:cubicBezTo>
                  <a:pt x="32926" y="10267"/>
                  <a:pt x="32926" y="10267"/>
                  <a:pt x="32926" y="10267"/>
                </a:cubicBezTo>
                <a:cubicBezTo>
                  <a:pt x="32682" y="10267"/>
                  <a:pt x="32682" y="10267"/>
                  <a:pt x="32682" y="10481"/>
                </a:cubicBezTo>
                <a:cubicBezTo>
                  <a:pt x="32682" y="10481"/>
                  <a:pt x="32195" y="10481"/>
                  <a:pt x="32195" y="10481"/>
                </a:cubicBezTo>
                <a:cubicBezTo>
                  <a:pt x="32195" y="10481"/>
                  <a:pt x="32439" y="10053"/>
                  <a:pt x="32195" y="10053"/>
                </a:cubicBezTo>
                <a:cubicBezTo>
                  <a:pt x="32195" y="9839"/>
                  <a:pt x="31951" y="9839"/>
                  <a:pt x="31707" y="9625"/>
                </a:cubicBezTo>
                <a:cubicBezTo>
                  <a:pt x="31463" y="9197"/>
                  <a:pt x="31707" y="9197"/>
                  <a:pt x="31707" y="9197"/>
                </a:cubicBezTo>
                <a:cubicBezTo>
                  <a:pt x="31707" y="9197"/>
                  <a:pt x="31707" y="9197"/>
                  <a:pt x="31463" y="8983"/>
                </a:cubicBezTo>
                <a:cubicBezTo>
                  <a:pt x="31463" y="8770"/>
                  <a:pt x="31463" y="8556"/>
                  <a:pt x="31463" y="8556"/>
                </a:cubicBezTo>
                <a:cubicBezTo>
                  <a:pt x="31463" y="8556"/>
                  <a:pt x="30975" y="8556"/>
                  <a:pt x="30731" y="8556"/>
                </a:cubicBezTo>
                <a:cubicBezTo>
                  <a:pt x="30243" y="8556"/>
                  <a:pt x="30487" y="8770"/>
                  <a:pt x="30487" y="8770"/>
                </a:cubicBezTo>
                <a:cubicBezTo>
                  <a:pt x="30000" y="8770"/>
                  <a:pt x="30000" y="8770"/>
                  <a:pt x="30000" y="8770"/>
                </a:cubicBezTo>
                <a:cubicBezTo>
                  <a:pt x="30000" y="8770"/>
                  <a:pt x="29756" y="8983"/>
                  <a:pt x="29756" y="8983"/>
                </a:cubicBezTo>
                <a:cubicBezTo>
                  <a:pt x="29512" y="9197"/>
                  <a:pt x="29512" y="8983"/>
                  <a:pt x="29268" y="8983"/>
                </a:cubicBezTo>
                <a:cubicBezTo>
                  <a:pt x="29268" y="8983"/>
                  <a:pt x="29024" y="8983"/>
                  <a:pt x="29024" y="8983"/>
                </a:cubicBezTo>
                <a:cubicBezTo>
                  <a:pt x="29024" y="8983"/>
                  <a:pt x="28780" y="9197"/>
                  <a:pt x="29024" y="9411"/>
                </a:cubicBezTo>
                <a:cubicBezTo>
                  <a:pt x="29024" y="9625"/>
                  <a:pt x="29024" y="9625"/>
                  <a:pt x="28780" y="9625"/>
                </a:cubicBezTo>
                <a:cubicBezTo>
                  <a:pt x="28780" y="9839"/>
                  <a:pt x="28292" y="9625"/>
                  <a:pt x="27804" y="9625"/>
                </a:cubicBezTo>
                <a:cubicBezTo>
                  <a:pt x="27073" y="9625"/>
                  <a:pt x="27560" y="9411"/>
                  <a:pt x="27317" y="9411"/>
                </a:cubicBezTo>
                <a:cubicBezTo>
                  <a:pt x="27317" y="9197"/>
                  <a:pt x="26829" y="9197"/>
                  <a:pt x="26829" y="8983"/>
                </a:cubicBezTo>
                <a:cubicBezTo>
                  <a:pt x="26829" y="8556"/>
                  <a:pt x="26829" y="8556"/>
                  <a:pt x="26829" y="8342"/>
                </a:cubicBezTo>
                <a:cubicBezTo>
                  <a:pt x="26829" y="8128"/>
                  <a:pt x="26585" y="7914"/>
                  <a:pt x="26585" y="7914"/>
                </a:cubicBezTo>
                <a:cubicBezTo>
                  <a:pt x="26341" y="7700"/>
                  <a:pt x="26585" y="7486"/>
                  <a:pt x="26829" y="7486"/>
                </a:cubicBezTo>
                <a:cubicBezTo>
                  <a:pt x="26829" y="7272"/>
                  <a:pt x="26585" y="7272"/>
                  <a:pt x="26585" y="7272"/>
                </a:cubicBezTo>
                <a:cubicBezTo>
                  <a:pt x="26097" y="7486"/>
                  <a:pt x="26097" y="7486"/>
                  <a:pt x="26097" y="7486"/>
                </a:cubicBezTo>
                <a:cubicBezTo>
                  <a:pt x="25853" y="7486"/>
                  <a:pt x="25853" y="7486"/>
                  <a:pt x="25853" y="7486"/>
                </a:cubicBezTo>
                <a:cubicBezTo>
                  <a:pt x="25853" y="7486"/>
                  <a:pt x="25609" y="7272"/>
                  <a:pt x="25365" y="7272"/>
                </a:cubicBezTo>
                <a:cubicBezTo>
                  <a:pt x="25365" y="7058"/>
                  <a:pt x="25121" y="7272"/>
                  <a:pt x="25121" y="7272"/>
                </a:cubicBezTo>
                <a:cubicBezTo>
                  <a:pt x="24634" y="7700"/>
                  <a:pt x="24634" y="7700"/>
                  <a:pt x="24634" y="7700"/>
                </a:cubicBezTo>
                <a:cubicBezTo>
                  <a:pt x="24634" y="7914"/>
                  <a:pt x="24634" y="7914"/>
                  <a:pt x="24634" y="7914"/>
                </a:cubicBezTo>
                <a:cubicBezTo>
                  <a:pt x="24878" y="8342"/>
                  <a:pt x="24878" y="8342"/>
                  <a:pt x="24878" y="8342"/>
                </a:cubicBezTo>
                <a:cubicBezTo>
                  <a:pt x="24878" y="8770"/>
                  <a:pt x="24878" y="8770"/>
                  <a:pt x="24878" y="8770"/>
                </a:cubicBezTo>
                <a:cubicBezTo>
                  <a:pt x="24878" y="8770"/>
                  <a:pt x="24878" y="8983"/>
                  <a:pt x="24878" y="9197"/>
                </a:cubicBezTo>
                <a:cubicBezTo>
                  <a:pt x="24878" y="9197"/>
                  <a:pt x="24878" y="9411"/>
                  <a:pt x="24878" y="9411"/>
                </a:cubicBezTo>
                <a:cubicBezTo>
                  <a:pt x="24878" y="9625"/>
                  <a:pt x="24878" y="9625"/>
                  <a:pt x="24878" y="9625"/>
                </a:cubicBezTo>
                <a:cubicBezTo>
                  <a:pt x="24878" y="9625"/>
                  <a:pt x="24634" y="9839"/>
                  <a:pt x="24634" y="10053"/>
                </a:cubicBezTo>
                <a:cubicBezTo>
                  <a:pt x="24634" y="10053"/>
                  <a:pt x="24634" y="10267"/>
                  <a:pt x="24634" y="10481"/>
                </a:cubicBezTo>
                <a:cubicBezTo>
                  <a:pt x="24390" y="10695"/>
                  <a:pt x="24390" y="10695"/>
                  <a:pt x="24390" y="10695"/>
                </a:cubicBezTo>
                <a:cubicBezTo>
                  <a:pt x="24390" y="10695"/>
                  <a:pt x="24146" y="10909"/>
                  <a:pt x="24146" y="11122"/>
                </a:cubicBezTo>
                <a:cubicBezTo>
                  <a:pt x="24146" y="11122"/>
                  <a:pt x="23658" y="11122"/>
                  <a:pt x="23658" y="11122"/>
                </a:cubicBezTo>
                <a:cubicBezTo>
                  <a:pt x="23658" y="11122"/>
                  <a:pt x="23414" y="11550"/>
                  <a:pt x="23170" y="11550"/>
                </a:cubicBezTo>
                <a:cubicBezTo>
                  <a:pt x="23170" y="11550"/>
                  <a:pt x="23170" y="11978"/>
                  <a:pt x="23170" y="12192"/>
                </a:cubicBezTo>
                <a:cubicBezTo>
                  <a:pt x="23170" y="12192"/>
                  <a:pt x="23170" y="12406"/>
                  <a:pt x="23170" y="12406"/>
                </a:cubicBezTo>
                <a:cubicBezTo>
                  <a:pt x="22682" y="12620"/>
                  <a:pt x="22682" y="12620"/>
                  <a:pt x="22682" y="12620"/>
                </a:cubicBezTo>
                <a:cubicBezTo>
                  <a:pt x="22682" y="12620"/>
                  <a:pt x="22926" y="13048"/>
                  <a:pt x="22926" y="13048"/>
                </a:cubicBezTo>
                <a:cubicBezTo>
                  <a:pt x="22926" y="13262"/>
                  <a:pt x="22682" y="13262"/>
                  <a:pt x="22682" y="13262"/>
                </a:cubicBezTo>
                <a:cubicBezTo>
                  <a:pt x="22439" y="13475"/>
                  <a:pt x="22682" y="13475"/>
                  <a:pt x="22682" y="13689"/>
                </a:cubicBezTo>
                <a:cubicBezTo>
                  <a:pt x="22439" y="13903"/>
                  <a:pt x="22682" y="13903"/>
                  <a:pt x="22682" y="13903"/>
                </a:cubicBezTo>
                <a:cubicBezTo>
                  <a:pt x="22682" y="14117"/>
                  <a:pt x="23414" y="14331"/>
                  <a:pt x="23414" y="14331"/>
                </a:cubicBezTo>
                <a:cubicBezTo>
                  <a:pt x="23414" y="14331"/>
                  <a:pt x="23414" y="14331"/>
                  <a:pt x="23170" y="14545"/>
                </a:cubicBezTo>
                <a:cubicBezTo>
                  <a:pt x="22682" y="14759"/>
                  <a:pt x="22926" y="15187"/>
                  <a:pt x="22926" y="15187"/>
                </a:cubicBezTo>
                <a:cubicBezTo>
                  <a:pt x="22682" y="15401"/>
                  <a:pt x="22682" y="15401"/>
                  <a:pt x="22682" y="15401"/>
                </a:cubicBezTo>
                <a:cubicBezTo>
                  <a:pt x="22682" y="15401"/>
                  <a:pt x="22439" y="15187"/>
                  <a:pt x="22195" y="15187"/>
                </a:cubicBezTo>
                <a:cubicBezTo>
                  <a:pt x="22195" y="15187"/>
                  <a:pt x="22195" y="15187"/>
                  <a:pt x="21707" y="15187"/>
                </a:cubicBezTo>
                <a:cubicBezTo>
                  <a:pt x="21219" y="15187"/>
                  <a:pt x="21707" y="14973"/>
                  <a:pt x="21707" y="14973"/>
                </a:cubicBezTo>
                <a:cubicBezTo>
                  <a:pt x="21707" y="14973"/>
                  <a:pt x="21707" y="14545"/>
                  <a:pt x="21707" y="14331"/>
                </a:cubicBezTo>
                <a:cubicBezTo>
                  <a:pt x="21707" y="14331"/>
                  <a:pt x="21707" y="14331"/>
                  <a:pt x="21707" y="14331"/>
                </a:cubicBezTo>
                <a:cubicBezTo>
                  <a:pt x="21707" y="14331"/>
                  <a:pt x="21707" y="14117"/>
                  <a:pt x="21463" y="13903"/>
                </a:cubicBezTo>
                <a:cubicBezTo>
                  <a:pt x="21463" y="13689"/>
                  <a:pt x="21219" y="13689"/>
                  <a:pt x="21219" y="13689"/>
                </a:cubicBezTo>
                <a:cubicBezTo>
                  <a:pt x="20487" y="13262"/>
                  <a:pt x="20487" y="13262"/>
                  <a:pt x="20487" y="13262"/>
                </a:cubicBezTo>
                <a:cubicBezTo>
                  <a:pt x="20487" y="13262"/>
                  <a:pt x="20731" y="12834"/>
                  <a:pt x="20975" y="12620"/>
                </a:cubicBezTo>
                <a:cubicBezTo>
                  <a:pt x="20975" y="12620"/>
                  <a:pt x="20975" y="12620"/>
                  <a:pt x="20975" y="12620"/>
                </a:cubicBezTo>
                <a:cubicBezTo>
                  <a:pt x="20975" y="12620"/>
                  <a:pt x="20975" y="12620"/>
                  <a:pt x="21219" y="12406"/>
                </a:cubicBezTo>
                <a:cubicBezTo>
                  <a:pt x="21219" y="12192"/>
                  <a:pt x="20975" y="12192"/>
                  <a:pt x="20975" y="12192"/>
                </a:cubicBezTo>
                <a:cubicBezTo>
                  <a:pt x="20731" y="12192"/>
                  <a:pt x="20731" y="12192"/>
                  <a:pt x="20731" y="12192"/>
                </a:cubicBezTo>
                <a:cubicBezTo>
                  <a:pt x="20487" y="11978"/>
                  <a:pt x="20487" y="11978"/>
                  <a:pt x="20487" y="11978"/>
                </a:cubicBezTo>
                <a:cubicBezTo>
                  <a:pt x="20487" y="11978"/>
                  <a:pt x="20000" y="12192"/>
                  <a:pt x="20000" y="11978"/>
                </a:cubicBezTo>
                <a:cubicBezTo>
                  <a:pt x="19756" y="11978"/>
                  <a:pt x="19268" y="11978"/>
                  <a:pt x="19268" y="11764"/>
                </a:cubicBezTo>
                <a:cubicBezTo>
                  <a:pt x="19268" y="11764"/>
                  <a:pt x="19024" y="11764"/>
                  <a:pt x="18780" y="11764"/>
                </a:cubicBezTo>
                <a:cubicBezTo>
                  <a:pt x="18780" y="11764"/>
                  <a:pt x="18536" y="11764"/>
                  <a:pt x="18536" y="11764"/>
                </a:cubicBezTo>
                <a:cubicBezTo>
                  <a:pt x="18292" y="11550"/>
                  <a:pt x="18048" y="11336"/>
                  <a:pt x="18048" y="11336"/>
                </a:cubicBezTo>
                <a:cubicBezTo>
                  <a:pt x="18048" y="11122"/>
                  <a:pt x="17804" y="10909"/>
                  <a:pt x="17804" y="10909"/>
                </a:cubicBezTo>
                <a:cubicBezTo>
                  <a:pt x="17560" y="10909"/>
                  <a:pt x="17560" y="10909"/>
                  <a:pt x="17560" y="10909"/>
                </a:cubicBezTo>
                <a:cubicBezTo>
                  <a:pt x="17560" y="10909"/>
                  <a:pt x="17317" y="10481"/>
                  <a:pt x="17073" y="10481"/>
                </a:cubicBezTo>
                <a:cubicBezTo>
                  <a:pt x="17073" y="10481"/>
                  <a:pt x="17073" y="10267"/>
                  <a:pt x="17073" y="10267"/>
                </a:cubicBezTo>
                <a:cubicBezTo>
                  <a:pt x="16829" y="10053"/>
                  <a:pt x="16829" y="10053"/>
                  <a:pt x="16829" y="10053"/>
                </a:cubicBezTo>
                <a:cubicBezTo>
                  <a:pt x="16829" y="10053"/>
                  <a:pt x="16829" y="9839"/>
                  <a:pt x="16829" y="9625"/>
                </a:cubicBezTo>
                <a:cubicBezTo>
                  <a:pt x="16829" y="9625"/>
                  <a:pt x="17073" y="9197"/>
                  <a:pt x="17073" y="9197"/>
                </a:cubicBezTo>
                <a:cubicBezTo>
                  <a:pt x="17073" y="9197"/>
                  <a:pt x="16829" y="8770"/>
                  <a:pt x="16829" y="8556"/>
                </a:cubicBezTo>
                <a:cubicBezTo>
                  <a:pt x="16829" y="8342"/>
                  <a:pt x="17073" y="7914"/>
                  <a:pt x="17073" y="7914"/>
                </a:cubicBezTo>
                <a:cubicBezTo>
                  <a:pt x="17073" y="7914"/>
                  <a:pt x="16097" y="8128"/>
                  <a:pt x="15853" y="8342"/>
                </a:cubicBezTo>
                <a:cubicBezTo>
                  <a:pt x="15609" y="8342"/>
                  <a:pt x="15609" y="8556"/>
                  <a:pt x="15609" y="8556"/>
                </a:cubicBezTo>
                <a:cubicBezTo>
                  <a:pt x="15609" y="8556"/>
                  <a:pt x="15609" y="8770"/>
                  <a:pt x="15609" y="8983"/>
                </a:cubicBezTo>
                <a:cubicBezTo>
                  <a:pt x="15365" y="8983"/>
                  <a:pt x="15365" y="8983"/>
                  <a:pt x="15365" y="8983"/>
                </a:cubicBezTo>
                <a:cubicBezTo>
                  <a:pt x="15365" y="8983"/>
                  <a:pt x="14878" y="9411"/>
                  <a:pt x="14634" y="9411"/>
                </a:cubicBezTo>
                <a:cubicBezTo>
                  <a:pt x="14634" y="9625"/>
                  <a:pt x="14634" y="9625"/>
                  <a:pt x="14390" y="9625"/>
                </a:cubicBezTo>
                <a:cubicBezTo>
                  <a:pt x="14146" y="9625"/>
                  <a:pt x="13902" y="9839"/>
                  <a:pt x="13902" y="9839"/>
                </a:cubicBezTo>
                <a:cubicBezTo>
                  <a:pt x="13658" y="10053"/>
                  <a:pt x="13658" y="10053"/>
                  <a:pt x="13658" y="10053"/>
                </a:cubicBezTo>
                <a:cubicBezTo>
                  <a:pt x="13902" y="10267"/>
                  <a:pt x="13902" y="10267"/>
                  <a:pt x="13902" y="10267"/>
                </a:cubicBezTo>
                <a:cubicBezTo>
                  <a:pt x="14146" y="10909"/>
                  <a:pt x="14146" y="10909"/>
                  <a:pt x="14146" y="10909"/>
                </a:cubicBezTo>
                <a:cubicBezTo>
                  <a:pt x="13902" y="11336"/>
                  <a:pt x="13902" y="11336"/>
                  <a:pt x="13902" y="11336"/>
                </a:cubicBezTo>
                <a:cubicBezTo>
                  <a:pt x="13902" y="11336"/>
                  <a:pt x="13902" y="11336"/>
                  <a:pt x="13902" y="11550"/>
                </a:cubicBezTo>
                <a:cubicBezTo>
                  <a:pt x="13658" y="11978"/>
                  <a:pt x="13658" y="11978"/>
                  <a:pt x="13658" y="11978"/>
                </a:cubicBezTo>
                <a:cubicBezTo>
                  <a:pt x="13414" y="12192"/>
                  <a:pt x="13414" y="12192"/>
                  <a:pt x="13414" y="12192"/>
                </a:cubicBezTo>
                <a:cubicBezTo>
                  <a:pt x="13170" y="12406"/>
                  <a:pt x="13170" y="12406"/>
                  <a:pt x="13170" y="12406"/>
                </a:cubicBezTo>
                <a:cubicBezTo>
                  <a:pt x="13170" y="12406"/>
                  <a:pt x="13170" y="12620"/>
                  <a:pt x="13170" y="12834"/>
                </a:cubicBezTo>
                <a:cubicBezTo>
                  <a:pt x="13170" y="12834"/>
                  <a:pt x="13170" y="13048"/>
                  <a:pt x="12926" y="13262"/>
                </a:cubicBezTo>
                <a:cubicBezTo>
                  <a:pt x="12682" y="13475"/>
                  <a:pt x="12682" y="13475"/>
                  <a:pt x="12682" y="13475"/>
                </a:cubicBezTo>
                <a:cubicBezTo>
                  <a:pt x="12682" y="13475"/>
                  <a:pt x="12439" y="13475"/>
                  <a:pt x="12195" y="13475"/>
                </a:cubicBezTo>
                <a:cubicBezTo>
                  <a:pt x="11951" y="13475"/>
                  <a:pt x="11951" y="13689"/>
                  <a:pt x="11707" y="13689"/>
                </a:cubicBezTo>
                <a:cubicBezTo>
                  <a:pt x="11219" y="13689"/>
                  <a:pt x="11463" y="13903"/>
                  <a:pt x="11463" y="14117"/>
                </a:cubicBezTo>
                <a:cubicBezTo>
                  <a:pt x="11463" y="14117"/>
                  <a:pt x="11463" y="14117"/>
                  <a:pt x="11463" y="14331"/>
                </a:cubicBezTo>
                <a:cubicBezTo>
                  <a:pt x="11219" y="14331"/>
                  <a:pt x="10731" y="14331"/>
                  <a:pt x="10731" y="14117"/>
                </a:cubicBezTo>
                <a:cubicBezTo>
                  <a:pt x="10487" y="14117"/>
                  <a:pt x="10487" y="14117"/>
                  <a:pt x="10243" y="14117"/>
                </a:cubicBezTo>
                <a:cubicBezTo>
                  <a:pt x="10243" y="14331"/>
                  <a:pt x="10000" y="13903"/>
                  <a:pt x="10000" y="13903"/>
                </a:cubicBezTo>
                <a:cubicBezTo>
                  <a:pt x="10000" y="13903"/>
                  <a:pt x="9756" y="13689"/>
                  <a:pt x="9756" y="13689"/>
                </a:cubicBezTo>
                <a:cubicBezTo>
                  <a:pt x="9756" y="13475"/>
                  <a:pt x="9268" y="13689"/>
                  <a:pt x="9268" y="13689"/>
                </a:cubicBezTo>
                <a:cubicBezTo>
                  <a:pt x="9024" y="13475"/>
                  <a:pt x="8536" y="13475"/>
                  <a:pt x="8536" y="13475"/>
                </a:cubicBezTo>
                <a:cubicBezTo>
                  <a:pt x="8292" y="13475"/>
                  <a:pt x="8536" y="13689"/>
                  <a:pt x="8536" y="13689"/>
                </a:cubicBezTo>
                <a:cubicBezTo>
                  <a:pt x="8536" y="13689"/>
                  <a:pt x="8292" y="13689"/>
                  <a:pt x="8048" y="13689"/>
                </a:cubicBezTo>
                <a:cubicBezTo>
                  <a:pt x="7804" y="13689"/>
                  <a:pt x="7804" y="13903"/>
                  <a:pt x="7804" y="13903"/>
                </a:cubicBezTo>
                <a:cubicBezTo>
                  <a:pt x="7804" y="14331"/>
                  <a:pt x="7804" y="14331"/>
                  <a:pt x="7804" y="14331"/>
                </a:cubicBezTo>
                <a:cubicBezTo>
                  <a:pt x="7804" y="14331"/>
                  <a:pt x="7073" y="14331"/>
                  <a:pt x="6829" y="14331"/>
                </a:cubicBezTo>
                <a:cubicBezTo>
                  <a:pt x="6585" y="14331"/>
                  <a:pt x="6341" y="14117"/>
                  <a:pt x="6097" y="14117"/>
                </a:cubicBezTo>
                <a:cubicBezTo>
                  <a:pt x="5853" y="14117"/>
                  <a:pt x="5609" y="14331"/>
                  <a:pt x="5609" y="14331"/>
                </a:cubicBezTo>
                <a:cubicBezTo>
                  <a:pt x="5609" y="14331"/>
                  <a:pt x="5121" y="14545"/>
                  <a:pt x="5121" y="14545"/>
                </a:cubicBezTo>
                <a:cubicBezTo>
                  <a:pt x="5121" y="14545"/>
                  <a:pt x="4878" y="14759"/>
                  <a:pt x="4634" y="14759"/>
                </a:cubicBezTo>
                <a:cubicBezTo>
                  <a:pt x="4390" y="14759"/>
                  <a:pt x="4390" y="14545"/>
                  <a:pt x="4390" y="14545"/>
                </a:cubicBezTo>
                <a:cubicBezTo>
                  <a:pt x="4390" y="14545"/>
                  <a:pt x="3902" y="14117"/>
                  <a:pt x="3902" y="14117"/>
                </a:cubicBezTo>
                <a:cubicBezTo>
                  <a:pt x="3902" y="14117"/>
                  <a:pt x="3902" y="14117"/>
                  <a:pt x="3902" y="14117"/>
                </a:cubicBezTo>
                <a:cubicBezTo>
                  <a:pt x="2926" y="14545"/>
                  <a:pt x="2926" y="14545"/>
                  <a:pt x="2926" y="14545"/>
                </a:cubicBezTo>
                <a:cubicBezTo>
                  <a:pt x="1707" y="15401"/>
                  <a:pt x="1707" y="15401"/>
                  <a:pt x="1707" y="15401"/>
                </a:cubicBezTo>
                <a:cubicBezTo>
                  <a:pt x="1707" y="16470"/>
                  <a:pt x="1707" y="16470"/>
                  <a:pt x="1707" y="16470"/>
                </a:cubicBezTo>
                <a:cubicBezTo>
                  <a:pt x="2682" y="16898"/>
                  <a:pt x="2195" y="17326"/>
                  <a:pt x="4390" y="18181"/>
                </a:cubicBezTo>
                <a:cubicBezTo>
                  <a:pt x="4634" y="18181"/>
                  <a:pt x="5121" y="19251"/>
                  <a:pt x="5121" y="19251"/>
                </a:cubicBezTo>
                <a:cubicBezTo>
                  <a:pt x="5121" y="19465"/>
                  <a:pt x="4634" y="21176"/>
                  <a:pt x="4390" y="21390"/>
                </a:cubicBezTo>
                <a:cubicBezTo>
                  <a:pt x="3902" y="21604"/>
                  <a:pt x="3414" y="22459"/>
                  <a:pt x="3414" y="22459"/>
                </a:cubicBezTo>
                <a:cubicBezTo>
                  <a:pt x="3414" y="22459"/>
                  <a:pt x="2439" y="23315"/>
                  <a:pt x="2195" y="23315"/>
                </a:cubicBezTo>
                <a:cubicBezTo>
                  <a:pt x="1951" y="23315"/>
                  <a:pt x="1219" y="23529"/>
                  <a:pt x="975" y="23529"/>
                </a:cubicBezTo>
                <a:cubicBezTo>
                  <a:pt x="975" y="23529"/>
                  <a:pt x="0" y="23529"/>
                  <a:pt x="243" y="23743"/>
                </a:cubicBezTo>
                <a:cubicBezTo>
                  <a:pt x="243" y="23743"/>
                  <a:pt x="243" y="24171"/>
                  <a:pt x="243" y="24171"/>
                </a:cubicBezTo>
                <a:cubicBezTo>
                  <a:pt x="487" y="24385"/>
                  <a:pt x="1219" y="25240"/>
                  <a:pt x="1219" y="25240"/>
                </a:cubicBezTo>
                <a:cubicBezTo>
                  <a:pt x="2439" y="25882"/>
                  <a:pt x="2439" y="25882"/>
                  <a:pt x="2439" y="25882"/>
                </a:cubicBezTo>
                <a:cubicBezTo>
                  <a:pt x="3170" y="26524"/>
                  <a:pt x="3170" y="26524"/>
                  <a:pt x="3170" y="26524"/>
                </a:cubicBezTo>
                <a:cubicBezTo>
                  <a:pt x="3414" y="28663"/>
                  <a:pt x="3414" y="28663"/>
                  <a:pt x="3414" y="28663"/>
                </a:cubicBezTo>
                <a:cubicBezTo>
                  <a:pt x="2439" y="29946"/>
                  <a:pt x="2439" y="29946"/>
                  <a:pt x="2439" y="29946"/>
                </a:cubicBezTo>
                <a:cubicBezTo>
                  <a:pt x="1463" y="31016"/>
                  <a:pt x="1951" y="30374"/>
                  <a:pt x="2195" y="31871"/>
                </a:cubicBezTo>
                <a:cubicBezTo>
                  <a:pt x="2926" y="31871"/>
                  <a:pt x="2926" y="31871"/>
                  <a:pt x="2926" y="31871"/>
                </a:cubicBezTo>
                <a:cubicBezTo>
                  <a:pt x="4146" y="33582"/>
                  <a:pt x="4146" y="33582"/>
                  <a:pt x="4146" y="33582"/>
                </a:cubicBezTo>
                <a:cubicBezTo>
                  <a:pt x="6585" y="34438"/>
                  <a:pt x="6585" y="34438"/>
                  <a:pt x="6585" y="34438"/>
                </a:cubicBezTo>
                <a:cubicBezTo>
                  <a:pt x="8780" y="34438"/>
                  <a:pt x="8780" y="34438"/>
                  <a:pt x="8780" y="34438"/>
                </a:cubicBezTo>
                <a:cubicBezTo>
                  <a:pt x="9756" y="35080"/>
                  <a:pt x="9756" y="35080"/>
                  <a:pt x="9756" y="35080"/>
                </a:cubicBezTo>
                <a:cubicBezTo>
                  <a:pt x="9024" y="37433"/>
                  <a:pt x="9024" y="37433"/>
                  <a:pt x="9024" y="37433"/>
                </a:cubicBezTo>
                <a:cubicBezTo>
                  <a:pt x="7560" y="38502"/>
                  <a:pt x="7560" y="38502"/>
                  <a:pt x="7560" y="38502"/>
                </a:cubicBezTo>
                <a:cubicBezTo>
                  <a:pt x="7560" y="38502"/>
                  <a:pt x="7560" y="38502"/>
                  <a:pt x="7317" y="38502"/>
                </a:cubicBezTo>
                <a:cubicBezTo>
                  <a:pt x="7317" y="38502"/>
                  <a:pt x="7560" y="38716"/>
                  <a:pt x="8292" y="38930"/>
                </a:cubicBezTo>
                <a:cubicBezTo>
                  <a:pt x="8780" y="38930"/>
                  <a:pt x="8780" y="39358"/>
                  <a:pt x="9512" y="39144"/>
                </a:cubicBezTo>
                <a:cubicBezTo>
                  <a:pt x="10243" y="38930"/>
                  <a:pt x="11219" y="38716"/>
                  <a:pt x="11463" y="38502"/>
                </a:cubicBezTo>
                <a:cubicBezTo>
                  <a:pt x="11707" y="38074"/>
                  <a:pt x="12195" y="37860"/>
                  <a:pt x="12439" y="37647"/>
                </a:cubicBezTo>
                <a:cubicBezTo>
                  <a:pt x="12682" y="37219"/>
                  <a:pt x="14146" y="35721"/>
                  <a:pt x="14390" y="35721"/>
                </a:cubicBezTo>
                <a:cubicBezTo>
                  <a:pt x="14390" y="35721"/>
                  <a:pt x="15853" y="34010"/>
                  <a:pt x="16097" y="33796"/>
                </a:cubicBezTo>
                <a:cubicBezTo>
                  <a:pt x="16341" y="33582"/>
                  <a:pt x="18292" y="32299"/>
                  <a:pt x="18292" y="32299"/>
                </a:cubicBezTo>
                <a:cubicBezTo>
                  <a:pt x="20975" y="31443"/>
                  <a:pt x="20975" y="31443"/>
                  <a:pt x="20975" y="31443"/>
                </a:cubicBezTo>
                <a:cubicBezTo>
                  <a:pt x="20975" y="31443"/>
                  <a:pt x="22195" y="32513"/>
                  <a:pt x="22439" y="32727"/>
                </a:cubicBezTo>
                <a:cubicBezTo>
                  <a:pt x="22682" y="32727"/>
                  <a:pt x="25365" y="33796"/>
                  <a:pt x="25365" y="33796"/>
                </a:cubicBezTo>
                <a:cubicBezTo>
                  <a:pt x="25365" y="33796"/>
                  <a:pt x="27073" y="34438"/>
                  <a:pt x="27317" y="34652"/>
                </a:cubicBezTo>
                <a:cubicBezTo>
                  <a:pt x="27317" y="34866"/>
                  <a:pt x="28780" y="35935"/>
                  <a:pt x="28780" y="35935"/>
                </a:cubicBezTo>
                <a:cubicBezTo>
                  <a:pt x="29756" y="36363"/>
                  <a:pt x="29756" y="36363"/>
                  <a:pt x="29756" y="36363"/>
                </a:cubicBezTo>
                <a:cubicBezTo>
                  <a:pt x="30487" y="35721"/>
                  <a:pt x="30487" y="35721"/>
                  <a:pt x="30487" y="35721"/>
                </a:cubicBezTo>
                <a:cubicBezTo>
                  <a:pt x="31463" y="36149"/>
                  <a:pt x="31463" y="36149"/>
                  <a:pt x="31463" y="36149"/>
                </a:cubicBezTo>
                <a:cubicBezTo>
                  <a:pt x="33170" y="37005"/>
                  <a:pt x="33170" y="37005"/>
                  <a:pt x="33170" y="37005"/>
                </a:cubicBezTo>
                <a:cubicBezTo>
                  <a:pt x="33902" y="38288"/>
                  <a:pt x="33902" y="38288"/>
                  <a:pt x="33902" y="38288"/>
                </a:cubicBezTo>
                <a:cubicBezTo>
                  <a:pt x="33902" y="38288"/>
                  <a:pt x="34390" y="40000"/>
                  <a:pt x="34390" y="40641"/>
                </a:cubicBezTo>
                <a:cubicBezTo>
                  <a:pt x="34390" y="41283"/>
                  <a:pt x="34634" y="42352"/>
                  <a:pt x="34634" y="42352"/>
                </a:cubicBezTo>
                <a:cubicBezTo>
                  <a:pt x="36829" y="43208"/>
                  <a:pt x="36829" y="43208"/>
                  <a:pt x="36829" y="43208"/>
                </a:cubicBezTo>
                <a:cubicBezTo>
                  <a:pt x="36829" y="43208"/>
                  <a:pt x="36829" y="45133"/>
                  <a:pt x="36829" y="45347"/>
                </a:cubicBezTo>
                <a:cubicBezTo>
                  <a:pt x="36829" y="45775"/>
                  <a:pt x="37073" y="46417"/>
                  <a:pt x="37073" y="47058"/>
                </a:cubicBezTo>
                <a:cubicBezTo>
                  <a:pt x="37073" y="47700"/>
                  <a:pt x="37073" y="48342"/>
                  <a:pt x="37073" y="48342"/>
                </a:cubicBezTo>
                <a:cubicBezTo>
                  <a:pt x="38048" y="48983"/>
                  <a:pt x="38048" y="48983"/>
                  <a:pt x="38048" y="48983"/>
                </a:cubicBezTo>
                <a:cubicBezTo>
                  <a:pt x="39268" y="49625"/>
                  <a:pt x="39268" y="49625"/>
                  <a:pt x="39268" y="49625"/>
                </a:cubicBezTo>
                <a:cubicBezTo>
                  <a:pt x="39512" y="50695"/>
                  <a:pt x="39512" y="50695"/>
                  <a:pt x="39512" y="50695"/>
                </a:cubicBezTo>
                <a:cubicBezTo>
                  <a:pt x="41463" y="51336"/>
                  <a:pt x="41463" y="51336"/>
                  <a:pt x="41463" y="51336"/>
                </a:cubicBezTo>
                <a:cubicBezTo>
                  <a:pt x="41951" y="52620"/>
                  <a:pt x="41951" y="52620"/>
                  <a:pt x="41951" y="52620"/>
                </a:cubicBezTo>
                <a:cubicBezTo>
                  <a:pt x="43170" y="53689"/>
                  <a:pt x="43170" y="53689"/>
                  <a:pt x="43170" y="53689"/>
                </a:cubicBezTo>
                <a:cubicBezTo>
                  <a:pt x="43170" y="54545"/>
                  <a:pt x="43170" y="54545"/>
                  <a:pt x="43170" y="54545"/>
                </a:cubicBezTo>
                <a:cubicBezTo>
                  <a:pt x="43170" y="54545"/>
                  <a:pt x="43170" y="54973"/>
                  <a:pt x="43658" y="54973"/>
                </a:cubicBezTo>
                <a:cubicBezTo>
                  <a:pt x="44146" y="54973"/>
                  <a:pt x="45853" y="54759"/>
                  <a:pt x="45853" y="54759"/>
                </a:cubicBezTo>
                <a:cubicBezTo>
                  <a:pt x="47560" y="56042"/>
                  <a:pt x="47560" y="56042"/>
                  <a:pt x="47560" y="56042"/>
                </a:cubicBezTo>
                <a:cubicBezTo>
                  <a:pt x="49512" y="57540"/>
                  <a:pt x="49512" y="57540"/>
                  <a:pt x="49512" y="57540"/>
                </a:cubicBezTo>
                <a:cubicBezTo>
                  <a:pt x="50487" y="59037"/>
                  <a:pt x="50487" y="59037"/>
                  <a:pt x="50487" y="59037"/>
                </a:cubicBezTo>
                <a:cubicBezTo>
                  <a:pt x="51951" y="59465"/>
                  <a:pt x="51951" y="59465"/>
                  <a:pt x="51951" y="59465"/>
                </a:cubicBezTo>
                <a:cubicBezTo>
                  <a:pt x="53902" y="60534"/>
                  <a:pt x="53902" y="60534"/>
                  <a:pt x="53902" y="60534"/>
                </a:cubicBezTo>
                <a:cubicBezTo>
                  <a:pt x="54634" y="62032"/>
                  <a:pt x="54634" y="62032"/>
                  <a:pt x="54634" y="62032"/>
                </a:cubicBezTo>
                <a:cubicBezTo>
                  <a:pt x="56341" y="63529"/>
                  <a:pt x="56341" y="63529"/>
                  <a:pt x="56341" y="63529"/>
                </a:cubicBezTo>
                <a:cubicBezTo>
                  <a:pt x="57317" y="63957"/>
                  <a:pt x="57317" y="63957"/>
                  <a:pt x="57317" y="63957"/>
                </a:cubicBezTo>
                <a:cubicBezTo>
                  <a:pt x="57804" y="64812"/>
                  <a:pt x="57804" y="64812"/>
                  <a:pt x="57804" y="64812"/>
                </a:cubicBezTo>
                <a:cubicBezTo>
                  <a:pt x="58780" y="65240"/>
                  <a:pt x="58780" y="65240"/>
                  <a:pt x="58780" y="65240"/>
                </a:cubicBezTo>
                <a:cubicBezTo>
                  <a:pt x="59756" y="65454"/>
                  <a:pt x="59756" y="65454"/>
                  <a:pt x="59756" y="65454"/>
                </a:cubicBezTo>
                <a:cubicBezTo>
                  <a:pt x="61219" y="65668"/>
                  <a:pt x="61219" y="65668"/>
                  <a:pt x="61219" y="65668"/>
                </a:cubicBezTo>
                <a:cubicBezTo>
                  <a:pt x="62195" y="66524"/>
                  <a:pt x="62195" y="66524"/>
                  <a:pt x="62195" y="66524"/>
                </a:cubicBezTo>
                <a:cubicBezTo>
                  <a:pt x="62195" y="66524"/>
                  <a:pt x="62682" y="66951"/>
                  <a:pt x="62682" y="67165"/>
                </a:cubicBezTo>
                <a:cubicBezTo>
                  <a:pt x="62682" y="67593"/>
                  <a:pt x="62195" y="67807"/>
                  <a:pt x="62926" y="67807"/>
                </a:cubicBezTo>
                <a:cubicBezTo>
                  <a:pt x="63658" y="67807"/>
                  <a:pt x="64390" y="67593"/>
                  <a:pt x="64390" y="67593"/>
                </a:cubicBezTo>
                <a:cubicBezTo>
                  <a:pt x="65853" y="67379"/>
                  <a:pt x="65853" y="67379"/>
                  <a:pt x="65853" y="67379"/>
                </a:cubicBezTo>
                <a:cubicBezTo>
                  <a:pt x="66829" y="67379"/>
                  <a:pt x="66829" y="67379"/>
                  <a:pt x="66829" y="67379"/>
                </a:cubicBezTo>
                <a:cubicBezTo>
                  <a:pt x="67804" y="67379"/>
                  <a:pt x="67804" y="67379"/>
                  <a:pt x="67804" y="67379"/>
                </a:cubicBezTo>
                <a:cubicBezTo>
                  <a:pt x="69512" y="67165"/>
                  <a:pt x="69512" y="67165"/>
                  <a:pt x="69512" y="67165"/>
                </a:cubicBezTo>
                <a:cubicBezTo>
                  <a:pt x="70487" y="67807"/>
                  <a:pt x="70487" y="67807"/>
                  <a:pt x="70487" y="67807"/>
                </a:cubicBezTo>
                <a:cubicBezTo>
                  <a:pt x="73170" y="70588"/>
                  <a:pt x="73170" y="70588"/>
                  <a:pt x="73170" y="70588"/>
                </a:cubicBezTo>
                <a:cubicBezTo>
                  <a:pt x="73170" y="70588"/>
                  <a:pt x="73902" y="71657"/>
                  <a:pt x="73902" y="72085"/>
                </a:cubicBezTo>
                <a:cubicBezTo>
                  <a:pt x="73902" y="72299"/>
                  <a:pt x="74878" y="72085"/>
                  <a:pt x="75121" y="72085"/>
                </a:cubicBezTo>
                <a:cubicBezTo>
                  <a:pt x="75365" y="72085"/>
                  <a:pt x="77317" y="72085"/>
                  <a:pt x="77317" y="72085"/>
                </a:cubicBezTo>
                <a:cubicBezTo>
                  <a:pt x="78780" y="72941"/>
                  <a:pt x="78780" y="72941"/>
                  <a:pt x="78780" y="72941"/>
                </a:cubicBezTo>
                <a:cubicBezTo>
                  <a:pt x="77804" y="74010"/>
                  <a:pt x="77804" y="74010"/>
                  <a:pt x="77804" y="74010"/>
                </a:cubicBezTo>
                <a:cubicBezTo>
                  <a:pt x="79268" y="74652"/>
                  <a:pt x="79268" y="74652"/>
                  <a:pt x="79268" y="74652"/>
                </a:cubicBezTo>
                <a:cubicBezTo>
                  <a:pt x="80000" y="73796"/>
                  <a:pt x="80000" y="73796"/>
                  <a:pt x="80000" y="73796"/>
                </a:cubicBezTo>
                <a:cubicBezTo>
                  <a:pt x="81463" y="74010"/>
                  <a:pt x="81463" y="74010"/>
                  <a:pt x="81463" y="74010"/>
                </a:cubicBezTo>
                <a:cubicBezTo>
                  <a:pt x="82682" y="74866"/>
                  <a:pt x="82682" y="74866"/>
                  <a:pt x="82682" y="74866"/>
                </a:cubicBezTo>
                <a:cubicBezTo>
                  <a:pt x="82926" y="75508"/>
                  <a:pt x="82926" y="75508"/>
                  <a:pt x="82926" y="75508"/>
                </a:cubicBezTo>
                <a:cubicBezTo>
                  <a:pt x="83658" y="75935"/>
                  <a:pt x="83658" y="75935"/>
                  <a:pt x="83658" y="75935"/>
                </a:cubicBezTo>
                <a:cubicBezTo>
                  <a:pt x="83414" y="77005"/>
                  <a:pt x="83414" y="77005"/>
                  <a:pt x="83414" y="77005"/>
                </a:cubicBezTo>
                <a:cubicBezTo>
                  <a:pt x="83414" y="77647"/>
                  <a:pt x="83414" y="77647"/>
                  <a:pt x="83414" y="77647"/>
                </a:cubicBezTo>
                <a:cubicBezTo>
                  <a:pt x="83902" y="78502"/>
                  <a:pt x="83902" y="78502"/>
                  <a:pt x="83902" y="78502"/>
                </a:cubicBezTo>
                <a:cubicBezTo>
                  <a:pt x="85121" y="78930"/>
                  <a:pt x="85121" y="78930"/>
                  <a:pt x="85121" y="78930"/>
                </a:cubicBezTo>
                <a:cubicBezTo>
                  <a:pt x="86341" y="79572"/>
                  <a:pt x="86341" y="79572"/>
                  <a:pt x="86341" y="79572"/>
                </a:cubicBezTo>
                <a:cubicBezTo>
                  <a:pt x="87073" y="80000"/>
                  <a:pt x="87073" y="80000"/>
                  <a:pt x="87073" y="80000"/>
                </a:cubicBezTo>
                <a:cubicBezTo>
                  <a:pt x="88048" y="80000"/>
                  <a:pt x="88048" y="80000"/>
                  <a:pt x="88048" y="80000"/>
                </a:cubicBezTo>
                <a:cubicBezTo>
                  <a:pt x="89512" y="79786"/>
                  <a:pt x="89512" y="79786"/>
                  <a:pt x="89512" y="79786"/>
                </a:cubicBezTo>
                <a:cubicBezTo>
                  <a:pt x="91219" y="80000"/>
                  <a:pt x="91219" y="80000"/>
                  <a:pt x="91219" y="80000"/>
                </a:cubicBezTo>
                <a:cubicBezTo>
                  <a:pt x="92682" y="82139"/>
                  <a:pt x="92682" y="82139"/>
                  <a:pt x="92682" y="82139"/>
                </a:cubicBezTo>
                <a:cubicBezTo>
                  <a:pt x="93414" y="84064"/>
                  <a:pt x="93414" y="84064"/>
                  <a:pt x="93414" y="84064"/>
                </a:cubicBezTo>
                <a:cubicBezTo>
                  <a:pt x="94390" y="85775"/>
                  <a:pt x="94390" y="85775"/>
                  <a:pt x="94390" y="85775"/>
                </a:cubicBezTo>
                <a:cubicBezTo>
                  <a:pt x="95121" y="86844"/>
                  <a:pt x="95121" y="86844"/>
                  <a:pt x="95121" y="86844"/>
                </a:cubicBezTo>
                <a:cubicBezTo>
                  <a:pt x="95609" y="88556"/>
                  <a:pt x="95609" y="88556"/>
                  <a:pt x="95609" y="88556"/>
                </a:cubicBezTo>
                <a:cubicBezTo>
                  <a:pt x="96341" y="89411"/>
                  <a:pt x="96341" y="89411"/>
                  <a:pt x="96341" y="89411"/>
                </a:cubicBezTo>
                <a:cubicBezTo>
                  <a:pt x="97560" y="91550"/>
                  <a:pt x="97560" y="91550"/>
                  <a:pt x="97560" y="91550"/>
                </a:cubicBezTo>
                <a:cubicBezTo>
                  <a:pt x="98048" y="92406"/>
                  <a:pt x="98048" y="92406"/>
                  <a:pt x="98048" y="92406"/>
                </a:cubicBezTo>
                <a:cubicBezTo>
                  <a:pt x="97560" y="93475"/>
                  <a:pt x="97560" y="93475"/>
                  <a:pt x="97560" y="93475"/>
                </a:cubicBezTo>
                <a:cubicBezTo>
                  <a:pt x="97560" y="93475"/>
                  <a:pt x="97073" y="94545"/>
                  <a:pt x="96829" y="94545"/>
                </a:cubicBezTo>
                <a:cubicBezTo>
                  <a:pt x="96829" y="94759"/>
                  <a:pt x="96097" y="94973"/>
                  <a:pt x="95853" y="94973"/>
                </a:cubicBezTo>
                <a:cubicBezTo>
                  <a:pt x="95609" y="95187"/>
                  <a:pt x="95365" y="95187"/>
                  <a:pt x="95121" y="95401"/>
                </a:cubicBezTo>
                <a:cubicBezTo>
                  <a:pt x="94878" y="95614"/>
                  <a:pt x="94634" y="96256"/>
                  <a:pt x="94634" y="96256"/>
                </a:cubicBezTo>
                <a:cubicBezTo>
                  <a:pt x="95365" y="97540"/>
                  <a:pt x="95365" y="97540"/>
                  <a:pt x="95365" y="97540"/>
                </a:cubicBezTo>
                <a:cubicBezTo>
                  <a:pt x="95121" y="99037"/>
                  <a:pt x="95121" y="99037"/>
                  <a:pt x="95121" y="99037"/>
                </a:cubicBezTo>
                <a:cubicBezTo>
                  <a:pt x="94634" y="100320"/>
                  <a:pt x="94634" y="100320"/>
                  <a:pt x="94634" y="100320"/>
                </a:cubicBezTo>
                <a:close/>
                <a:moveTo>
                  <a:pt x="13902" y="73796"/>
                </a:moveTo>
                <a:cubicBezTo>
                  <a:pt x="13902" y="73796"/>
                  <a:pt x="13902" y="73796"/>
                  <a:pt x="13902" y="73796"/>
                </a:cubicBezTo>
                <a:cubicBezTo>
                  <a:pt x="14634" y="71657"/>
                  <a:pt x="14634" y="71657"/>
                  <a:pt x="14634" y="71657"/>
                </a:cubicBezTo>
                <a:cubicBezTo>
                  <a:pt x="15609" y="70802"/>
                  <a:pt x="15609" y="70802"/>
                  <a:pt x="15609" y="70802"/>
                </a:cubicBezTo>
                <a:cubicBezTo>
                  <a:pt x="15365" y="71871"/>
                  <a:pt x="15365" y="71871"/>
                  <a:pt x="15365" y="71871"/>
                </a:cubicBezTo>
                <a:cubicBezTo>
                  <a:pt x="15121" y="73155"/>
                  <a:pt x="15121" y="73155"/>
                  <a:pt x="15121" y="73155"/>
                </a:cubicBezTo>
                <a:cubicBezTo>
                  <a:pt x="15121" y="73155"/>
                  <a:pt x="17073" y="73796"/>
                  <a:pt x="17317" y="73796"/>
                </a:cubicBezTo>
                <a:cubicBezTo>
                  <a:pt x="17560" y="73796"/>
                  <a:pt x="17804" y="73368"/>
                  <a:pt x="18292" y="73155"/>
                </a:cubicBezTo>
                <a:cubicBezTo>
                  <a:pt x="18536" y="72941"/>
                  <a:pt x="20243" y="72941"/>
                  <a:pt x="20243" y="72941"/>
                </a:cubicBezTo>
                <a:cubicBezTo>
                  <a:pt x="20243" y="72941"/>
                  <a:pt x="20487" y="72299"/>
                  <a:pt x="20731" y="71871"/>
                </a:cubicBezTo>
                <a:cubicBezTo>
                  <a:pt x="20975" y="71443"/>
                  <a:pt x="22195" y="70374"/>
                  <a:pt x="22439" y="70160"/>
                </a:cubicBezTo>
                <a:cubicBezTo>
                  <a:pt x="22682" y="70160"/>
                  <a:pt x="23170" y="69732"/>
                  <a:pt x="23414" y="69732"/>
                </a:cubicBezTo>
                <a:cubicBezTo>
                  <a:pt x="23658" y="69518"/>
                  <a:pt x="24878" y="69090"/>
                  <a:pt x="24878" y="69090"/>
                </a:cubicBezTo>
                <a:cubicBezTo>
                  <a:pt x="28048" y="70160"/>
                  <a:pt x="28048" y="70160"/>
                  <a:pt x="28048" y="70160"/>
                </a:cubicBezTo>
                <a:cubicBezTo>
                  <a:pt x="28536" y="71871"/>
                  <a:pt x="28536" y="71871"/>
                  <a:pt x="28536" y="71871"/>
                </a:cubicBezTo>
                <a:cubicBezTo>
                  <a:pt x="30243" y="74652"/>
                  <a:pt x="30243" y="74652"/>
                  <a:pt x="30243" y="74652"/>
                </a:cubicBezTo>
                <a:cubicBezTo>
                  <a:pt x="30731" y="75935"/>
                  <a:pt x="30731" y="75935"/>
                  <a:pt x="30731" y="75935"/>
                </a:cubicBezTo>
                <a:cubicBezTo>
                  <a:pt x="30731" y="75935"/>
                  <a:pt x="31463" y="76577"/>
                  <a:pt x="31219" y="77219"/>
                </a:cubicBezTo>
                <a:cubicBezTo>
                  <a:pt x="30975" y="78074"/>
                  <a:pt x="29512" y="80213"/>
                  <a:pt x="29512" y="80213"/>
                </a:cubicBezTo>
                <a:cubicBezTo>
                  <a:pt x="29512" y="81497"/>
                  <a:pt x="29512" y="81497"/>
                  <a:pt x="29512" y="81497"/>
                </a:cubicBezTo>
                <a:cubicBezTo>
                  <a:pt x="30487" y="83208"/>
                  <a:pt x="30487" y="83208"/>
                  <a:pt x="30487" y="83208"/>
                </a:cubicBezTo>
                <a:cubicBezTo>
                  <a:pt x="29024" y="86417"/>
                  <a:pt x="29024" y="86417"/>
                  <a:pt x="29024" y="86417"/>
                </a:cubicBezTo>
                <a:cubicBezTo>
                  <a:pt x="29756" y="88770"/>
                  <a:pt x="29756" y="88770"/>
                  <a:pt x="29756" y="88770"/>
                </a:cubicBezTo>
                <a:cubicBezTo>
                  <a:pt x="29268" y="91978"/>
                  <a:pt x="29268" y="91978"/>
                  <a:pt x="29268" y="91978"/>
                </a:cubicBezTo>
                <a:cubicBezTo>
                  <a:pt x="29024" y="93689"/>
                  <a:pt x="29024" y="93689"/>
                  <a:pt x="29024" y="93689"/>
                </a:cubicBezTo>
                <a:cubicBezTo>
                  <a:pt x="29024" y="93689"/>
                  <a:pt x="28048" y="94545"/>
                  <a:pt x="27560" y="94331"/>
                </a:cubicBezTo>
                <a:cubicBezTo>
                  <a:pt x="27073" y="94117"/>
                  <a:pt x="24634" y="92620"/>
                  <a:pt x="24634" y="92620"/>
                </a:cubicBezTo>
                <a:cubicBezTo>
                  <a:pt x="23658" y="92406"/>
                  <a:pt x="23658" y="92406"/>
                  <a:pt x="23658" y="92406"/>
                </a:cubicBezTo>
                <a:cubicBezTo>
                  <a:pt x="22926" y="93903"/>
                  <a:pt x="22926" y="93903"/>
                  <a:pt x="22926" y="93903"/>
                </a:cubicBezTo>
                <a:cubicBezTo>
                  <a:pt x="23170" y="94973"/>
                  <a:pt x="23170" y="94973"/>
                  <a:pt x="23170" y="94973"/>
                </a:cubicBezTo>
                <a:cubicBezTo>
                  <a:pt x="21951" y="96898"/>
                  <a:pt x="21951" y="96898"/>
                  <a:pt x="21951" y="96898"/>
                </a:cubicBezTo>
                <a:cubicBezTo>
                  <a:pt x="20731" y="96898"/>
                  <a:pt x="20731" y="96898"/>
                  <a:pt x="20731" y="96898"/>
                </a:cubicBezTo>
                <a:cubicBezTo>
                  <a:pt x="19268" y="96470"/>
                  <a:pt x="19268" y="96470"/>
                  <a:pt x="19268" y="96470"/>
                </a:cubicBezTo>
                <a:cubicBezTo>
                  <a:pt x="17804" y="94759"/>
                  <a:pt x="17804" y="94759"/>
                  <a:pt x="17804" y="94759"/>
                </a:cubicBezTo>
                <a:cubicBezTo>
                  <a:pt x="17804" y="94759"/>
                  <a:pt x="17804" y="95187"/>
                  <a:pt x="17317" y="95401"/>
                </a:cubicBezTo>
                <a:cubicBezTo>
                  <a:pt x="16829" y="95401"/>
                  <a:pt x="16097" y="95187"/>
                  <a:pt x="16097" y="95187"/>
                </a:cubicBezTo>
                <a:cubicBezTo>
                  <a:pt x="16585" y="93903"/>
                  <a:pt x="16585" y="93903"/>
                  <a:pt x="16585" y="93903"/>
                </a:cubicBezTo>
                <a:cubicBezTo>
                  <a:pt x="16097" y="92406"/>
                  <a:pt x="16097" y="92406"/>
                  <a:pt x="16097" y="92406"/>
                </a:cubicBezTo>
                <a:cubicBezTo>
                  <a:pt x="16585" y="90909"/>
                  <a:pt x="16585" y="90909"/>
                  <a:pt x="16585" y="90909"/>
                </a:cubicBezTo>
                <a:cubicBezTo>
                  <a:pt x="16585" y="88770"/>
                  <a:pt x="16585" y="88770"/>
                  <a:pt x="16585" y="88770"/>
                </a:cubicBezTo>
                <a:cubicBezTo>
                  <a:pt x="17073" y="87914"/>
                  <a:pt x="17073" y="87914"/>
                  <a:pt x="17073" y="87914"/>
                </a:cubicBezTo>
                <a:cubicBezTo>
                  <a:pt x="17317" y="86844"/>
                  <a:pt x="17317" y="86844"/>
                  <a:pt x="17317" y="86844"/>
                </a:cubicBezTo>
                <a:cubicBezTo>
                  <a:pt x="18048" y="85561"/>
                  <a:pt x="18048" y="85561"/>
                  <a:pt x="18048" y="85561"/>
                </a:cubicBezTo>
                <a:cubicBezTo>
                  <a:pt x="17804" y="84491"/>
                  <a:pt x="17804" y="84491"/>
                  <a:pt x="17804" y="84491"/>
                </a:cubicBezTo>
                <a:cubicBezTo>
                  <a:pt x="17317" y="84705"/>
                  <a:pt x="17317" y="84705"/>
                  <a:pt x="17317" y="84705"/>
                </a:cubicBezTo>
                <a:cubicBezTo>
                  <a:pt x="15853" y="83422"/>
                  <a:pt x="15853" y="83422"/>
                  <a:pt x="15853" y="83422"/>
                </a:cubicBezTo>
                <a:cubicBezTo>
                  <a:pt x="15853" y="83422"/>
                  <a:pt x="16341" y="82994"/>
                  <a:pt x="16829" y="82566"/>
                </a:cubicBezTo>
                <a:cubicBezTo>
                  <a:pt x="17317" y="82139"/>
                  <a:pt x="17317" y="81925"/>
                  <a:pt x="17317" y="81497"/>
                </a:cubicBezTo>
                <a:cubicBezTo>
                  <a:pt x="17317" y="81069"/>
                  <a:pt x="17073" y="80000"/>
                  <a:pt x="16829" y="80000"/>
                </a:cubicBezTo>
                <a:cubicBezTo>
                  <a:pt x="16585" y="79786"/>
                  <a:pt x="16097" y="79358"/>
                  <a:pt x="16097" y="79358"/>
                </a:cubicBezTo>
                <a:cubicBezTo>
                  <a:pt x="16097" y="78074"/>
                  <a:pt x="16097" y="78074"/>
                  <a:pt x="16097" y="78074"/>
                </a:cubicBezTo>
                <a:cubicBezTo>
                  <a:pt x="16097" y="78074"/>
                  <a:pt x="15853" y="77433"/>
                  <a:pt x="15609" y="77433"/>
                </a:cubicBezTo>
                <a:cubicBezTo>
                  <a:pt x="15121" y="77219"/>
                  <a:pt x="13902" y="76577"/>
                  <a:pt x="13902" y="76577"/>
                </a:cubicBezTo>
                <a:cubicBezTo>
                  <a:pt x="14146" y="75080"/>
                  <a:pt x="14146" y="75080"/>
                  <a:pt x="14146" y="75080"/>
                </a:cubicBezTo>
                <a:cubicBezTo>
                  <a:pt x="13658" y="74652"/>
                  <a:pt x="13658" y="74652"/>
                  <a:pt x="13658" y="74652"/>
                </a:cubicBezTo>
                <a:lnTo>
                  <a:pt x="13902" y="73796"/>
                </a:ln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3045;p256">
            <a:extLst>
              <a:ext uri="{FF2B5EF4-FFF2-40B4-BE49-F238E27FC236}">
                <a16:creationId xmlns:a16="http://schemas.microsoft.com/office/drawing/2014/main" id="{D8F1DF25-88B8-EF03-3A0E-03EEA35F7777}"/>
              </a:ext>
            </a:extLst>
          </p:cNvPr>
          <p:cNvSpPr/>
          <p:nvPr/>
        </p:nvSpPr>
        <p:spPr>
          <a:xfrm>
            <a:off x="10048550" y="3867649"/>
            <a:ext cx="1351304" cy="9445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2439" y="27518"/>
                </a:moveTo>
                <a:cubicBezTo>
                  <a:pt x="22439" y="27518"/>
                  <a:pt x="22439" y="27518"/>
                  <a:pt x="22439" y="27518"/>
                </a:cubicBezTo>
                <a:cubicBezTo>
                  <a:pt x="21463" y="27969"/>
                  <a:pt x="21463" y="27969"/>
                  <a:pt x="21463" y="27969"/>
                </a:cubicBezTo>
                <a:cubicBezTo>
                  <a:pt x="20813" y="28872"/>
                  <a:pt x="20813" y="28872"/>
                  <a:pt x="20813" y="28872"/>
                </a:cubicBezTo>
                <a:cubicBezTo>
                  <a:pt x="20162" y="31578"/>
                  <a:pt x="20162" y="31578"/>
                  <a:pt x="20162" y="31578"/>
                </a:cubicBezTo>
                <a:cubicBezTo>
                  <a:pt x="20162" y="31578"/>
                  <a:pt x="20162" y="31578"/>
                  <a:pt x="20162" y="31578"/>
                </a:cubicBezTo>
                <a:cubicBezTo>
                  <a:pt x="19186" y="32932"/>
                  <a:pt x="19186" y="32932"/>
                  <a:pt x="19186" y="32932"/>
                </a:cubicBezTo>
                <a:cubicBezTo>
                  <a:pt x="19186" y="32932"/>
                  <a:pt x="19186" y="32932"/>
                  <a:pt x="19186" y="32932"/>
                </a:cubicBezTo>
                <a:cubicBezTo>
                  <a:pt x="18861" y="35187"/>
                  <a:pt x="18861" y="35187"/>
                  <a:pt x="18861" y="35187"/>
                </a:cubicBezTo>
                <a:cubicBezTo>
                  <a:pt x="18861" y="35187"/>
                  <a:pt x="19186" y="36992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9186" y="37443"/>
                  <a:pt x="19186" y="37443"/>
                  <a:pt x="19186" y="37443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861" y="37894"/>
                  <a:pt x="18861" y="37894"/>
                  <a:pt x="18861" y="37894"/>
                </a:cubicBezTo>
                <a:cubicBezTo>
                  <a:pt x="18536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7894"/>
                  <a:pt x="18211" y="37894"/>
                  <a:pt x="18211" y="37894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8211" y="38345"/>
                  <a:pt x="18211" y="38345"/>
                  <a:pt x="18211" y="38345"/>
                </a:cubicBezTo>
                <a:cubicBezTo>
                  <a:pt x="17886" y="41954"/>
                  <a:pt x="17886" y="41954"/>
                  <a:pt x="17886" y="41954"/>
                </a:cubicBezTo>
                <a:cubicBezTo>
                  <a:pt x="16585" y="43759"/>
                  <a:pt x="16585" y="43759"/>
                  <a:pt x="16585" y="43759"/>
                </a:cubicBezTo>
                <a:cubicBezTo>
                  <a:pt x="16260" y="46015"/>
                  <a:pt x="16260" y="46015"/>
                  <a:pt x="16260" y="46015"/>
                </a:cubicBezTo>
                <a:cubicBezTo>
                  <a:pt x="16260" y="47368"/>
                  <a:pt x="16260" y="47368"/>
                  <a:pt x="16260" y="47368"/>
                </a:cubicBezTo>
                <a:cubicBezTo>
                  <a:pt x="16260" y="47368"/>
                  <a:pt x="16260" y="47368"/>
                  <a:pt x="16260" y="47368"/>
                </a:cubicBezTo>
                <a:cubicBezTo>
                  <a:pt x="16260" y="47368"/>
                  <a:pt x="16260" y="47368"/>
                  <a:pt x="16260" y="47368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7819"/>
                  <a:pt x="16260" y="47819"/>
                  <a:pt x="16260" y="47819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270"/>
                  <a:pt x="16260" y="48270"/>
                  <a:pt x="16260" y="48270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8721"/>
                  <a:pt x="16260" y="48721"/>
                  <a:pt x="16260" y="48721"/>
                </a:cubicBezTo>
                <a:cubicBezTo>
                  <a:pt x="16260" y="49172"/>
                  <a:pt x="16260" y="49172"/>
                  <a:pt x="15934" y="49172"/>
                </a:cubicBezTo>
                <a:cubicBezTo>
                  <a:pt x="15284" y="49624"/>
                  <a:pt x="14959" y="50526"/>
                  <a:pt x="14959" y="50526"/>
                </a:cubicBezTo>
                <a:cubicBezTo>
                  <a:pt x="14959" y="53684"/>
                  <a:pt x="14959" y="53684"/>
                  <a:pt x="14959" y="53684"/>
                </a:cubicBezTo>
                <a:cubicBezTo>
                  <a:pt x="14634" y="54586"/>
                  <a:pt x="14634" y="54586"/>
                  <a:pt x="14634" y="54586"/>
                </a:cubicBezTo>
                <a:cubicBezTo>
                  <a:pt x="13983" y="55939"/>
                  <a:pt x="13983" y="55939"/>
                  <a:pt x="13983" y="55939"/>
                </a:cubicBezTo>
                <a:cubicBezTo>
                  <a:pt x="14308" y="57744"/>
                  <a:pt x="14308" y="57744"/>
                  <a:pt x="14308" y="57744"/>
                </a:cubicBezTo>
                <a:cubicBezTo>
                  <a:pt x="14308" y="57744"/>
                  <a:pt x="14308" y="57744"/>
                  <a:pt x="14308" y="57744"/>
                </a:cubicBezTo>
                <a:cubicBezTo>
                  <a:pt x="13658" y="59097"/>
                  <a:pt x="13658" y="59097"/>
                  <a:pt x="13658" y="59097"/>
                </a:cubicBezTo>
                <a:cubicBezTo>
                  <a:pt x="13983" y="61353"/>
                  <a:pt x="13983" y="61353"/>
                  <a:pt x="13983" y="61353"/>
                </a:cubicBezTo>
                <a:cubicBezTo>
                  <a:pt x="13333" y="62706"/>
                  <a:pt x="13333" y="62706"/>
                  <a:pt x="13333" y="62706"/>
                </a:cubicBezTo>
                <a:cubicBezTo>
                  <a:pt x="13008" y="63157"/>
                  <a:pt x="13008" y="63157"/>
                  <a:pt x="13008" y="63157"/>
                </a:cubicBezTo>
                <a:cubicBezTo>
                  <a:pt x="12682" y="64511"/>
                  <a:pt x="12682" y="64511"/>
                  <a:pt x="12682" y="64511"/>
                </a:cubicBezTo>
                <a:cubicBezTo>
                  <a:pt x="12032" y="66766"/>
                  <a:pt x="12032" y="66766"/>
                  <a:pt x="12032" y="66766"/>
                </a:cubicBezTo>
                <a:cubicBezTo>
                  <a:pt x="9430" y="69924"/>
                  <a:pt x="9430" y="69924"/>
                  <a:pt x="9430" y="69924"/>
                </a:cubicBezTo>
                <a:cubicBezTo>
                  <a:pt x="8455" y="69473"/>
                  <a:pt x="8455" y="69473"/>
                  <a:pt x="8455" y="69473"/>
                </a:cubicBezTo>
                <a:cubicBezTo>
                  <a:pt x="7804" y="69924"/>
                  <a:pt x="7804" y="69924"/>
                  <a:pt x="7804" y="69924"/>
                </a:cubicBezTo>
                <a:cubicBezTo>
                  <a:pt x="7154" y="70827"/>
                  <a:pt x="7154" y="70827"/>
                  <a:pt x="7154" y="70827"/>
                </a:cubicBezTo>
                <a:cubicBezTo>
                  <a:pt x="7154" y="70827"/>
                  <a:pt x="7479" y="70827"/>
                  <a:pt x="6829" y="71729"/>
                </a:cubicBezTo>
                <a:cubicBezTo>
                  <a:pt x="6178" y="72180"/>
                  <a:pt x="4878" y="72631"/>
                  <a:pt x="4878" y="72631"/>
                </a:cubicBezTo>
                <a:cubicBezTo>
                  <a:pt x="4227" y="72631"/>
                  <a:pt x="4227" y="72631"/>
                  <a:pt x="4227" y="72631"/>
                </a:cubicBezTo>
                <a:cubicBezTo>
                  <a:pt x="1951" y="72631"/>
                  <a:pt x="1951" y="72631"/>
                  <a:pt x="1951" y="72631"/>
                </a:cubicBezTo>
                <a:cubicBezTo>
                  <a:pt x="1951" y="72631"/>
                  <a:pt x="1951" y="72631"/>
                  <a:pt x="1951" y="72631"/>
                </a:cubicBezTo>
                <a:cubicBezTo>
                  <a:pt x="1951" y="72631"/>
                  <a:pt x="1951" y="72631"/>
                  <a:pt x="1951" y="72631"/>
                </a:cubicBezTo>
                <a:cubicBezTo>
                  <a:pt x="1951" y="72631"/>
                  <a:pt x="1626" y="72180"/>
                  <a:pt x="1300" y="72631"/>
                </a:cubicBezTo>
                <a:cubicBezTo>
                  <a:pt x="1300" y="72631"/>
                  <a:pt x="975" y="72631"/>
                  <a:pt x="975" y="72631"/>
                </a:cubicBezTo>
                <a:cubicBezTo>
                  <a:pt x="975" y="72631"/>
                  <a:pt x="975" y="72631"/>
                  <a:pt x="975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650" y="72631"/>
                  <a:pt x="650" y="72631"/>
                  <a:pt x="650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325" y="72631"/>
                  <a:pt x="325" y="72631"/>
                  <a:pt x="325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0" y="72631"/>
                  <a:pt x="0" y="72631"/>
                </a:cubicBezTo>
                <a:cubicBezTo>
                  <a:pt x="0" y="72631"/>
                  <a:pt x="325" y="73082"/>
                  <a:pt x="650" y="73082"/>
                </a:cubicBezTo>
                <a:cubicBezTo>
                  <a:pt x="1300" y="73533"/>
                  <a:pt x="1626" y="74887"/>
                  <a:pt x="1951" y="74887"/>
                </a:cubicBezTo>
                <a:cubicBezTo>
                  <a:pt x="2601" y="75338"/>
                  <a:pt x="3252" y="75338"/>
                  <a:pt x="3577" y="75338"/>
                </a:cubicBezTo>
                <a:cubicBezTo>
                  <a:pt x="3902" y="75789"/>
                  <a:pt x="4552" y="76240"/>
                  <a:pt x="4552" y="76240"/>
                </a:cubicBezTo>
                <a:cubicBezTo>
                  <a:pt x="4552" y="76240"/>
                  <a:pt x="6178" y="78496"/>
                  <a:pt x="6504" y="78496"/>
                </a:cubicBezTo>
                <a:cubicBezTo>
                  <a:pt x="6829" y="78496"/>
                  <a:pt x="6829" y="78496"/>
                  <a:pt x="7154" y="79398"/>
                </a:cubicBezTo>
                <a:cubicBezTo>
                  <a:pt x="7479" y="79849"/>
                  <a:pt x="8455" y="79398"/>
                  <a:pt x="8455" y="79398"/>
                </a:cubicBezTo>
                <a:cubicBezTo>
                  <a:pt x="8455" y="79398"/>
                  <a:pt x="8780" y="80751"/>
                  <a:pt x="8455" y="81203"/>
                </a:cubicBezTo>
                <a:cubicBezTo>
                  <a:pt x="8455" y="81654"/>
                  <a:pt x="8455" y="83007"/>
                  <a:pt x="8455" y="83007"/>
                </a:cubicBezTo>
                <a:cubicBezTo>
                  <a:pt x="8455" y="83007"/>
                  <a:pt x="8455" y="83458"/>
                  <a:pt x="8455" y="83909"/>
                </a:cubicBezTo>
                <a:cubicBezTo>
                  <a:pt x="8780" y="84812"/>
                  <a:pt x="9105" y="84812"/>
                  <a:pt x="9105" y="85714"/>
                </a:cubicBezTo>
                <a:cubicBezTo>
                  <a:pt x="9430" y="86165"/>
                  <a:pt x="9105" y="86165"/>
                  <a:pt x="9430" y="86616"/>
                </a:cubicBezTo>
                <a:cubicBezTo>
                  <a:pt x="9756" y="87067"/>
                  <a:pt x="10081" y="87969"/>
                  <a:pt x="10406" y="87969"/>
                </a:cubicBezTo>
                <a:cubicBezTo>
                  <a:pt x="10731" y="87969"/>
                  <a:pt x="11056" y="87969"/>
                  <a:pt x="12032" y="88421"/>
                </a:cubicBezTo>
                <a:cubicBezTo>
                  <a:pt x="13008" y="89323"/>
                  <a:pt x="13333" y="89323"/>
                  <a:pt x="13658" y="89774"/>
                </a:cubicBezTo>
                <a:cubicBezTo>
                  <a:pt x="14308" y="90225"/>
                  <a:pt x="13983" y="89774"/>
                  <a:pt x="14959" y="90225"/>
                </a:cubicBezTo>
                <a:cubicBezTo>
                  <a:pt x="16260" y="90676"/>
                  <a:pt x="15934" y="90225"/>
                  <a:pt x="16260" y="90676"/>
                </a:cubicBezTo>
                <a:cubicBezTo>
                  <a:pt x="16585" y="90676"/>
                  <a:pt x="16260" y="90225"/>
                  <a:pt x="16910" y="90676"/>
                </a:cubicBezTo>
                <a:cubicBezTo>
                  <a:pt x="17886" y="90676"/>
                  <a:pt x="18536" y="91127"/>
                  <a:pt x="18536" y="91127"/>
                </a:cubicBezTo>
                <a:cubicBezTo>
                  <a:pt x="18536" y="92030"/>
                  <a:pt x="18536" y="92030"/>
                  <a:pt x="18536" y="92030"/>
                </a:cubicBezTo>
                <a:cubicBezTo>
                  <a:pt x="17886" y="93834"/>
                  <a:pt x="17886" y="93834"/>
                  <a:pt x="17886" y="93834"/>
                </a:cubicBezTo>
                <a:cubicBezTo>
                  <a:pt x="17886" y="95187"/>
                  <a:pt x="17886" y="95187"/>
                  <a:pt x="17886" y="95187"/>
                </a:cubicBezTo>
                <a:cubicBezTo>
                  <a:pt x="17886" y="95187"/>
                  <a:pt x="17235" y="95187"/>
                  <a:pt x="17886" y="95639"/>
                </a:cubicBezTo>
                <a:cubicBezTo>
                  <a:pt x="18536" y="96090"/>
                  <a:pt x="19837" y="96541"/>
                  <a:pt x="19837" y="96541"/>
                </a:cubicBezTo>
                <a:cubicBezTo>
                  <a:pt x="20813" y="97443"/>
                  <a:pt x="20813" y="97443"/>
                  <a:pt x="20813" y="97443"/>
                </a:cubicBezTo>
                <a:cubicBezTo>
                  <a:pt x="20813" y="97443"/>
                  <a:pt x="20162" y="98796"/>
                  <a:pt x="19837" y="99248"/>
                </a:cubicBezTo>
                <a:cubicBezTo>
                  <a:pt x="19512" y="99248"/>
                  <a:pt x="18536" y="99248"/>
                  <a:pt x="18536" y="99248"/>
                </a:cubicBezTo>
                <a:cubicBezTo>
                  <a:pt x="18536" y="99248"/>
                  <a:pt x="18211" y="100601"/>
                  <a:pt x="18861" y="100601"/>
                </a:cubicBezTo>
                <a:cubicBezTo>
                  <a:pt x="19186" y="101052"/>
                  <a:pt x="19837" y="101052"/>
                  <a:pt x="20162" y="101052"/>
                </a:cubicBezTo>
                <a:cubicBezTo>
                  <a:pt x="20487" y="101052"/>
                  <a:pt x="21138" y="101503"/>
                  <a:pt x="21138" y="101503"/>
                </a:cubicBezTo>
                <a:cubicBezTo>
                  <a:pt x="21138" y="101503"/>
                  <a:pt x="21463" y="101503"/>
                  <a:pt x="21788" y="101954"/>
                </a:cubicBezTo>
                <a:cubicBezTo>
                  <a:pt x="21788" y="102857"/>
                  <a:pt x="22113" y="103308"/>
                  <a:pt x="22439" y="103308"/>
                </a:cubicBezTo>
                <a:cubicBezTo>
                  <a:pt x="22764" y="103308"/>
                  <a:pt x="23414" y="103308"/>
                  <a:pt x="23739" y="103308"/>
                </a:cubicBezTo>
                <a:cubicBezTo>
                  <a:pt x="24065" y="103308"/>
                  <a:pt x="24065" y="102857"/>
                  <a:pt x="24390" y="102857"/>
                </a:cubicBezTo>
                <a:cubicBezTo>
                  <a:pt x="24715" y="103308"/>
                  <a:pt x="26666" y="102857"/>
                  <a:pt x="26666" y="102857"/>
                </a:cubicBezTo>
                <a:cubicBezTo>
                  <a:pt x="26666" y="102857"/>
                  <a:pt x="26666" y="102857"/>
                  <a:pt x="26991" y="103759"/>
                </a:cubicBezTo>
                <a:cubicBezTo>
                  <a:pt x="27642" y="105112"/>
                  <a:pt x="28617" y="105563"/>
                  <a:pt x="28617" y="105563"/>
                </a:cubicBezTo>
                <a:cubicBezTo>
                  <a:pt x="28617" y="105563"/>
                  <a:pt x="28943" y="106015"/>
                  <a:pt x="28943" y="105563"/>
                </a:cubicBezTo>
                <a:cubicBezTo>
                  <a:pt x="28943" y="105112"/>
                  <a:pt x="29268" y="104661"/>
                  <a:pt x="29268" y="104661"/>
                </a:cubicBezTo>
                <a:cubicBezTo>
                  <a:pt x="29268" y="104661"/>
                  <a:pt x="29918" y="103308"/>
                  <a:pt x="29918" y="102857"/>
                </a:cubicBezTo>
                <a:cubicBezTo>
                  <a:pt x="30243" y="102406"/>
                  <a:pt x="30569" y="101052"/>
                  <a:pt x="30894" y="101052"/>
                </a:cubicBezTo>
                <a:cubicBezTo>
                  <a:pt x="31219" y="100601"/>
                  <a:pt x="32195" y="99699"/>
                  <a:pt x="32195" y="99699"/>
                </a:cubicBezTo>
                <a:cubicBezTo>
                  <a:pt x="32195" y="99699"/>
                  <a:pt x="32195" y="99248"/>
                  <a:pt x="32845" y="99699"/>
                </a:cubicBezTo>
                <a:cubicBezTo>
                  <a:pt x="33170" y="100601"/>
                  <a:pt x="34146" y="101503"/>
                  <a:pt x="34146" y="101503"/>
                </a:cubicBezTo>
                <a:cubicBezTo>
                  <a:pt x="35772" y="101503"/>
                  <a:pt x="35772" y="101503"/>
                  <a:pt x="35772" y="101503"/>
                </a:cubicBezTo>
                <a:cubicBezTo>
                  <a:pt x="35772" y="101503"/>
                  <a:pt x="36747" y="101954"/>
                  <a:pt x="36747" y="102406"/>
                </a:cubicBezTo>
                <a:cubicBezTo>
                  <a:pt x="36747" y="102857"/>
                  <a:pt x="36422" y="102857"/>
                  <a:pt x="35772" y="103308"/>
                </a:cubicBezTo>
                <a:cubicBezTo>
                  <a:pt x="35447" y="103308"/>
                  <a:pt x="34471" y="101954"/>
                  <a:pt x="34471" y="102406"/>
                </a:cubicBezTo>
                <a:cubicBezTo>
                  <a:pt x="34146" y="102857"/>
                  <a:pt x="34146" y="103759"/>
                  <a:pt x="34146" y="103759"/>
                </a:cubicBezTo>
                <a:cubicBezTo>
                  <a:pt x="32845" y="104661"/>
                  <a:pt x="32845" y="104661"/>
                  <a:pt x="32845" y="104661"/>
                </a:cubicBezTo>
                <a:cubicBezTo>
                  <a:pt x="33170" y="105563"/>
                  <a:pt x="33170" y="105563"/>
                  <a:pt x="33170" y="105563"/>
                </a:cubicBezTo>
                <a:cubicBezTo>
                  <a:pt x="33170" y="105563"/>
                  <a:pt x="34796" y="106466"/>
                  <a:pt x="34796" y="106917"/>
                </a:cubicBezTo>
                <a:cubicBezTo>
                  <a:pt x="34796" y="107368"/>
                  <a:pt x="34796" y="108270"/>
                  <a:pt x="34796" y="108270"/>
                </a:cubicBezTo>
                <a:cubicBezTo>
                  <a:pt x="35772" y="108721"/>
                  <a:pt x="35772" y="108721"/>
                  <a:pt x="35772" y="108721"/>
                </a:cubicBezTo>
                <a:cubicBezTo>
                  <a:pt x="36422" y="108270"/>
                  <a:pt x="36422" y="108270"/>
                  <a:pt x="36422" y="108270"/>
                </a:cubicBezTo>
                <a:cubicBezTo>
                  <a:pt x="36422" y="110075"/>
                  <a:pt x="36422" y="110075"/>
                  <a:pt x="36422" y="110075"/>
                </a:cubicBezTo>
                <a:cubicBezTo>
                  <a:pt x="36422" y="111879"/>
                  <a:pt x="36422" y="111879"/>
                  <a:pt x="36422" y="111879"/>
                </a:cubicBezTo>
                <a:cubicBezTo>
                  <a:pt x="36422" y="111879"/>
                  <a:pt x="36422" y="111879"/>
                  <a:pt x="36422" y="111879"/>
                </a:cubicBezTo>
                <a:cubicBezTo>
                  <a:pt x="36422" y="111879"/>
                  <a:pt x="36422" y="111879"/>
                  <a:pt x="36422" y="111879"/>
                </a:cubicBezTo>
                <a:cubicBezTo>
                  <a:pt x="38699" y="110977"/>
                  <a:pt x="40650" y="112781"/>
                  <a:pt x="41626" y="112781"/>
                </a:cubicBezTo>
                <a:cubicBezTo>
                  <a:pt x="43577" y="113233"/>
                  <a:pt x="39349" y="116390"/>
                  <a:pt x="40000" y="116390"/>
                </a:cubicBezTo>
                <a:cubicBezTo>
                  <a:pt x="40650" y="115939"/>
                  <a:pt x="40000" y="118646"/>
                  <a:pt x="40975" y="119097"/>
                </a:cubicBezTo>
                <a:cubicBezTo>
                  <a:pt x="42601" y="119548"/>
                  <a:pt x="43902" y="117744"/>
                  <a:pt x="45853" y="117744"/>
                </a:cubicBezTo>
                <a:cubicBezTo>
                  <a:pt x="47479" y="117293"/>
                  <a:pt x="49430" y="118646"/>
                  <a:pt x="50081" y="117744"/>
                </a:cubicBezTo>
                <a:cubicBezTo>
                  <a:pt x="51382" y="115488"/>
                  <a:pt x="56585" y="120000"/>
                  <a:pt x="59186" y="117744"/>
                </a:cubicBezTo>
                <a:cubicBezTo>
                  <a:pt x="60813" y="115939"/>
                  <a:pt x="67317" y="115037"/>
                  <a:pt x="69593" y="115037"/>
                </a:cubicBezTo>
                <a:cubicBezTo>
                  <a:pt x="75447" y="114586"/>
                  <a:pt x="75772" y="114586"/>
                  <a:pt x="78373" y="112330"/>
                </a:cubicBezTo>
                <a:cubicBezTo>
                  <a:pt x="78373" y="112330"/>
                  <a:pt x="80000" y="107368"/>
                  <a:pt x="80975" y="105112"/>
                </a:cubicBezTo>
                <a:cubicBezTo>
                  <a:pt x="81626" y="103308"/>
                  <a:pt x="83577" y="102406"/>
                  <a:pt x="85528" y="100601"/>
                </a:cubicBezTo>
                <a:cubicBezTo>
                  <a:pt x="87154" y="98796"/>
                  <a:pt x="91382" y="96992"/>
                  <a:pt x="92357" y="96541"/>
                </a:cubicBezTo>
                <a:cubicBezTo>
                  <a:pt x="93333" y="96541"/>
                  <a:pt x="100162" y="96992"/>
                  <a:pt x="100162" y="96992"/>
                </a:cubicBezTo>
                <a:cubicBezTo>
                  <a:pt x="103739" y="95639"/>
                  <a:pt x="103739" y="95639"/>
                  <a:pt x="103739" y="95639"/>
                </a:cubicBezTo>
                <a:cubicBezTo>
                  <a:pt x="103739" y="95639"/>
                  <a:pt x="104390" y="99248"/>
                  <a:pt x="105365" y="99699"/>
                </a:cubicBezTo>
                <a:cubicBezTo>
                  <a:pt x="109593" y="100601"/>
                  <a:pt x="112195" y="100150"/>
                  <a:pt x="112520" y="96992"/>
                </a:cubicBezTo>
                <a:cubicBezTo>
                  <a:pt x="112845" y="94736"/>
                  <a:pt x="111219" y="90676"/>
                  <a:pt x="110894" y="87518"/>
                </a:cubicBezTo>
                <a:cubicBezTo>
                  <a:pt x="110569" y="83909"/>
                  <a:pt x="111869" y="80300"/>
                  <a:pt x="111869" y="77142"/>
                </a:cubicBezTo>
                <a:cubicBezTo>
                  <a:pt x="111869" y="76691"/>
                  <a:pt x="111219" y="75789"/>
                  <a:pt x="113170" y="72180"/>
                </a:cubicBezTo>
                <a:cubicBezTo>
                  <a:pt x="114796" y="68571"/>
                  <a:pt x="119349" y="70375"/>
                  <a:pt x="120000" y="68120"/>
                </a:cubicBezTo>
                <a:cubicBezTo>
                  <a:pt x="118048" y="55488"/>
                  <a:pt x="118048" y="55488"/>
                  <a:pt x="118048" y="55488"/>
                </a:cubicBezTo>
                <a:cubicBezTo>
                  <a:pt x="117723" y="55488"/>
                  <a:pt x="117723" y="55488"/>
                  <a:pt x="117723" y="55488"/>
                </a:cubicBezTo>
                <a:cubicBezTo>
                  <a:pt x="117398" y="55488"/>
                  <a:pt x="117398" y="55488"/>
                  <a:pt x="117398" y="55488"/>
                </a:cubicBezTo>
                <a:cubicBezTo>
                  <a:pt x="116747" y="55037"/>
                  <a:pt x="116747" y="55037"/>
                  <a:pt x="116747" y="55037"/>
                </a:cubicBezTo>
                <a:cubicBezTo>
                  <a:pt x="116097" y="55037"/>
                  <a:pt x="116097" y="55037"/>
                  <a:pt x="116097" y="55037"/>
                </a:cubicBezTo>
                <a:cubicBezTo>
                  <a:pt x="115447" y="54586"/>
                  <a:pt x="115447" y="54586"/>
                  <a:pt x="115447" y="54586"/>
                </a:cubicBezTo>
                <a:cubicBezTo>
                  <a:pt x="114796" y="54135"/>
                  <a:pt x="114796" y="54135"/>
                  <a:pt x="114796" y="54135"/>
                </a:cubicBezTo>
                <a:cubicBezTo>
                  <a:pt x="114146" y="54135"/>
                  <a:pt x="114146" y="54135"/>
                  <a:pt x="114146" y="54135"/>
                </a:cubicBezTo>
                <a:cubicBezTo>
                  <a:pt x="114146" y="54135"/>
                  <a:pt x="114146" y="54135"/>
                  <a:pt x="114146" y="54135"/>
                </a:cubicBezTo>
                <a:cubicBezTo>
                  <a:pt x="113821" y="54135"/>
                  <a:pt x="113821" y="54135"/>
                  <a:pt x="113821" y="54135"/>
                </a:cubicBezTo>
                <a:cubicBezTo>
                  <a:pt x="111544" y="53684"/>
                  <a:pt x="108617" y="60902"/>
                  <a:pt x="108617" y="60902"/>
                </a:cubicBezTo>
                <a:cubicBezTo>
                  <a:pt x="107317" y="64060"/>
                  <a:pt x="107317" y="64060"/>
                  <a:pt x="107317" y="64060"/>
                </a:cubicBezTo>
                <a:cubicBezTo>
                  <a:pt x="104065" y="63157"/>
                  <a:pt x="100813" y="62706"/>
                  <a:pt x="98536" y="59097"/>
                </a:cubicBezTo>
                <a:cubicBezTo>
                  <a:pt x="98536" y="57744"/>
                  <a:pt x="98536" y="57744"/>
                  <a:pt x="98536" y="57744"/>
                </a:cubicBezTo>
                <a:cubicBezTo>
                  <a:pt x="98536" y="57744"/>
                  <a:pt x="98536" y="57744"/>
                  <a:pt x="98536" y="57744"/>
                </a:cubicBezTo>
                <a:cubicBezTo>
                  <a:pt x="98536" y="57744"/>
                  <a:pt x="98536" y="57744"/>
                  <a:pt x="98536" y="57744"/>
                </a:cubicBezTo>
                <a:cubicBezTo>
                  <a:pt x="98211" y="57293"/>
                  <a:pt x="98211" y="57293"/>
                  <a:pt x="98211" y="57293"/>
                </a:cubicBezTo>
                <a:cubicBezTo>
                  <a:pt x="98211" y="57293"/>
                  <a:pt x="97886" y="57293"/>
                  <a:pt x="97886" y="57293"/>
                </a:cubicBezTo>
                <a:cubicBezTo>
                  <a:pt x="97560" y="57293"/>
                  <a:pt x="97235" y="56842"/>
                  <a:pt x="97235" y="56842"/>
                </a:cubicBezTo>
                <a:cubicBezTo>
                  <a:pt x="97560" y="55939"/>
                  <a:pt x="97560" y="55939"/>
                  <a:pt x="97560" y="55939"/>
                </a:cubicBezTo>
                <a:cubicBezTo>
                  <a:pt x="97560" y="55939"/>
                  <a:pt x="97886" y="55488"/>
                  <a:pt x="97886" y="55488"/>
                </a:cubicBezTo>
                <a:cubicBezTo>
                  <a:pt x="98211" y="55488"/>
                  <a:pt x="97886" y="55488"/>
                  <a:pt x="97886" y="55037"/>
                </a:cubicBezTo>
                <a:cubicBezTo>
                  <a:pt x="97886" y="55037"/>
                  <a:pt x="97886" y="54135"/>
                  <a:pt x="97886" y="53684"/>
                </a:cubicBezTo>
                <a:cubicBezTo>
                  <a:pt x="97560" y="53233"/>
                  <a:pt x="97560" y="53233"/>
                  <a:pt x="97560" y="53233"/>
                </a:cubicBezTo>
                <a:cubicBezTo>
                  <a:pt x="97560" y="53233"/>
                  <a:pt x="97235" y="52330"/>
                  <a:pt x="96910" y="51879"/>
                </a:cubicBezTo>
                <a:cubicBezTo>
                  <a:pt x="96585" y="51879"/>
                  <a:pt x="96910" y="51428"/>
                  <a:pt x="96910" y="51428"/>
                </a:cubicBezTo>
                <a:cubicBezTo>
                  <a:pt x="96585" y="50977"/>
                  <a:pt x="96910" y="50977"/>
                  <a:pt x="96910" y="50526"/>
                </a:cubicBezTo>
                <a:cubicBezTo>
                  <a:pt x="96910" y="50526"/>
                  <a:pt x="96585" y="49624"/>
                  <a:pt x="96585" y="49624"/>
                </a:cubicBezTo>
                <a:cubicBezTo>
                  <a:pt x="96585" y="49624"/>
                  <a:pt x="95934" y="48270"/>
                  <a:pt x="95609" y="47368"/>
                </a:cubicBezTo>
                <a:cubicBezTo>
                  <a:pt x="95609" y="46917"/>
                  <a:pt x="95609" y="46466"/>
                  <a:pt x="95609" y="46466"/>
                </a:cubicBezTo>
                <a:cubicBezTo>
                  <a:pt x="95934" y="46015"/>
                  <a:pt x="95284" y="45563"/>
                  <a:pt x="95284" y="45563"/>
                </a:cubicBezTo>
                <a:cubicBezTo>
                  <a:pt x="95284" y="45563"/>
                  <a:pt x="95284" y="44661"/>
                  <a:pt x="95284" y="44661"/>
                </a:cubicBezTo>
                <a:cubicBezTo>
                  <a:pt x="95284" y="44661"/>
                  <a:pt x="95284" y="43759"/>
                  <a:pt x="95284" y="43759"/>
                </a:cubicBezTo>
                <a:cubicBezTo>
                  <a:pt x="95609" y="43308"/>
                  <a:pt x="95284" y="42857"/>
                  <a:pt x="95284" y="42406"/>
                </a:cubicBezTo>
                <a:cubicBezTo>
                  <a:pt x="95284" y="42406"/>
                  <a:pt x="94634" y="41954"/>
                  <a:pt x="94634" y="41954"/>
                </a:cubicBezTo>
                <a:cubicBezTo>
                  <a:pt x="94959" y="41052"/>
                  <a:pt x="94959" y="41052"/>
                  <a:pt x="94959" y="41052"/>
                </a:cubicBezTo>
                <a:cubicBezTo>
                  <a:pt x="94959" y="40601"/>
                  <a:pt x="94959" y="40601"/>
                  <a:pt x="94959" y="40601"/>
                </a:cubicBezTo>
                <a:cubicBezTo>
                  <a:pt x="94959" y="40601"/>
                  <a:pt x="95284" y="39699"/>
                  <a:pt x="95284" y="39699"/>
                </a:cubicBezTo>
                <a:cubicBezTo>
                  <a:pt x="95609" y="39248"/>
                  <a:pt x="95284" y="38796"/>
                  <a:pt x="94959" y="38796"/>
                </a:cubicBezTo>
                <a:cubicBezTo>
                  <a:pt x="94634" y="38796"/>
                  <a:pt x="94959" y="38345"/>
                  <a:pt x="94959" y="38345"/>
                </a:cubicBezTo>
                <a:cubicBezTo>
                  <a:pt x="95284" y="37443"/>
                  <a:pt x="95284" y="37443"/>
                  <a:pt x="95284" y="37443"/>
                </a:cubicBezTo>
                <a:cubicBezTo>
                  <a:pt x="94959" y="36090"/>
                  <a:pt x="94959" y="36090"/>
                  <a:pt x="94959" y="36090"/>
                </a:cubicBezTo>
                <a:cubicBezTo>
                  <a:pt x="94959" y="35639"/>
                  <a:pt x="94959" y="35639"/>
                  <a:pt x="94959" y="35639"/>
                </a:cubicBezTo>
                <a:cubicBezTo>
                  <a:pt x="94959" y="35639"/>
                  <a:pt x="94634" y="34736"/>
                  <a:pt x="94634" y="34736"/>
                </a:cubicBezTo>
                <a:cubicBezTo>
                  <a:pt x="94634" y="34285"/>
                  <a:pt x="94308" y="33383"/>
                  <a:pt x="94308" y="33383"/>
                </a:cubicBezTo>
                <a:cubicBezTo>
                  <a:pt x="94308" y="33383"/>
                  <a:pt x="94308" y="32932"/>
                  <a:pt x="94308" y="32932"/>
                </a:cubicBezTo>
                <a:cubicBezTo>
                  <a:pt x="94308" y="32481"/>
                  <a:pt x="94308" y="32481"/>
                  <a:pt x="94308" y="32481"/>
                </a:cubicBezTo>
                <a:cubicBezTo>
                  <a:pt x="94308" y="32030"/>
                  <a:pt x="93983" y="31578"/>
                  <a:pt x="93658" y="31127"/>
                </a:cubicBezTo>
                <a:cubicBezTo>
                  <a:pt x="93333" y="30225"/>
                  <a:pt x="93333" y="30225"/>
                  <a:pt x="93333" y="30225"/>
                </a:cubicBezTo>
                <a:cubicBezTo>
                  <a:pt x="93333" y="30225"/>
                  <a:pt x="92682" y="29323"/>
                  <a:pt x="92357" y="28872"/>
                </a:cubicBezTo>
                <a:cubicBezTo>
                  <a:pt x="92357" y="27969"/>
                  <a:pt x="92357" y="27969"/>
                  <a:pt x="92032" y="27518"/>
                </a:cubicBezTo>
                <a:cubicBezTo>
                  <a:pt x="92032" y="26616"/>
                  <a:pt x="91382" y="25714"/>
                  <a:pt x="91056" y="25714"/>
                </a:cubicBezTo>
                <a:cubicBezTo>
                  <a:pt x="91056" y="25714"/>
                  <a:pt x="90731" y="24360"/>
                  <a:pt x="90731" y="23909"/>
                </a:cubicBezTo>
                <a:cubicBezTo>
                  <a:pt x="90406" y="23909"/>
                  <a:pt x="89756" y="23458"/>
                  <a:pt x="89756" y="23458"/>
                </a:cubicBezTo>
                <a:cubicBezTo>
                  <a:pt x="89430" y="23458"/>
                  <a:pt x="88780" y="23007"/>
                  <a:pt x="88780" y="23007"/>
                </a:cubicBezTo>
                <a:cubicBezTo>
                  <a:pt x="87804" y="22556"/>
                  <a:pt x="87804" y="22556"/>
                  <a:pt x="87804" y="22556"/>
                </a:cubicBezTo>
                <a:cubicBezTo>
                  <a:pt x="86829" y="21203"/>
                  <a:pt x="86829" y="21203"/>
                  <a:pt x="86829" y="21203"/>
                </a:cubicBezTo>
                <a:cubicBezTo>
                  <a:pt x="86829" y="21203"/>
                  <a:pt x="86504" y="21203"/>
                  <a:pt x="86178" y="20751"/>
                </a:cubicBezTo>
                <a:cubicBezTo>
                  <a:pt x="86178" y="20751"/>
                  <a:pt x="85853" y="19849"/>
                  <a:pt x="85853" y="19849"/>
                </a:cubicBezTo>
                <a:cubicBezTo>
                  <a:pt x="85528" y="18947"/>
                  <a:pt x="85528" y="18947"/>
                  <a:pt x="85528" y="18947"/>
                </a:cubicBezTo>
                <a:cubicBezTo>
                  <a:pt x="83577" y="18045"/>
                  <a:pt x="83577" y="18045"/>
                  <a:pt x="83577" y="18045"/>
                </a:cubicBezTo>
                <a:cubicBezTo>
                  <a:pt x="83577" y="18045"/>
                  <a:pt x="83252" y="17142"/>
                  <a:pt x="83252" y="17142"/>
                </a:cubicBezTo>
                <a:cubicBezTo>
                  <a:pt x="83252" y="16691"/>
                  <a:pt x="82926" y="16691"/>
                  <a:pt x="82926" y="16240"/>
                </a:cubicBezTo>
                <a:cubicBezTo>
                  <a:pt x="82926" y="15789"/>
                  <a:pt x="82601" y="15789"/>
                  <a:pt x="82601" y="15338"/>
                </a:cubicBezTo>
                <a:cubicBezTo>
                  <a:pt x="82601" y="14887"/>
                  <a:pt x="82276" y="14887"/>
                  <a:pt x="82276" y="14887"/>
                </a:cubicBezTo>
                <a:cubicBezTo>
                  <a:pt x="81951" y="14887"/>
                  <a:pt x="81626" y="14887"/>
                  <a:pt x="81626" y="14887"/>
                </a:cubicBezTo>
                <a:cubicBezTo>
                  <a:pt x="81626" y="14887"/>
                  <a:pt x="81300" y="14436"/>
                  <a:pt x="81300" y="14436"/>
                </a:cubicBezTo>
                <a:cubicBezTo>
                  <a:pt x="81300" y="14436"/>
                  <a:pt x="80650" y="13533"/>
                  <a:pt x="80325" y="13533"/>
                </a:cubicBezTo>
                <a:cubicBezTo>
                  <a:pt x="80325" y="13082"/>
                  <a:pt x="80325" y="13082"/>
                  <a:pt x="80325" y="13082"/>
                </a:cubicBezTo>
                <a:cubicBezTo>
                  <a:pt x="80325" y="13082"/>
                  <a:pt x="80325" y="13082"/>
                  <a:pt x="80000" y="13082"/>
                </a:cubicBezTo>
                <a:cubicBezTo>
                  <a:pt x="79674" y="13082"/>
                  <a:pt x="79674" y="13082"/>
                  <a:pt x="79674" y="12631"/>
                </a:cubicBezTo>
                <a:cubicBezTo>
                  <a:pt x="79349" y="12631"/>
                  <a:pt x="79349" y="11729"/>
                  <a:pt x="79024" y="11729"/>
                </a:cubicBezTo>
                <a:cubicBezTo>
                  <a:pt x="79024" y="11729"/>
                  <a:pt x="79024" y="11729"/>
                  <a:pt x="78699" y="11729"/>
                </a:cubicBezTo>
                <a:cubicBezTo>
                  <a:pt x="78373" y="11729"/>
                  <a:pt x="78048" y="10827"/>
                  <a:pt x="78048" y="10827"/>
                </a:cubicBezTo>
                <a:cubicBezTo>
                  <a:pt x="77723" y="10827"/>
                  <a:pt x="78048" y="10375"/>
                  <a:pt x="78048" y="9924"/>
                </a:cubicBezTo>
                <a:cubicBezTo>
                  <a:pt x="78048" y="9473"/>
                  <a:pt x="77723" y="9473"/>
                  <a:pt x="77723" y="9473"/>
                </a:cubicBezTo>
                <a:cubicBezTo>
                  <a:pt x="77723" y="9473"/>
                  <a:pt x="77723" y="9473"/>
                  <a:pt x="77723" y="9473"/>
                </a:cubicBezTo>
                <a:cubicBezTo>
                  <a:pt x="77723" y="9473"/>
                  <a:pt x="77398" y="9473"/>
                  <a:pt x="77398" y="9022"/>
                </a:cubicBezTo>
                <a:cubicBezTo>
                  <a:pt x="77398" y="9022"/>
                  <a:pt x="77073" y="8571"/>
                  <a:pt x="77073" y="8120"/>
                </a:cubicBezTo>
                <a:cubicBezTo>
                  <a:pt x="77073" y="7669"/>
                  <a:pt x="77073" y="7669"/>
                  <a:pt x="77073" y="7669"/>
                </a:cubicBezTo>
                <a:cubicBezTo>
                  <a:pt x="77073" y="7669"/>
                  <a:pt x="76747" y="7218"/>
                  <a:pt x="76747" y="7218"/>
                </a:cubicBezTo>
                <a:cubicBezTo>
                  <a:pt x="76422" y="6766"/>
                  <a:pt x="76422" y="6766"/>
                  <a:pt x="76422" y="6766"/>
                </a:cubicBezTo>
                <a:cubicBezTo>
                  <a:pt x="76422" y="6315"/>
                  <a:pt x="76422" y="6315"/>
                  <a:pt x="76422" y="6315"/>
                </a:cubicBezTo>
                <a:cubicBezTo>
                  <a:pt x="76097" y="6315"/>
                  <a:pt x="76097" y="6315"/>
                  <a:pt x="76097" y="6315"/>
                </a:cubicBezTo>
                <a:cubicBezTo>
                  <a:pt x="75772" y="6315"/>
                  <a:pt x="75772" y="5864"/>
                  <a:pt x="75772" y="5413"/>
                </a:cubicBezTo>
                <a:cubicBezTo>
                  <a:pt x="75772" y="5413"/>
                  <a:pt x="75772" y="5413"/>
                  <a:pt x="75772" y="5413"/>
                </a:cubicBezTo>
                <a:cubicBezTo>
                  <a:pt x="75447" y="4962"/>
                  <a:pt x="75447" y="4962"/>
                  <a:pt x="75447" y="4962"/>
                </a:cubicBezTo>
                <a:cubicBezTo>
                  <a:pt x="75121" y="4511"/>
                  <a:pt x="75121" y="4511"/>
                  <a:pt x="75121" y="4511"/>
                </a:cubicBezTo>
                <a:cubicBezTo>
                  <a:pt x="74796" y="4060"/>
                  <a:pt x="74796" y="4060"/>
                  <a:pt x="74796" y="4060"/>
                </a:cubicBezTo>
                <a:cubicBezTo>
                  <a:pt x="74796" y="4060"/>
                  <a:pt x="74471" y="3609"/>
                  <a:pt x="74471" y="3609"/>
                </a:cubicBezTo>
                <a:cubicBezTo>
                  <a:pt x="74146" y="3157"/>
                  <a:pt x="73821" y="2706"/>
                  <a:pt x="73821" y="2706"/>
                </a:cubicBezTo>
                <a:cubicBezTo>
                  <a:pt x="73821" y="2706"/>
                  <a:pt x="73821" y="2255"/>
                  <a:pt x="73821" y="2255"/>
                </a:cubicBezTo>
                <a:cubicBezTo>
                  <a:pt x="73821" y="2255"/>
                  <a:pt x="73495" y="2255"/>
                  <a:pt x="73495" y="2255"/>
                </a:cubicBezTo>
                <a:cubicBezTo>
                  <a:pt x="72845" y="2255"/>
                  <a:pt x="72845" y="2255"/>
                  <a:pt x="72845" y="2255"/>
                </a:cubicBezTo>
                <a:cubicBezTo>
                  <a:pt x="72845" y="1353"/>
                  <a:pt x="72845" y="1353"/>
                  <a:pt x="72845" y="1353"/>
                </a:cubicBezTo>
                <a:cubicBezTo>
                  <a:pt x="72845" y="1353"/>
                  <a:pt x="72845" y="1353"/>
                  <a:pt x="72520" y="1353"/>
                </a:cubicBezTo>
                <a:cubicBezTo>
                  <a:pt x="72195" y="1353"/>
                  <a:pt x="72195" y="902"/>
                  <a:pt x="72195" y="902"/>
                </a:cubicBezTo>
                <a:cubicBezTo>
                  <a:pt x="72195" y="451"/>
                  <a:pt x="72195" y="451"/>
                  <a:pt x="72195" y="451"/>
                </a:cubicBezTo>
                <a:cubicBezTo>
                  <a:pt x="71219" y="902"/>
                  <a:pt x="71219" y="902"/>
                  <a:pt x="71219" y="902"/>
                </a:cubicBezTo>
                <a:cubicBezTo>
                  <a:pt x="71219" y="902"/>
                  <a:pt x="71219" y="902"/>
                  <a:pt x="71219" y="902"/>
                </a:cubicBezTo>
                <a:cubicBezTo>
                  <a:pt x="71219" y="902"/>
                  <a:pt x="70569" y="451"/>
                  <a:pt x="70569" y="451"/>
                </a:cubicBezTo>
                <a:cubicBezTo>
                  <a:pt x="70569" y="0"/>
                  <a:pt x="70243" y="0"/>
                  <a:pt x="70243" y="0"/>
                </a:cubicBezTo>
                <a:cubicBezTo>
                  <a:pt x="69918" y="451"/>
                  <a:pt x="69918" y="451"/>
                  <a:pt x="69918" y="451"/>
                </a:cubicBezTo>
                <a:cubicBezTo>
                  <a:pt x="69268" y="451"/>
                  <a:pt x="69268" y="451"/>
                  <a:pt x="69268" y="451"/>
                </a:cubicBezTo>
                <a:cubicBezTo>
                  <a:pt x="68943" y="451"/>
                  <a:pt x="68943" y="451"/>
                  <a:pt x="68943" y="451"/>
                </a:cubicBezTo>
                <a:cubicBezTo>
                  <a:pt x="68617" y="0"/>
                  <a:pt x="68617" y="0"/>
                  <a:pt x="68617" y="0"/>
                </a:cubicBezTo>
                <a:cubicBezTo>
                  <a:pt x="67642" y="451"/>
                  <a:pt x="67317" y="451"/>
                  <a:pt x="67317" y="451"/>
                </a:cubicBezTo>
                <a:cubicBezTo>
                  <a:pt x="66341" y="902"/>
                  <a:pt x="64715" y="2255"/>
                  <a:pt x="64715" y="3157"/>
                </a:cubicBezTo>
                <a:cubicBezTo>
                  <a:pt x="64390" y="4060"/>
                  <a:pt x="64715" y="6315"/>
                  <a:pt x="64065" y="6766"/>
                </a:cubicBezTo>
                <a:cubicBezTo>
                  <a:pt x="63089" y="6766"/>
                  <a:pt x="62113" y="9022"/>
                  <a:pt x="61788" y="9022"/>
                </a:cubicBezTo>
                <a:cubicBezTo>
                  <a:pt x="58861" y="11278"/>
                  <a:pt x="58861" y="11278"/>
                  <a:pt x="58861" y="11278"/>
                </a:cubicBezTo>
                <a:cubicBezTo>
                  <a:pt x="58861" y="11278"/>
                  <a:pt x="56585" y="12631"/>
                  <a:pt x="55284" y="12631"/>
                </a:cubicBezTo>
                <a:cubicBezTo>
                  <a:pt x="53983" y="13082"/>
                  <a:pt x="53008" y="14436"/>
                  <a:pt x="53008" y="14436"/>
                </a:cubicBezTo>
                <a:cubicBezTo>
                  <a:pt x="51382" y="17593"/>
                  <a:pt x="51382" y="17593"/>
                  <a:pt x="51382" y="17593"/>
                </a:cubicBezTo>
                <a:cubicBezTo>
                  <a:pt x="48780" y="18045"/>
                  <a:pt x="48780" y="18045"/>
                  <a:pt x="48780" y="18045"/>
                </a:cubicBezTo>
                <a:cubicBezTo>
                  <a:pt x="47479" y="16240"/>
                  <a:pt x="47479" y="16240"/>
                  <a:pt x="47479" y="16240"/>
                </a:cubicBezTo>
                <a:cubicBezTo>
                  <a:pt x="46178" y="16691"/>
                  <a:pt x="46178" y="16691"/>
                  <a:pt x="46178" y="16691"/>
                </a:cubicBezTo>
                <a:cubicBezTo>
                  <a:pt x="45853" y="16240"/>
                  <a:pt x="45853" y="16240"/>
                  <a:pt x="45853" y="16240"/>
                </a:cubicBezTo>
                <a:cubicBezTo>
                  <a:pt x="45203" y="16691"/>
                  <a:pt x="45203" y="16691"/>
                  <a:pt x="45203" y="16691"/>
                </a:cubicBezTo>
                <a:cubicBezTo>
                  <a:pt x="41300" y="16240"/>
                  <a:pt x="41300" y="16240"/>
                  <a:pt x="41300" y="16240"/>
                </a:cubicBezTo>
                <a:cubicBezTo>
                  <a:pt x="39349" y="17593"/>
                  <a:pt x="39349" y="17593"/>
                  <a:pt x="39349" y="17593"/>
                </a:cubicBezTo>
                <a:cubicBezTo>
                  <a:pt x="35772" y="17142"/>
                  <a:pt x="35772" y="17142"/>
                  <a:pt x="35772" y="17142"/>
                </a:cubicBezTo>
                <a:cubicBezTo>
                  <a:pt x="35772" y="17142"/>
                  <a:pt x="33170" y="17593"/>
                  <a:pt x="32520" y="17593"/>
                </a:cubicBezTo>
                <a:cubicBezTo>
                  <a:pt x="31544" y="17593"/>
                  <a:pt x="31544" y="17593"/>
                  <a:pt x="31544" y="17593"/>
                </a:cubicBezTo>
                <a:cubicBezTo>
                  <a:pt x="30894" y="17142"/>
                  <a:pt x="30243" y="16240"/>
                  <a:pt x="30243" y="16240"/>
                </a:cubicBezTo>
                <a:cubicBezTo>
                  <a:pt x="30243" y="16240"/>
                  <a:pt x="28943" y="16691"/>
                  <a:pt x="28617" y="17142"/>
                </a:cubicBezTo>
                <a:cubicBezTo>
                  <a:pt x="28292" y="17593"/>
                  <a:pt x="26991" y="19849"/>
                  <a:pt x="26991" y="19849"/>
                </a:cubicBezTo>
                <a:cubicBezTo>
                  <a:pt x="26991" y="20300"/>
                  <a:pt x="26991" y="20300"/>
                  <a:pt x="26991" y="20300"/>
                </a:cubicBezTo>
                <a:cubicBezTo>
                  <a:pt x="27642" y="22556"/>
                  <a:pt x="27642" y="22556"/>
                  <a:pt x="27642" y="22556"/>
                </a:cubicBezTo>
                <a:cubicBezTo>
                  <a:pt x="26341" y="23909"/>
                  <a:pt x="26341" y="23909"/>
                  <a:pt x="26341" y="23909"/>
                </a:cubicBezTo>
                <a:cubicBezTo>
                  <a:pt x="26341" y="23909"/>
                  <a:pt x="26341" y="23909"/>
                  <a:pt x="26341" y="23909"/>
                </a:cubicBezTo>
                <a:cubicBezTo>
                  <a:pt x="26341" y="23909"/>
                  <a:pt x="26341" y="23909"/>
                  <a:pt x="26341" y="23909"/>
                </a:cubicBezTo>
                <a:cubicBezTo>
                  <a:pt x="26341" y="23909"/>
                  <a:pt x="26341" y="23909"/>
                  <a:pt x="26341" y="23909"/>
                </a:cubicBezTo>
                <a:cubicBezTo>
                  <a:pt x="26341" y="23909"/>
                  <a:pt x="26341" y="23909"/>
                  <a:pt x="26341" y="23909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360"/>
                  <a:pt x="26341" y="24360"/>
                  <a:pt x="26341" y="24360"/>
                </a:cubicBezTo>
                <a:cubicBezTo>
                  <a:pt x="26341" y="24812"/>
                  <a:pt x="26016" y="24812"/>
                  <a:pt x="25691" y="24812"/>
                </a:cubicBezTo>
                <a:cubicBezTo>
                  <a:pt x="25691" y="25263"/>
                  <a:pt x="25365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5040" y="25263"/>
                  <a:pt x="25040" y="25263"/>
                  <a:pt x="25040" y="25263"/>
                </a:cubicBezTo>
                <a:cubicBezTo>
                  <a:pt x="24715" y="25714"/>
                  <a:pt x="24715" y="25714"/>
                  <a:pt x="24715" y="25714"/>
                </a:cubicBezTo>
                <a:cubicBezTo>
                  <a:pt x="23739" y="27067"/>
                  <a:pt x="23739" y="27067"/>
                  <a:pt x="23739" y="27067"/>
                </a:cubicBezTo>
                <a:cubicBezTo>
                  <a:pt x="22439" y="27518"/>
                  <a:pt x="22439" y="27518"/>
                  <a:pt x="22439" y="27518"/>
                </a:cubicBezTo>
                <a:close/>
              </a:path>
            </a:pathLst>
          </a:custGeom>
          <a:solidFill>
            <a:srgbClr val="0054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3046;p256">
            <a:extLst>
              <a:ext uri="{FF2B5EF4-FFF2-40B4-BE49-F238E27FC236}">
                <a16:creationId xmlns:a16="http://schemas.microsoft.com/office/drawing/2014/main" id="{BC317390-D020-B1F3-8F90-CBA95FEABCF4}"/>
              </a:ext>
            </a:extLst>
          </p:cNvPr>
          <p:cNvSpPr/>
          <p:nvPr/>
        </p:nvSpPr>
        <p:spPr>
          <a:xfrm>
            <a:off x="10226929" y="2854449"/>
            <a:ext cx="2250085" cy="151660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7557" y="85714"/>
                </a:moveTo>
                <a:cubicBezTo>
                  <a:pt x="27752" y="85714"/>
                  <a:pt x="28338" y="84309"/>
                  <a:pt x="28925" y="84309"/>
                </a:cubicBezTo>
                <a:cubicBezTo>
                  <a:pt x="29315" y="84028"/>
                  <a:pt x="29120" y="82622"/>
                  <a:pt x="29315" y="82060"/>
                </a:cubicBezTo>
                <a:cubicBezTo>
                  <a:pt x="29511" y="81498"/>
                  <a:pt x="30488" y="80374"/>
                  <a:pt x="31074" y="80093"/>
                </a:cubicBezTo>
                <a:cubicBezTo>
                  <a:pt x="31270" y="80093"/>
                  <a:pt x="31270" y="80093"/>
                  <a:pt x="31270" y="80093"/>
                </a:cubicBezTo>
                <a:cubicBezTo>
                  <a:pt x="31270" y="79531"/>
                  <a:pt x="31270" y="79531"/>
                  <a:pt x="31270" y="79531"/>
                </a:cubicBezTo>
                <a:cubicBezTo>
                  <a:pt x="31270" y="79531"/>
                  <a:pt x="31856" y="79250"/>
                  <a:pt x="31856" y="78969"/>
                </a:cubicBezTo>
                <a:cubicBezTo>
                  <a:pt x="32052" y="78969"/>
                  <a:pt x="32052" y="79250"/>
                  <a:pt x="32052" y="79250"/>
                </a:cubicBezTo>
                <a:cubicBezTo>
                  <a:pt x="32052" y="79250"/>
                  <a:pt x="32247" y="79531"/>
                  <a:pt x="32442" y="79531"/>
                </a:cubicBezTo>
                <a:cubicBezTo>
                  <a:pt x="32442" y="79531"/>
                  <a:pt x="32638" y="79250"/>
                  <a:pt x="32638" y="79250"/>
                </a:cubicBezTo>
                <a:cubicBezTo>
                  <a:pt x="32638" y="78969"/>
                  <a:pt x="32638" y="78688"/>
                  <a:pt x="32638" y="78688"/>
                </a:cubicBezTo>
                <a:cubicBezTo>
                  <a:pt x="32442" y="78407"/>
                  <a:pt x="32442" y="78126"/>
                  <a:pt x="32442" y="78126"/>
                </a:cubicBezTo>
                <a:cubicBezTo>
                  <a:pt x="32442" y="78126"/>
                  <a:pt x="32442" y="78126"/>
                  <a:pt x="32442" y="78126"/>
                </a:cubicBezTo>
                <a:cubicBezTo>
                  <a:pt x="32442" y="78126"/>
                  <a:pt x="32638" y="78126"/>
                  <a:pt x="32638" y="78126"/>
                </a:cubicBezTo>
                <a:cubicBezTo>
                  <a:pt x="32638" y="78126"/>
                  <a:pt x="32833" y="77845"/>
                  <a:pt x="32833" y="77845"/>
                </a:cubicBezTo>
                <a:cubicBezTo>
                  <a:pt x="33224" y="78126"/>
                  <a:pt x="33224" y="78126"/>
                  <a:pt x="33224" y="78126"/>
                </a:cubicBezTo>
                <a:cubicBezTo>
                  <a:pt x="33224" y="78126"/>
                  <a:pt x="33420" y="78126"/>
                  <a:pt x="33420" y="78126"/>
                </a:cubicBezTo>
                <a:cubicBezTo>
                  <a:pt x="33615" y="78407"/>
                  <a:pt x="33811" y="77845"/>
                  <a:pt x="33811" y="77845"/>
                </a:cubicBezTo>
                <a:cubicBezTo>
                  <a:pt x="34006" y="77564"/>
                  <a:pt x="34006" y="77564"/>
                  <a:pt x="34006" y="77564"/>
                </a:cubicBezTo>
                <a:cubicBezTo>
                  <a:pt x="34006" y="77564"/>
                  <a:pt x="34006" y="77564"/>
                  <a:pt x="34006" y="77283"/>
                </a:cubicBezTo>
                <a:cubicBezTo>
                  <a:pt x="34006" y="77283"/>
                  <a:pt x="34201" y="77283"/>
                  <a:pt x="34397" y="77283"/>
                </a:cubicBezTo>
                <a:cubicBezTo>
                  <a:pt x="34397" y="77283"/>
                  <a:pt x="34788" y="77283"/>
                  <a:pt x="34983" y="77283"/>
                </a:cubicBezTo>
                <a:cubicBezTo>
                  <a:pt x="35179" y="77283"/>
                  <a:pt x="35179" y="77283"/>
                  <a:pt x="35179" y="77283"/>
                </a:cubicBezTo>
                <a:cubicBezTo>
                  <a:pt x="35570" y="77002"/>
                  <a:pt x="35570" y="77002"/>
                  <a:pt x="35570" y="77002"/>
                </a:cubicBezTo>
                <a:cubicBezTo>
                  <a:pt x="35570" y="77002"/>
                  <a:pt x="35765" y="76721"/>
                  <a:pt x="35765" y="76721"/>
                </a:cubicBezTo>
                <a:cubicBezTo>
                  <a:pt x="35765" y="76440"/>
                  <a:pt x="35765" y="76159"/>
                  <a:pt x="35765" y="76159"/>
                </a:cubicBezTo>
                <a:cubicBezTo>
                  <a:pt x="35765" y="75878"/>
                  <a:pt x="36156" y="75878"/>
                  <a:pt x="36156" y="75878"/>
                </a:cubicBezTo>
                <a:cubicBezTo>
                  <a:pt x="36156" y="75878"/>
                  <a:pt x="36156" y="75878"/>
                  <a:pt x="36156" y="75878"/>
                </a:cubicBezTo>
                <a:cubicBezTo>
                  <a:pt x="36351" y="75878"/>
                  <a:pt x="36351" y="76159"/>
                  <a:pt x="36351" y="76159"/>
                </a:cubicBezTo>
                <a:cubicBezTo>
                  <a:pt x="36351" y="76159"/>
                  <a:pt x="36547" y="75878"/>
                  <a:pt x="36547" y="75878"/>
                </a:cubicBezTo>
                <a:cubicBezTo>
                  <a:pt x="36547" y="75597"/>
                  <a:pt x="36742" y="75597"/>
                  <a:pt x="36742" y="75597"/>
                </a:cubicBezTo>
                <a:cubicBezTo>
                  <a:pt x="36742" y="75597"/>
                  <a:pt x="37133" y="75316"/>
                  <a:pt x="37133" y="75035"/>
                </a:cubicBezTo>
                <a:cubicBezTo>
                  <a:pt x="37328" y="74754"/>
                  <a:pt x="37328" y="75035"/>
                  <a:pt x="37328" y="74473"/>
                </a:cubicBezTo>
                <a:cubicBezTo>
                  <a:pt x="37328" y="74192"/>
                  <a:pt x="37524" y="74473"/>
                  <a:pt x="37524" y="74754"/>
                </a:cubicBezTo>
                <a:cubicBezTo>
                  <a:pt x="37524" y="74754"/>
                  <a:pt x="37524" y="74754"/>
                  <a:pt x="37719" y="75035"/>
                </a:cubicBezTo>
                <a:cubicBezTo>
                  <a:pt x="37719" y="75035"/>
                  <a:pt x="37719" y="75035"/>
                  <a:pt x="38110" y="75035"/>
                </a:cubicBezTo>
                <a:cubicBezTo>
                  <a:pt x="38306" y="75316"/>
                  <a:pt x="38306" y="74754"/>
                  <a:pt x="38697" y="74754"/>
                </a:cubicBezTo>
                <a:cubicBezTo>
                  <a:pt x="39087" y="74754"/>
                  <a:pt x="38892" y="74754"/>
                  <a:pt x="39087" y="75035"/>
                </a:cubicBezTo>
                <a:cubicBezTo>
                  <a:pt x="39283" y="75035"/>
                  <a:pt x="39283" y="75035"/>
                  <a:pt x="39478" y="75035"/>
                </a:cubicBezTo>
                <a:cubicBezTo>
                  <a:pt x="39674" y="75316"/>
                  <a:pt x="39674" y="75316"/>
                  <a:pt x="39674" y="75316"/>
                </a:cubicBezTo>
                <a:cubicBezTo>
                  <a:pt x="39674" y="75316"/>
                  <a:pt x="39869" y="75316"/>
                  <a:pt x="40065" y="75597"/>
                </a:cubicBezTo>
                <a:cubicBezTo>
                  <a:pt x="40065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456" y="75878"/>
                  <a:pt x="40456" y="75878"/>
                  <a:pt x="40456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651" y="75878"/>
                  <a:pt x="40651" y="75878"/>
                  <a:pt x="40651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0846" y="75878"/>
                  <a:pt x="40846" y="75878"/>
                  <a:pt x="40846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042" y="75878"/>
                  <a:pt x="41042" y="75878"/>
                  <a:pt x="41042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237" y="75878"/>
                  <a:pt x="41237" y="75878"/>
                  <a:pt x="41237" y="75878"/>
                </a:cubicBezTo>
                <a:cubicBezTo>
                  <a:pt x="41433" y="76159"/>
                  <a:pt x="41433" y="76159"/>
                  <a:pt x="41433" y="76159"/>
                </a:cubicBezTo>
                <a:cubicBezTo>
                  <a:pt x="41433" y="76159"/>
                  <a:pt x="41433" y="76721"/>
                  <a:pt x="41628" y="76721"/>
                </a:cubicBezTo>
                <a:cubicBezTo>
                  <a:pt x="41628" y="77002"/>
                  <a:pt x="41628" y="77002"/>
                  <a:pt x="41824" y="77002"/>
                </a:cubicBezTo>
                <a:cubicBezTo>
                  <a:pt x="41824" y="77002"/>
                  <a:pt x="42019" y="76440"/>
                  <a:pt x="42019" y="76159"/>
                </a:cubicBezTo>
                <a:cubicBezTo>
                  <a:pt x="42019" y="76159"/>
                  <a:pt x="42214" y="76440"/>
                  <a:pt x="42214" y="76440"/>
                </a:cubicBezTo>
                <a:cubicBezTo>
                  <a:pt x="42214" y="76440"/>
                  <a:pt x="42214" y="77002"/>
                  <a:pt x="42410" y="77002"/>
                </a:cubicBezTo>
                <a:cubicBezTo>
                  <a:pt x="42410" y="76721"/>
                  <a:pt x="42605" y="76721"/>
                  <a:pt x="42605" y="76721"/>
                </a:cubicBezTo>
                <a:cubicBezTo>
                  <a:pt x="42801" y="76721"/>
                  <a:pt x="42605" y="76440"/>
                  <a:pt x="42605" y="76440"/>
                </a:cubicBezTo>
                <a:cubicBezTo>
                  <a:pt x="42605" y="76440"/>
                  <a:pt x="42801" y="76159"/>
                  <a:pt x="42801" y="76159"/>
                </a:cubicBezTo>
                <a:cubicBezTo>
                  <a:pt x="42996" y="76159"/>
                  <a:pt x="43387" y="76159"/>
                  <a:pt x="43387" y="76159"/>
                </a:cubicBezTo>
                <a:cubicBezTo>
                  <a:pt x="43583" y="76159"/>
                  <a:pt x="43583" y="76721"/>
                  <a:pt x="43583" y="76721"/>
                </a:cubicBezTo>
                <a:cubicBezTo>
                  <a:pt x="43583" y="76721"/>
                  <a:pt x="43387" y="77283"/>
                  <a:pt x="43387" y="77283"/>
                </a:cubicBezTo>
                <a:cubicBezTo>
                  <a:pt x="43387" y="77283"/>
                  <a:pt x="43192" y="77564"/>
                  <a:pt x="43192" y="77845"/>
                </a:cubicBezTo>
                <a:cubicBezTo>
                  <a:pt x="43192" y="77845"/>
                  <a:pt x="43192" y="77845"/>
                  <a:pt x="43387" y="77564"/>
                </a:cubicBezTo>
                <a:cubicBezTo>
                  <a:pt x="43778" y="77564"/>
                  <a:pt x="43583" y="77283"/>
                  <a:pt x="43583" y="77283"/>
                </a:cubicBezTo>
                <a:cubicBezTo>
                  <a:pt x="43778" y="76721"/>
                  <a:pt x="43778" y="76721"/>
                  <a:pt x="43778" y="76721"/>
                </a:cubicBezTo>
                <a:cubicBezTo>
                  <a:pt x="43778" y="76721"/>
                  <a:pt x="44169" y="77002"/>
                  <a:pt x="44169" y="77283"/>
                </a:cubicBezTo>
                <a:cubicBezTo>
                  <a:pt x="44169" y="77283"/>
                  <a:pt x="44169" y="77564"/>
                  <a:pt x="44169" y="77564"/>
                </a:cubicBezTo>
                <a:cubicBezTo>
                  <a:pt x="44169" y="77845"/>
                  <a:pt x="44364" y="77845"/>
                  <a:pt x="44364" y="78126"/>
                </a:cubicBezTo>
                <a:cubicBezTo>
                  <a:pt x="44560" y="78407"/>
                  <a:pt x="44364" y="78126"/>
                  <a:pt x="44364" y="78126"/>
                </a:cubicBezTo>
                <a:cubicBezTo>
                  <a:pt x="44364" y="77845"/>
                  <a:pt x="44560" y="77283"/>
                  <a:pt x="44560" y="77283"/>
                </a:cubicBezTo>
                <a:cubicBezTo>
                  <a:pt x="44755" y="76721"/>
                  <a:pt x="44755" y="76721"/>
                  <a:pt x="44755" y="76721"/>
                </a:cubicBezTo>
                <a:cubicBezTo>
                  <a:pt x="44755" y="76721"/>
                  <a:pt x="45537" y="76721"/>
                  <a:pt x="46319" y="76721"/>
                </a:cubicBezTo>
                <a:cubicBezTo>
                  <a:pt x="47100" y="76721"/>
                  <a:pt x="46514" y="76440"/>
                  <a:pt x="46514" y="76440"/>
                </a:cubicBezTo>
                <a:cubicBezTo>
                  <a:pt x="46905" y="76440"/>
                  <a:pt x="46905" y="76440"/>
                  <a:pt x="46905" y="76440"/>
                </a:cubicBezTo>
                <a:cubicBezTo>
                  <a:pt x="47100" y="77564"/>
                  <a:pt x="47100" y="77564"/>
                  <a:pt x="47100" y="77564"/>
                </a:cubicBezTo>
                <a:cubicBezTo>
                  <a:pt x="47100" y="77564"/>
                  <a:pt x="47491" y="78126"/>
                  <a:pt x="47687" y="78126"/>
                </a:cubicBezTo>
                <a:cubicBezTo>
                  <a:pt x="47882" y="78407"/>
                  <a:pt x="47882" y="78407"/>
                  <a:pt x="48273" y="78688"/>
                </a:cubicBezTo>
                <a:cubicBezTo>
                  <a:pt x="48859" y="78688"/>
                  <a:pt x="48664" y="78688"/>
                  <a:pt x="48664" y="78688"/>
                </a:cubicBezTo>
                <a:cubicBezTo>
                  <a:pt x="48859" y="78688"/>
                  <a:pt x="48859" y="78126"/>
                  <a:pt x="49055" y="77845"/>
                </a:cubicBezTo>
                <a:cubicBezTo>
                  <a:pt x="49055" y="77564"/>
                  <a:pt x="49250" y="77564"/>
                  <a:pt x="49250" y="77564"/>
                </a:cubicBezTo>
                <a:cubicBezTo>
                  <a:pt x="49250" y="77564"/>
                  <a:pt x="49641" y="78126"/>
                  <a:pt x="49641" y="78126"/>
                </a:cubicBezTo>
                <a:cubicBezTo>
                  <a:pt x="49837" y="78407"/>
                  <a:pt x="49837" y="78688"/>
                  <a:pt x="49837" y="78688"/>
                </a:cubicBezTo>
                <a:cubicBezTo>
                  <a:pt x="50423" y="78969"/>
                  <a:pt x="50423" y="78969"/>
                  <a:pt x="50423" y="78969"/>
                </a:cubicBezTo>
                <a:cubicBezTo>
                  <a:pt x="50423" y="79250"/>
                  <a:pt x="50423" y="79250"/>
                  <a:pt x="50423" y="79250"/>
                </a:cubicBezTo>
                <a:cubicBezTo>
                  <a:pt x="50423" y="80093"/>
                  <a:pt x="50423" y="80093"/>
                  <a:pt x="50423" y="80093"/>
                </a:cubicBezTo>
                <a:cubicBezTo>
                  <a:pt x="50814" y="80374"/>
                  <a:pt x="50814" y="80374"/>
                  <a:pt x="50814" y="80374"/>
                </a:cubicBezTo>
                <a:cubicBezTo>
                  <a:pt x="50618" y="80936"/>
                  <a:pt x="50618" y="80936"/>
                  <a:pt x="50618" y="80936"/>
                </a:cubicBezTo>
                <a:cubicBezTo>
                  <a:pt x="50618" y="80936"/>
                  <a:pt x="50814" y="81498"/>
                  <a:pt x="50814" y="81779"/>
                </a:cubicBezTo>
                <a:cubicBezTo>
                  <a:pt x="50814" y="81779"/>
                  <a:pt x="51009" y="82341"/>
                  <a:pt x="51009" y="82341"/>
                </a:cubicBezTo>
                <a:cubicBezTo>
                  <a:pt x="51009" y="83185"/>
                  <a:pt x="51009" y="83185"/>
                  <a:pt x="51009" y="83185"/>
                </a:cubicBezTo>
                <a:cubicBezTo>
                  <a:pt x="50814" y="83747"/>
                  <a:pt x="50814" y="83747"/>
                  <a:pt x="50814" y="83747"/>
                </a:cubicBezTo>
                <a:cubicBezTo>
                  <a:pt x="51009" y="84028"/>
                  <a:pt x="51009" y="84028"/>
                  <a:pt x="51009" y="84028"/>
                </a:cubicBezTo>
                <a:cubicBezTo>
                  <a:pt x="51009" y="84028"/>
                  <a:pt x="51009" y="84871"/>
                  <a:pt x="51205" y="85152"/>
                </a:cubicBezTo>
                <a:cubicBezTo>
                  <a:pt x="51400" y="85714"/>
                  <a:pt x="51596" y="84871"/>
                  <a:pt x="51596" y="84871"/>
                </a:cubicBezTo>
                <a:cubicBezTo>
                  <a:pt x="51986" y="84871"/>
                  <a:pt x="51986" y="84871"/>
                  <a:pt x="51986" y="84871"/>
                </a:cubicBezTo>
                <a:cubicBezTo>
                  <a:pt x="52377" y="85714"/>
                  <a:pt x="52377" y="85714"/>
                  <a:pt x="52377" y="85714"/>
                </a:cubicBezTo>
                <a:cubicBezTo>
                  <a:pt x="52573" y="85714"/>
                  <a:pt x="52573" y="85714"/>
                  <a:pt x="52573" y="85714"/>
                </a:cubicBezTo>
                <a:cubicBezTo>
                  <a:pt x="52964" y="85995"/>
                  <a:pt x="52964" y="85995"/>
                  <a:pt x="52964" y="85995"/>
                </a:cubicBezTo>
                <a:cubicBezTo>
                  <a:pt x="53159" y="86838"/>
                  <a:pt x="53159" y="86838"/>
                  <a:pt x="53159" y="86838"/>
                </a:cubicBezTo>
                <a:cubicBezTo>
                  <a:pt x="53550" y="86557"/>
                  <a:pt x="53550" y="86557"/>
                  <a:pt x="53550" y="86557"/>
                </a:cubicBezTo>
                <a:cubicBezTo>
                  <a:pt x="53745" y="85714"/>
                  <a:pt x="53745" y="85714"/>
                  <a:pt x="53745" y="85714"/>
                </a:cubicBezTo>
                <a:cubicBezTo>
                  <a:pt x="54136" y="85995"/>
                  <a:pt x="54136" y="85995"/>
                  <a:pt x="54136" y="85995"/>
                </a:cubicBezTo>
                <a:cubicBezTo>
                  <a:pt x="54527" y="85995"/>
                  <a:pt x="54527" y="85995"/>
                  <a:pt x="54527" y="85995"/>
                </a:cubicBezTo>
                <a:cubicBezTo>
                  <a:pt x="54527" y="87119"/>
                  <a:pt x="54527" y="87119"/>
                  <a:pt x="54527" y="87119"/>
                </a:cubicBezTo>
                <a:cubicBezTo>
                  <a:pt x="54527" y="87119"/>
                  <a:pt x="54723" y="87400"/>
                  <a:pt x="54723" y="87681"/>
                </a:cubicBezTo>
                <a:cubicBezTo>
                  <a:pt x="54723" y="87681"/>
                  <a:pt x="54723" y="88243"/>
                  <a:pt x="54723" y="88243"/>
                </a:cubicBezTo>
                <a:cubicBezTo>
                  <a:pt x="54918" y="88805"/>
                  <a:pt x="54918" y="88805"/>
                  <a:pt x="54918" y="88805"/>
                </a:cubicBezTo>
                <a:cubicBezTo>
                  <a:pt x="54332" y="89086"/>
                  <a:pt x="54332" y="89086"/>
                  <a:pt x="54332" y="89086"/>
                </a:cubicBezTo>
                <a:cubicBezTo>
                  <a:pt x="54723" y="89367"/>
                  <a:pt x="54723" y="89367"/>
                  <a:pt x="54723" y="89367"/>
                </a:cubicBezTo>
                <a:cubicBezTo>
                  <a:pt x="54723" y="89367"/>
                  <a:pt x="55114" y="89367"/>
                  <a:pt x="55309" y="89367"/>
                </a:cubicBezTo>
                <a:cubicBezTo>
                  <a:pt x="55504" y="89367"/>
                  <a:pt x="55504" y="90210"/>
                  <a:pt x="55504" y="90210"/>
                </a:cubicBezTo>
                <a:cubicBezTo>
                  <a:pt x="55504" y="90210"/>
                  <a:pt x="55504" y="90491"/>
                  <a:pt x="55309" y="90772"/>
                </a:cubicBezTo>
                <a:cubicBezTo>
                  <a:pt x="55309" y="90772"/>
                  <a:pt x="55309" y="91053"/>
                  <a:pt x="55309" y="91334"/>
                </a:cubicBezTo>
                <a:cubicBezTo>
                  <a:pt x="55504" y="91334"/>
                  <a:pt x="55895" y="91615"/>
                  <a:pt x="56091" y="91615"/>
                </a:cubicBezTo>
                <a:cubicBezTo>
                  <a:pt x="56482" y="91615"/>
                  <a:pt x="56482" y="91615"/>
                  <a:pt x="56482" y="91615"/>
                </a:cubicBezTo>
                <a:cubicBezTo>
                  <a:pt x="56872" y="91615"/>
                  <a:pt x="56872" y="91615"/>
                  <a:pt x="56872" y="91615"/>
                </a:cubicBezTo>
                <a:cubicBezTo>
                  <a:pt x="56872" y="91615"/>
                  <a:pt x="57068" y="91896"/>
                  <a:pt x="57263" y="91896"/>
                </a:cubicBezTo>
                <a:cubicBezTo>
                  <a:pt x="57263" y="91615"/>
                  <a:pt x="57654" y="91615"/>
                  <a:pt x="57654" y="91615"/>
                </a:cubicBezTo>
                <a:cubicBezTo>
                  <a:pt x="58045" y="92177"/>
                  <a:pt x="58045" y="92177"/>
                  <a:pt x="58045" y="92177"/>
                </a:cubicBezTo>
                <a:cubicBezTo>
                  <a:pt x="58436" y="91896"/>
                  <a:pt x="58436" y="91896"/>
                  <a:pt x="58436" y="91896"/>
                </a:cubicBezTo>
                <a:cubicBezTo>
                  <a:pt x="58436" y="92459"/>
                  <a:pt x="58436" y="92459"/>
                  <a:pt x="58436" y="92459"/>
                </a:cubicBezTo>
                <a:cubicBezTo>
                  <a:pt x="58436" y="92459"/>
                  <a:pt x="58827" y="93583"/>
                  <a:pt x="58827" y="93583"/>
                </a:cubicBezTo>
                <a:cubicBezTo>
                  <a:pt x="59022" y="93864"/>
                  <a:pt x="59022" y="94426"/>
                  <a:pt x="59022" y="94707"/>
                </a:cubicBezTo>
                <a:cubicBezTo>
                  <a:pt x="59022" y="94988"/>
                  <a:pt x="59218" y="95550"/>
                  <a:pt x="59218" y="95550"/>
                </a:cubicBezTo>
                <a:cubicBezTo>
                  <a:pt x="59218" y="95550"/>
                  <a:pt x="59022" y="95550"/>
                  <a:pt x="58827" y="95831"/>
                </a:cubicBezTo>
                <a:cubicBezTo>
                  <a:pt x="58631" y="96112"/>
                  <a:pt x="59022" y="96393"/>
                  <a:pt x="59022" y="96393"/>
                </a:cubicBezTo>
                <a:cubicBezTo>
                  <a:pt x="59413" y="96393"/>
                  <a:pt x="59413" y="96393"/>
                  <a:pt x="59413" y="96393"/>
                </a:cubicBezTo>
                <a:cubicBezTo>
                  <a:pt x="59413" y="96393"/>
                  <a:pt x="59804" y="96955"/>
                  <a:pt x="59804" y="97236"/>
                </a:cubicBezTo>
                <a:cubicBezTo>
                  <a:pt x="59999" y="97517"/>
                  <a:pt x="60390" y="97236"/>
                  <a:pt x="60586" y="97236"/>
                </a:cubicBezTo>
                <a:cubicBezTo>
                  <a:pt x="60781" y="96955"/>
                  <a:pt x="61172" y="97236"/>
                  <a:pt x="61172" y="97517"/>
                </a:cubicBezTo>
                <a:cubicBezTo>
                  <a:pt x="61172" y="97517"/>
                  <a:pt x="60586" y="97798"/>
                  <a:pt x="60390" y="97798"/>
                </a:cubicBezTo>
                <a:cubicBezTo>
                  <a:pt x="60195" y="98079"/>
                  <a:pt x="59609" y="98079"/>
                  <a:pt x="59609" y="98079"/>
                </a:cubicBezTo>
                <a:cubicBezTo>
                  <a:pt x="59413" y="98922"/>
                  <a:pt x="59413" y="98922"/>
                  <a:pt x="59413" y="98922"/>
                </a:cubicBezTo>
                <a:cubicBezTo>
                  <a:pt x="59022" y="99203"/>
                  <a:pt x="59022" y="99203"/>
                  <a:pt x="59022" y="99203"/>
                </a:cubicBezTo>
                <a:cubicBezTo>
                  <a:pt x="58827" y="98360"/>
                  <a:pt x="58827" y="98360"/>
                  <a:pt x="58827" y="98360"/>
                </a:cubicBezTo>
                <a:cubicBezTo>
                  <a:pt x="58045" y="97517"/>
                  <a:pt x="58045" y="97517"/>
                  <a:pt x="58045" y="97517"/>
                </a:cubicBezTo>
                <a:cubicBezTo>
                  <a:pt x="58045" y="98360"/>
                  <a:pt x="58045" y="98360"/>
                  <a:pt x="58045" y="98360"/>
                </a:cubicBezTo>
                <a:cubicBezTo>
                  <a:pt x="57654" y="98641"/>
                  <a:pt x="57654" y="98641"/>
                  <a:pt x="57654" y="98641"/>
                </a:cubicBezTo>
                <a:cubicBezTo>
                  <a:pt x="57654" y="98641"/>
                  <a:pt x="57654" y="98922"/>
                  <a:pt x="57654" y="99203"/>
                </a:cubicBezTo>
                <a:cubicBezTo>
                  <a:pt x="57654" y="99484"/>
                  <a:pt x="57459" y="99484"/>
                  <a:pt x="57459" y="99484"/>
                </a:cubicBezTo>
                <a:cubicBezTo>
                  <a:pt x="57068" y="99203"/>
                  <a:pt x="57068" y="99203"/>
                  <a:pt x="57068" y="99203"/>
                </a:cubicBezTo>
                <a:cubicBezTo>
                  <a:pt x="57068" y="99203"/>
                  <a:pt x="56677" y="99203"/>
                  <a:pt x="56482" y="99203"/>
                </a:cubicBezTo>
                <a:cubicBezTo>
                  <a:pt x="56286" y="99203"/>
                  <a:pt x="56286" y="98641"/>
                  <a:pt x="56286" y="98641"/>
                </a:cubicBezTo>
                <a:cubicBezTo>
                  <a:pt x="56091" y="98922"/>
                  <a:pt x="56091" y="98922"/>
                  <a:pt x="56091" y="98922"/>
                </a:cubicBezTo>
                <a:cubicBezTo>
                  <a:pt x="56091" y="98922"/>
                  <a:pt x="56091" y="99203"/>
                  <a:pt x="55895" y="99484"/>
                </a:cubicBezTo>
                <a:cubicBezTo>
                  <a:pt x="55895" y="99765"/>
                  <a:pt x="55895" y="99484"/>
                  <a:pt x="55504" y="99484"/>
                </a:cubicBezTo>
                <a:cubicBezTo>
                  <a:pt x="55309" y="99765"/>
                  <a:pt x="55309" y="99203"/>
                  <a:pt x="55114" y="98922"/>
                </a:cubicBezTo>
                <a:cubicBezTo>
                  <a:pt x="55114" y="98360"/>
                  <a:pt x="55114" y="98922"/>
                  <a:pt x="54918" y="98922"/>
                </a:cubicBezTo>
                <a:cubicBezTo>
                  <a:pt x="54723" y="98922"/>
                  <a:pt x="55114" y="99765"/>
                  <a:pt x="55114" y="99765"/>
                </a:cubicBezTo>
                <a:cubicBezTo>
                  <a:pt x="54918" y="100046"/>
                  <a:pt x="54918" y="100046"/>
                  <a:pt x="54918" y="100046"/>
                </a:cubicBezTo>
                <a:cubicBezTo>
                  <a:pt x="54918" y="100046"/>
                  <a:pt x="54918" y="100608"/>
                  <a:pt x="54527" y="100889"/>
                </a:cubicBezTo>
                <a:cubicBezTo>
                  <a:pt x="54332" y="100889"/>
                  <a:pt x="54527" y="100327"/>
                  <a:pt x="54527" y="100327"/>
                </a:cubicBezTo>
                <a:cubicBezTo>
                  <a:pt x="54527" y="99203"/>
                  <a:pt x="54527" y="99203"/>
                  <a:pt x="54527" y="99203"/>
                </a:cubicBezTo>
                <a:cubicBezTo>
                  <a:pt x="54136" y="97798"/>
                  <a:pt x="54136" y="97798"/>
                  <a:pt x="54136" y="97798"/>
                </a:cubicBezTo>
                <a:cubicBezTo>
                  <a:pt x="54136" y="97798"/>
                  <a:pt x="53355" y="98922"/>
                  <a:pt x="53159" y="98922"/>
                </a:cubicBezTo>
                <a:cubicBezTo>
                  <a:pt x="53159" y="99203"/>
                  <a:pt x="52768" y="100327"/>
                  <a:pt x="52573" y="100327"/>
                </a:cubicBezTo>
                <a:cubicBezTo>
                  <a:pt x="52573" y="100608"/>
                  <a:pt x="52573" y="101170"/>
                  <a:pt x="52573" y="101170"/>
                </a:cubicBezTo>
                <a:cubicBezTo>
                  <a:pt x="52964" y="102014"/>
                  <a:pt x="52964" y="102014"/>
                  <a:pt x="52964" y="102014"/>
                </a:cubicBezTo>
                <a:cubicBezTo>
                  <a:pt x="52964" y="102857"/>
                  <a:pt x="52964" y="102857"/>
                  <a:pt x="52964" y="102857"/>
                </a:cubicBezTo>
                <a:cubicBezTo>
                  <a:pt x="53355" y="103419"/>
                  <a:pt x="53355" y="103419"/>
                  <a:pt x="53355" y="103419"/>
                </a:cubicBezTo>
                <a:cubicBezTo>
                  <a:pt x="53355" y="103419"/>
                  <a:pt x="53745" y="103419"/>
                  <a:pt x="53941" y="103700"/>
                </a:cubicBezTo>
                <a:cubicBezTo>
                  <a:pt x="54136" y="103700"/>
                  <a:pt x="53941" y="104262"/>
                  <a:pt x="53941" y="104262"/>
                </a:cubicBezTo>
                <a:cubicBezTo>
                  <a:pt x="53745" y="105386"/>
                  <a:pt x="53745" y="105386"/>
                  <a:pt x="53745" y="105386"/>
                </a:cubicBezTo>
                <a:cubicBezTo>
                  <a:pt x="53745" y="105386"/>
                  <a:pt x="53941" y="105667"/>
                  <a:pt x="54136" y="105948"/>
                </a:cubicBezTo>
                <a:cubicBezTo>
                  <a:pt x="54136" y="106229"/>
                  <a:pt x="53745" y="106791"/>
                  <a:pt x="53745" y="106791"/>
                </a:cubicBezTo>
                <a:cubicBezTo>
                  <a:pt x="53550" y="106791"/>
                  <a:pt x="52964" y="107634"/>
                  <a:pt x="52964" y="107634"/>
                </a:cubicBezTo>
                <a:cubicBezTo>
                  <a:pt x="52964" y="107634"/>
                  <a:pt x="52768" y="107915"/>
                  <a:pt x="52573" y="107915"/>
                </a:cubicBezTo>
                <a:cubicBezTo>
                  <a:pt x="52377" y="107915"/>
                  <a:pt x="52768" y="108758"/>
                  <a:pt x="52768" y="108758"/>
                </a:cubicBezTo>
                <a:cubicBezTo>
                  <a:pt x="52964" y="109601"/>
                  <a:pt x="52964" y="109601"/>
                  <a:pt x="52964" y="109601"/>
                </a:cubicBezTo>
                <a:cubicBezTo>
                  <a:pt x="52964" y="109601"/>
                  <a:pt x="52768" y="109882"/>
                  <a:pt x="52768" y="109882"/>
                </a:cubicBezTo>
                <a:cubicBezTo>
                  <a:pt x="52573" y="110163"/>
                  <a:pt x="52573" y="110725"/>
                  <a:pt x="52573" y="110725"/>
                </a:cubicBezTo>
                <a:cubicBezTo>
                  <a:pt x="52182" y="110725"/>
                  <a:pt x="52182" y="110725"/>
                  <a:pt x="52182" y="110725"/>
                </a:cubicBezTo>
                <a:cubicBezTo>
                  <a:pt x="51986" y="111288"/>
                  <a:pt x="51986" y="111288"/>
                  <a:pt x="51986" y="111288"/>
                </a:cubicBezTo>
                <a:cubicBezTo>
                  <a:pt x="51986" y="111288"/>
                  <a:pt x="51986" y="112131"/>
                  <a:pt x="51791" y="112131"/>
                </a:cubicBezTo>
                <a:cubicBezTo>
                  <a:pt x="51596" y="112131"/>
                  <a:pt x="51791" y="112693"/>
                  <a:pt x="51791" y="112693"/>
                </a:cubicBezTo>
                <a:cubicBezTo>
                  <a:pt x="51596" y="113255"/>
                  <a:pt x="51596" y="113255"/>
                  <a:pt x="51596" y="113255"/>
                </a:cubicBezTo>
                <a:cubicBezTo>
                  <a:pt x="52377" y="113817"/>
                  <a:pt x="52377" y="113817"/>
                  <a:pt x="52377" y="113817"/>
                </a:cubicBezTo>
                <a:cubicBezTo>
                  <a:pt x="52182" y="114379"/>
                  <a:pt x="52182" y="114379"/>
                  <a:pt x="52182" y="114379"/>
                </a:cubicBezTo>
                <a:cubicBezTo>
                  <a:pt x="52182" y="114941"/>
                  <a:pt x="52182" y="114941"/>
                  <a:pt x="52182" y="114941"/>
                </a:cubicBezTo>
                <a:cubicBezTo>
                  <a:pt x="52377" y="114941"/>
                  <a:pt x="52377" y="114941"/>
                  <a:pt x="52377" y="114941"/>
                </a:cubicBezTo>
                <a:cubicBezTo>
                  <a:pt x="52377" y="114941"/>
                  <a:pt x="51986" y="115222"/>
                  <a:pt x="51791" y="115222"/>
                </a:cubicBezTo>
                <a:cubicBezTo>
                  <a:pt x="51596" y="115503"/>
                  <a:pt x="51400" y="115222"/>
                  <a:pt x="51205" y="115503"/>
                </a:cubicBezTo>
                <a:cubicBezTo>
                  <a:pt x="51009" y="115503"/>
                  <a:pt x="50423" y="115784"/>
                  <a:pt x="50423" y="115784"/>
                </a:cubicBezTo>
                <a:cubicBezTo>
                  <a:pt x="50228" y="116908"/>
                  <a:pt x="50228" y="116908"/>
                  <a:pt x="50228" y="116908"/>
                </a:cubicBezTo>
                <a:cubicBezTo>
                  <a:pt x="49837" y="116908"/>
                  <a:pt x="49837" y="116908"/>
                  <a:pt x="49837" y="116908"/>
                </a:cubicBezTo>
                <a:cubicBezTo>
                  <a:pt x="49837" y="116346"/>
                  <a:pt x="49837" y="116346"/>
                  <a:pt x="49837" y="116346"/>
                </a:cubicBezTo>
                <a:cubicBezTo>
                  <a:pt x="49641" y="116065"/>
                  <a:pt x="49641" y="116065"/>
                  <a:pt x="49641" y="116065"/>
                </a:cubicBezTo>
                <a:cubicBezTo>
                  <a:pt x="49641" y="116627"/>
                  <a:pt x="49641" y="116908"/>
                  <a:pt x="49641" y="116908"/>
                </a:cubicBezTo>
                <a:cubicBezTo>
                  <a:pt x="51596" y="118875"/>
                  <a:pt x="51596" y="118875"/>
                  <a:pt x="51596" y="118875"/>
                </a:cubicBezTo>
                <a:cubicBezTo>
                  <a:pt x="54918" y="120000"/>
                  <a:pt x="54918" y="120000"/>
                  <a:pt x="54918" y="120000"/>
                </a:cubicBezTo>
                <a:cubicBezTo>
                  <a:pt x="55700" y="118032"/>
                  <a:pt x="55700" y="118032"/>
                  <a:pt x="55700" y="118032"/>
                </a:cubicBezTo>
                <a:cubicBezTo>
                  <a:pt x="55700" y="118032"/>
                  <a:pt x="57459" y="113536"/>
                  <a:pt x="58827" y="113817"/>
                </a:cubicBezTo>
                <a:cubicBezTo>
                  <a:pt x="59804" y="114098"/>
                  <a:pt x="61172" y="114660"/>
                  <a:pt x="61368" y="114660"/>
                </a:cubicBezTo>
                <a:cubicBezTo>
                  <a:pt x="61172" y="112974"/>
                  <a:pt x="59022" y="110163"/>
                  <a:pt x="59413" y="109601"/>
                </a:cubicBezTo>
                <a:cubicBezTo>
                  <a:pt x="59804" y="108758"/>
                  <a:pt x="60781" y="106791"/>
                  <a:pt x="61368" y="105667"/>
                </a:cubicBezTo>
                <a:cubicBezTo>
                  <a:pt x="61758" y="104543"/>
                  <a:pt x="63713" y="103700"/>
                  <a:pt x="63713" y="103700"/>
                </a:cubicBezTo>
                <a:cubicBezTo>
                  <a:pt x="65276" y="99484"/>
                  <a:pt x="65276" y="99484"/>
                  <a:pt x="65276" y="99484"/>
                </a:cubicBezTo>
                <a:cubicBezTo>
                  <a:pt x="64885" y="93021"/>
                  <a:pt x="64495" y="91334"/>
                  <a:pt x="69185" y="90491"/>
                </a:cubicBezTo>
                <a:cubicBezTo>
                  <a:pt x="69967" y="90210"/>
                  <a:pt x="70944" y="89367"/>
                  <a:pt x="70944" y="89367"/>
                </a:cubicBezTo>
                <a:cubicBezTo>
                  <a:pt x="72508" y="88524"/>
                  <a:pt x="72508" y="88524"/>
                  <a:pt x="72508" y="88524"/>
                </a:cubicBezTo>
                <a:cubicBezTo>
                  <a:pt x="75439" y="87962"/>
                  <a:pt x="75439" y="87962"/>
                  <a:pt x="75439" y="87962"/>
                </a:cubicBezTo>
                <a:cubicBezTo>
                  <a:pt x="73094" y="89929"/>
                  <a:pt x="73094" y="89929"/>
                  <a:pt x="73094" y="89929"/>
                </a:cubicBezTo>
                <a:cubicBezTo>
                  <a:pt x="71335" y="92740"/>
                  <a:pt x="71335" y="92740"/>
                  <a:pt x="71335" y="92740"/>
                </a:cubicBezTo>
                <a:cubicBezTo>
                  <a:pt x="73680" y="93583"/>
                  <a:pt x="73680" y="93583"/>
                  <a:pt x="73680" y="93583"/>
                </a:cubicBezTo>
                <a:cubicBezTo>
                  <a:pt x="73680" y="93583"/>
                  <a:pt x="73680" y="96112"/>
                  <a:pt x="74853" y="95550"/>
                </a:cubicBezTo>
                <a:cubicBezTo>
                  <a:pt x="75830" y="94988"/>
                  <a:pt x="78175" y="93583"/>
                  <a:pt x="78566" y="93583"/>
                </a:cubicBezTo>
                <a:cubicBezTo>
                  <a:pt x="78957" y="93302"/>
                  <a:pt x="81107" y="92459"/>
                  <a:pt x="81693" y="92459"/>
                </a:cubicBezTo>
                <a:cubicBezTo>
                  <a:pt x="82280" y="92459"/>
                  <a:pt x="85407" y="91896"/>
                  <a:pt x="85407" y="91896"/>
                </a:cubicBezTo>
                <a:cubicBezTo>
                  <a:pt x="85798" y="94426"/>
                  <a:pt x="85798" y="94426"/>
                  <a:pt x="85798" y="94426"/>
                </a:cubicBezTo>
                <a:cubicBezTo>
                  <a:pt x="84429" y="96955"/>
                  <a:pt x="84429" y="96955"/>
                  <a:pt x="84429" y="96955"/>
                </a:cubicBezTo>
                <a:cubicBezTo>
                  <a:pt x="82671" y="99484"/>
                  <a:pt x="82671" y="99484"/>
                  <a:pt x="82671" y="99484"/>
                </a:cubicBezTo>
                <a:cubicBezTo>
                  <a:pt x="79934" y="103138"/>
                  <a:pt x="79934" y="103138"/>
                  <a:pt x="79934" y="103138"/>
                </a:cubicBezTo>
                <a:cubicBezTo>
                  <a:pt x="79934" y="103138"/>
                  <a:pt x="79153" y="105105"/>
                  <a:pt x="79543" y="105386"/>
                </a:cubicBezTo>
                <a:cubicBezTo>
                  <a:pt x="79934" y="105667"/>
                  <a:pt x="82866" y="105105"/>
                  <a:pt x="82866" y="105105"/>
                </a:cubicBezTo>
                <a:cubicBezTo>
                  <a:pt x="86188" y="105386"/>
                  <a:pt x="86188" y="105386"/>
                  <a:pt x="86188" y="105386"/>
                </a:cubicBezTo>
                <a:cubicBezTo>
                  <a:pt x="86188" y="105386"/>
                  <a:pt x="86775" y="105667"/>
                  <a:pt x="87166" y="107353"/>
                </a:cubicBezTo>
                <a:cubicBezTo>
                  <a:pt x="87752" y="109320"/>
                  <a:pt x="88143" y="110163"/>
                  <a:pt x="88338" y="110725"/>
                </a:cubicBezTo>
                <a:cubicBezTo>
                  <a:pt x="88729" y="111569"/>
                  <a:pt x="89511" y="113255"/>
                  <a:pt x="89511" y="113255"/>
                </a:cubicBezTo>
                <a:cubicBezTo>
                  <a:pt x="89511" y="113255"/>
                  <a:pt x="88729" y="114379"/>
                  <a:pt x="89706" y="114098"/>
                </a:cubicBezTo>
                <a:cubicBezTo>
                  <a:pt x="90879" y="114098"/>
                  <a:pt x="91661" y="113817"/>
                  <a:pt x="91661" y="113817"/>
                </a:cubicBezTo>
                <a:cubicBezTo>
                  <a:pt x="91661" y="113817"/>
                  <a:pt x="91856" y="112131"/>
                  <a:pt x="92247" y="111569"/>
                </a:cubicBezTo>
                <a:cubicBezTo>
                  <a:pt x="92833" y="111288"/>
                  <a:pt x="93420" y="110444"/>
                  <a:pt x="93420" y="110444"/>
                </a:cubicBezTo>
                <a:cubicBezTo>
                  <a:pt x="93420" y="110444"/>
                  <a:pt x="93224" y="108758"/>
                  <a:pt x="93811" y="108196"/>
                </a:cubicBezTo>
                <a:cubicBezTo>
                  <a:pt x="94397" y="107915"/>
                  <a:pt x="95179" y="107634"/>
                  <a:pt x="95960" y="107353"/>
                </a:cubicBezTo>
                <a:cubicBezTo>
                  <a:pt x="96742" y="106791"/>
                  <a:pt x="97524" y="104824"/>
                  <a:pt x="97524" y="104824"/>
                </a:cubicBezTo>
                <a:cubicBezTo>
                  <a:pt x="98501" y="103700"/>
                  <a:pt x="98501" y="103700"/>
                  <a:pt x="98501" y="103700"/>
                </a:cubicBezTo>
                <a:cubicBezTo>
                  <a:pt x="100846" y="102576"/>
                  <a:pt x="100846" y="102576"/>
                  <a:pt x="100846" y="102576"/>
                </a:cubicBezTo>
                <a:cubicBezTo>
                  <a:pt x="100651" y="99765"/>
                  <a:pt x="100651" y="99765"/>
                  <a:pt x="100651" y="99765"/>
                </a:cubicBezTo>
                <a:cubicBezTo>
                  <a:pt x="100651" y="99765"/>
                  <a:pt x="100846" y="99203"/>
                  <a:pt x="101433" y="99203"/>
                </a:cubicBezTo>
                <a:cubicBezTo>
                  <a:pt x="101824" y="98922"/>
                  <a:pt x="105928" y="96955"/>
                  <a:pt x="105928" y="96955"/>
                </a:cubicBezTo>
                <a:cubicBezTo>
                  <a:pt x="107100" y="94145"/>
                  <a:pt x="107100" y="94145"/>
                  <a:pt x="107100" y="94145"/>
                </a:cubicBezTo>
                <a:cubicBezTo>
                  <a:pt x="107100" y="91334"/>
                  <a:pt x="107100" y="91334"/>
                  <a:pt x="107100" y="91334"/>
                </a:cubicBezTo>
                <a:cubicBezTo>
                  <a:pt x="107100" y="91334"/>
                  <a:pt x="107491" y="89648"/>
                  <a:pt x="106710" y="89648"/>
                </a:cubicBezTo>
                <a:cubicBezTo>
                  <a:pt x="105928" y="89648"/>
                  <a:pt x="103973" y="92459"/>
                  <a:pt x="103973" y="92459"/>
                </a:cubicBezTo>
                <a:cubicBezTo>
                  <a:pt x="101824" y="92740"/>
                  <a:pt x="101824" y="92740"/>
                  <a:pt x="101824" y="92740"/>
                </a:cubicBezTo>
                <a:cubicBezTo>
                  <a:pt x="101824" y="92740"/>
                  <a:pt x="100846" y="95269"/>
                  <a:pt x="100456" y="95269"/>
                </a:cubicBezTo>
                <a:cubicBezTo>
                  <a:pt x="100065" y="95550"/>
                  <a:pt x="98892" y="96112"/>
                  <a:pt x="98501" y="95831"/>
                </a:cubicBezTo>
                <a:cubicBezTo>
                  <a:pt x="98110" y="95831"/>
                  <a:pt x="98697" y="98922"/>
                  <a:pt x="97328" y="95269"/>
                </a:cubicBezTo>
                <a:cubicBezTo>
                  <a:pt x="95960" y="91615"/>
                  <a:pt x="95374" y="91615"/>
                  <a:pt x="95374" y="91615"/>
                </a:cubicBezTo>
                <a:cubicBezTo>
                  <a:pt x="94006" y="91615"/>
                  <a:pt x="94006" y="91615"/>
                  <a:pt x="94006" y="91615"/>
                </a:cubicBezTo>
                <a:cubicBezTo>
                  <a:pt x="94006" y="91615"/>
                  <a:pt x="92833" y="92459"/>
                  <a:pt x="92638" y="91896"/>
                </a:cubicBezTo>
                <a:cubicBezTo>
                  <a:pt x="92638" y="91334"/>
                  <a:pt x="92052" y="89648"/>
                  <a:pt x="92052" y="89648"/>
                </a:cubicBezTo>
                <a:cubicBezTo>
                  <a:pt x="90097" y="89648"/>
                  <a:pt x="90097" y="89648"/>
                  <a:pt x="90097" y="89648"/>
                </a:cubicBezTo>
                <a:cubicBezTo>
                  <a:pt x="89315" y="90210"/>
                  <a:pt x="89315" y="90210"/>
                  <a:pt x="89315" y="90210"/>
                </a:cubicBezTo>
                <a:cubicBezTo>
                  <a:pt x="86384" y="89929"/>
                  <a:pt x="86384" y="89929"/>
                  <a:pt x="86384" y="89929"/>
                </a:cubicBezTo>
                <a:cubicBezTo>
                  <a:pt x="85211" y="88805"/>
                  <a:pt x="85211" y="88805"/>
                  <a:pt x="85211" y="88805"/>
                </a:cubicBezTo>
                <a:cubicBezTo>
                  <a:pt x="86775" y="87681"/>
                  <a:pt x="86775" y="87681"/>
                  <a:pt x="86775" y="87681"/>
                </a:cubicBezTo>
                <a:cubicBezTo>
                  <a:pt x="86775" y="87681"/>
                  <a:pt x="87361" y="88524"/>
                  <a:pt x="87557" y="88524"/>
                </a:cubicBezTo>
                <a:cubicBezTo>
                  <a:pt x="87947" y="88243"/>
                  <a:pt x="87557" y="87400"/>
                  <a:pt x="87947" y="87119"/>
                </a:cubicBezTo>
                <a:cubicBezTo>
                  <a:pt x="88534" y="86838"/>
                  <a:pt x="89120" y="85995"/>
                  <a:pt x="89706" y="86557"/>
                </a:cubicBezTo>
                <a:cubicBezTo>
                  <a:pt x="90293" y="86838"/>
                  <a:pt x="89706" y="88524"/>
                  <a:pt x="90684" y="87400"/>
                </a:cubicBezTo>
                <a:cubicBezTo>
                  <a:pt x="91661" y="86276"/>
                  <a:pt x="92638" y="86557"/>
                  <a:pt x="92638" y="86557"/>
                </a:cubicBezTo>
                <a:cubicBezTo>
                  <a:pt x="93811" y="83747"/>
                  <a:pt x="93811" y="83747"/>
                  <a:pt x="93811" y="83747"/>
                </a:cubicBezTo>
                <a:cubicBezTo>
                  <a:pt x="94592" y="81217"/>
                  <a:pt x="94592" y="81217"/>
                  <a:pt x="94592" y="81217"/>
                </a:cubicBezTo>
                <a:cubicBezTo>
                  <a:pt x="94592" y="81217"/>
                  <a:pt x="94983" y="81498"/>
                  <a:pt x="95374" y="81779"/>
                </a:cubicBezTo>
                <a:cubicBezTo>
                  <a:pt x="95960" y="81779"/>
                  <a:pt x="97328" y="78407"/>
                  <a:pt x="97328" y="78407"/>
                </a:cubicBezTo>
                <a:cubicBezTo>
                  <a:pt x="97328" y="78407"/>
                  <a:pt x="97524" y="75035"/>
                  <a:pt x="97915" y="75035"/>
                </a:cubicBezTo>
                <a:cubicBezTo>
                  <a:pt x="98306" y="74754"/>
                  <a:pt x="101237" y="73348"/>
                  <a:pt x="101237" y="73348"/>
                </a:cubicBezTo>
                <a:cubicBezTo>
                  <a:pt x="103192" y="71662"/>
                  <a:pt x="103192" y="71662"/>
                  <a:pt x="103192" y="71662"/>
                </a:cubicBezTo>
                <a:cubicBezTo>
                  <a:pt x="103192" y="71662"/>
                  <a:pt x="104169" y="69695"/>
                  <a:pt x="104560" y="69414"/>
                </a:cubicBezTo>
                <a:cubicBezTo>
                  <a:pt x="104951" y="69414"/>
                  <a:pt x="105342" y="68290"/>
                  <a:pt x="105732" y="66885"/>
                </a:cubicBezTo>
                <a:cubicBezTo>
                  <a:pt x="106319" y="65761"/>
                  <a:pt x="106710" y="64918"/>
                  <a:pt x="106710" y="64918"/>
                </a:cubicBezTo>
                <a:cubicBezTo>
                  <a:pt x="106710" y="64918"/>
                  <a:pt x="109055" y="64074"/>
                  <a:pt x="108859" y="63793"/>
                </a:cubicBezTo>
                <a:cubicBezTo>
                  <a:pt x="108859" y="63231"/>
                  <a:pt x="107882" y="62107"/>
                  <a:pt x="109055" y="62107"/>
                </a:cubicBezTo>
                <a:cubicBezTo>
                  <a:pt x="110228" y="62107"/>
                  <a:pt x="110228" y="62107"/>
                  <a:pt x="110814" y="61545"/>
                </a:cubicBezTo>
                <a:cubicBezTo>
                  <a:pt x="111205" y="61264"/>
                  <a:pt x="111009" y="60983"/>
                  <a:pt x="111205" y="60140"/>
                </a:cubicBezTo>
                <a:cubicBezTo>
                  <a:pt x="111596" y="59578"/>
                  <a:pt x="111791" y="58735"/>
                  <a:pt x="111791" y="58173"/>
                </a:cubicBezTo>
                <a:cubicBezTo>
                  <a:pt x="111596" y="57611"/>
                  <a:pt x="110618" y="55362"/>
                  <a:pt x="110618" y="54800"/>
                </a:cubicBezTo>
                <a:cubicBezTo>
                  <a:pt x="110423" y="53957"/>
                  <a:pt x="110618" y="52271"/>
                  <a:pt x="110618" y="52271"/>
                </a:cubicBezTo>
                <a:cubicBezTo>
                  <a:pt x="110618" y="52271"/>
                  <a:pt x="111205" y="51990"/>
                  <a:pt x="111791" y="51709"/>
                </a:cubicBezTo>
                <a:cubicBezTo>
                  <a:pt x="112182" y="51147"/>
                  <a:pt x="112964" y="49180"/>
                  <a:pt x="112964" y="49180"/>
                </a:cubicBezTo>
                <a:cubicBezTo>
                  <a:pt x="113159" y="47775"/>
                  <a:pt x="113159" y="47775"/>
                  <a:pt x="113159" y="47775"/>
                </a:cubicBezTo>
                <a:cubicBezTo>
                  <a:pt x="113159" y="47775"/>
                  <a:pt x="113941" y="46932"/>
                  <a:pt x="114136" y="46932"/>
                </a:cubicBezTo>
                <a:cubicBezTo>
                  <a:pt x="114527" y="46651"/>
                  <a:pt x="117654" y="44964"/>
                  <a:pt x="117850" y="44964"/>
                </a:cubicBezTo>
                <a:cubicBezTo>
                  <a:pt x="118045" y="44964"/>
                  <a:pt x="119999" y="45245"/>
                  <a:pt x="119413" y="43840"/>
                </a:cubicBezTo>
                <a:cubicBezTo>
                  <a:pt x="118827" y="42716"/>
                  <a:pt x="118631" y="42154"/>
                  <a:pt x="118436" y="41311"/>
                </a:cubicBezTo>
                <a:cubicBezTo>
                  <a:pt x="118241" y="40468"/>
                  <a:pt x="118241" y="38501"/>
                  <a:pt x="118241" y="38220"/>
                </a:cubicBezTo>
                <a:cubicBezTo>
                  <a:pt x="118436" y="37939"/>
                  <a:pt x="119999" y="37096"/>
                  <a:pt x="118241" y="36814"/>
                </a:cubicBezTo>
                <a:cubicBezTo>
                  <a:pt x="116482" y="36533"/>
                  <a:pt x="117850" y="35690"/>
                  <a:pt x="117459" y="35128"/>
                </a:cubicBezTo>
                <a:cubicBezTo>
                  <a:pt x="116872" y="34566"/>
                  <a:pt x="115700" y="33442"/>
                  <a:pt x="115700" y="33442"/>
                </a:cubicBezTo>
                <a:cubicBezTo>
                  <a:pt x="115114" y="33442"/>
                  <a:pt x="115114" y="33442"/>
                  <a:pt x="115114" y="33442"/>
                </a:cubicBezTo>
                <a:cubicBezTo>
                  <a:pt x="115309" y="30632"/>
                  <a:pt x="115309" y="30632"/>
                  <a:pt x="115309" y="30632"/>
                </a:cubicBezTo>
                <a:cubicBezTo>
                  <a:pt x="115309" y="30632"/>
                  <a:pt x="115895" y="29508"/>
                  <a:pt x="116091" y="29508"/>
                </a:cubicBezTo>
                <a:cubicBezTo>
                  <a:pt x="116286" y="29227"/>
                  <a:pt x="116482" y="28103"/>
                  <a:pt x="116091" y="28103"/>
                </a:cubicBezTo>
                <a:cubicBezTo>
                  <a:pt x="115700" y="28384"/>
                  <a:pt x="114527" y="28665"/>
                  <a:pt x="114527" y="28665"/>
                </a:cubicBezTo>
                <a:cubicBezTo>
                  <a:pt x="114527" y="28665"/>
                  <a:pt x="113550" y="28665"/>
                  <a:pt x="113745" y="28103"/>
                </a:cubicBezTo>
                <a:cubicBezTo>
                  <a:pt x="113745" y="27259"/>
                  <a:pt x="114136" y="27259"/>
                  <a:pt x="114723" y="26416"/>
                </a:cubicBezTo>
                <a:cubicBezTo>
                  <a:pt x="115309" y="25573"/>
                  <a:pt x="115504" y="25011"/>
                  <a:pt x="115504" y="25011"/>
                </a:cubicBezTo>
                <a:cubicBezTo>
                  <a:pt x="115309" y="23325"/>
                  <a:pt x="115309" y="23325"/>
                  <a:pt x="115309" y="23325"/>
                </a:cubicBezTo>
                <a:cubicBezTo>
                  <a:pt x="115309" y="23325"/>
                  <a:pt x="115309" y="22201"/>
                  <a:pt x="115114" y="22201"/>
                </a:cubicBezTo>
                <a:cubicBezTo>
                  <a:pt x="115114" y="21920"/>
                  <a:pt x="113941" y="18548"/>
                  <a:pt x="113941" y="18548"/>
                </a:cubicBezTo>
                <a:cubicBezTo>
                  <a:pt x="113941" y="18548"/>
                  <a:pt x="112768" y="17985"/>
                  <a:pt x="112573" y="18548"/>
                </a:cubicBezTo>
                <a:cubicBezTo>
                  <a:pt x="112573" y="19110"/>
                  <a:pt x="112182" y="20234"/>
                  <a:pt x="112182" y="20234"/>
                </a:cubicBezTo>
                <a:cubicBezTo>
                  <a:pt x="110814" y="20234"/>
                  <a:pt x="110814" y="20234"/>
                  <a:pt x="110814" y="20234"/>
                </a:cubicBezTo>
                <a:cubicBezTo>
                  <a:pt x="110032" y="19391"/>
                  <a:pt x="110032" y="19391"/>
                  <a:pt x="110032" y="19391"/>
                </a:cubicBezTo>
                <a:cubicBezTo>
                  <a:pt x="108469" y="18829"/>
                  <a:pt x="108469" y="18829"/>
                  <a:pt x="108469" y="18829"/>
                </a:cubicBezTo>
                <a:cubicBezTo>
                  <a:pt x="108469" y="18829"/>
                  <a:pt x="108273" y="19110"/>
                  <a:pt x="108078" y="19391"/>
                </a:cubicBezTo>
                <a:cubicBezTo>
                  <a:pt x="108078" y="19672"/>
                  <a:pt x="106514" y="18266"/>
                  <a:pt x="106514" y="18266"/>
                </a:cubicBezTo>
                <a:cubicBezTo>
                  <a:pt x="106514" y="18266"/>
                  <a:pt x="105928" y="19391"/>
                  <a:pt x="105732" y="19672"/>
                </a:cubicBezTo>
                <a:cubicBezTo>
                  <a:pt x="105732" y="19672"/>
                  <a:pt x="104169" y="19110"/>
                  <a:pt x="104169" y="19110"/>
                </a:cubicBezTo>
                <a:cubicBezTo>
                  <a:pt x="102605" y="19391"/>
                  <a:pt x="102605" y="19391"/>
                  <a:pt x="102605" y="19391"/>
                </a:cubicBezTo>
                <a:cubicBezTo>
                  <a:pt x="101237" y="19672"/>
                  <a:pt x="101237" y="19672"/>
                  <a:pt x="101237" y="19672"/>
                </a:cubicBezTo>
                <a:cubicBezTo>
                  <a:pt x="100065" y="18829"/>
                  <a:pt x="100065" y="18829"/>
                  <a:pt x="100065" y="18829"/>
                </a:cubicBezTo>
                <a:cubicBezTo>
                  <a:pt x="99674" y="19672"/>
                  <a:pt x="99674" y="19672"/>
                  <a:pt x="99674" y="19672"/>
                </a:cubicBezTo>
                <a:cubicBezTo>
                  <a:pt x="99869" y="21077"/>
                  <a:pt x="99869" y="21077"/>
                  <a:pt x="99869" y="21077"/>
                </a:cubicBezTo>
                <a:cubicBezTo>
                  <a:pt x="98892" y="21920"/>
                  <a:pt x="98892" y="21920"/>
                  <a:pt x="98892" y="21920"/>
                </a:cubicBezTo>
                <a:cubicBezTo>
                  <a:pt x="97719" y="20796"/>
                  <a:pt x="97719" y="20796"/>
                  <a:pt x="97719" y="20796"/>
                </a:cubicBezTo>
                <a:cubicBezTo>
                  <a:pt x="96742" y="20515"/>
                  <a:pt x="96742" y="20515"/>
                  <a:pt x="96742" y="20515"/>
                </a:cubicBezTo>
                <a:cubicBezTo>
                  <a:pt x="95374" y="18548"/>
                  <a:pt x="95374" y="18548"/>
                  <a:pt x="95374" y="18548"/>
                </a:cubicBezTo>
                <a:cubicBezTo>
                  <a:pt x="94201" y="17985"/>
                  <a:pt x="94201" y="17985"/>
                  <a:pt x="94201" y="17985"/>
                </a:cubicBezTo>
                <a:cubicBezTo>
                  <a:pt x="93029" y="17142"/>
                  <a:pt x="93029" y="17142"/>
                  <a:pt x="93029" y="17142"/>
                </a:cubicBezTo>
                <a:cubicBezTo>
                  <a:pt x="93029" y="17142"/>
                  <a:pt x="92442" y="19391"/>
                  <a:pt x="92247" y="19672"/>
                </a:cubicBezTo>
                <a:cubicBezTo>
                  <a:pt x="92052" y="19672"/>
                  <a:pt x="91074" y="20234"/>
                  <a:pt x="90879" y="20234"/>
                </a:cubicBezTo>
                <a:cubicBezTo>
                  <a:pt x="90488" y="20515"/>
                  <a:pt x="90293" y="21920"/>
                  <a:pt x="90293" y="21920"/>
                </a:cubicBezTo>
                <a:cubicBezTo>
                  <a:pt x="89315" y="22763"/>
                  <a:pt x="89315" y="22763"/>
                  <a:pt x="89315" y="22763"/>
                </a:cubicBezTo>
                <a:cubicBezTo>
                  <a:pt x="89315" y="22763"/>
                  <a:pt x="88729" y="22201"/>
                  <a:pt x="88338" y="22201"/>
                </a:cubicBezTo>
                <a:cubicBezTo>
                  <a:pt x="88143" y="22201"/>
                  <a:pt x="87947" y="22482"/>
                  <a:pt x="87947" y="22482"/>
                </a:cubicBezTo>
                <a:cubicBezTo>
                  <a:pt x="87557" y="23325"/>
                  <a:pt x="87557" y="23325"/>
                  <a:pt x="87557" y="23325"/>
                </a:cubicBezTo>
                <a:cubicBezTo>
                  <a:pt x="87557" y="23325"/>
                  <a:pt x="87361" y="23325"/>
                  <a:pt x="86775" y="22763"/>
                </a:cubicBezTo>
                <a:cubicBezTo>
                  <a:pt x="86384" y="22482"/>
                  <a:pt x="85798" y="21920"/>
                  <a:pt x="85798" y="21920"/>
                </a:cubicBezTo>
                <a:cubicBezTo>
                  <a:pt x="85211" y="21639"/>
                  <a:pt x="85211" y="21639"/>
                  <a:pt x="85211" y="21639"/>
                </a:cubicBezTo>
                <a:cubicBezTo>
                  <a:pt x="85211" y="21639"/>
                  <a:pt x="83452" y="22763"/>
                  <a:pt x="83257" y="23044"/>
                </a:cubicBezTo>
                <a:cubicBezTo>
                  <a:pt x="83257" y="23325"/>
                  <a:pt x="82866" y="24168"/>
                  <a:pt x="82866" y="24168"/>
                </a:cubicBezTo>
                <a:cubicBezTo>
                  <a:pt x="81889" y="23044"/>
                  <a:pt x="81889" y="23044"/>
                  <a:pt x="81889" y="23044"/>
                </a:cubicBezTo>
                <a:cubicBezTo>
                  <a:pt x="80716" y="21920"/>
                  <a:pt x="80716" y="21920"/>
                  <a:pt x="80716" y="21920"/>
                </a:cubicBezTo>
                <a:cubicBezTo>
                  <a:pt x="80521" y="19953"/>
                  <a:pt x="80521" y="19953"/>
                  <a:pt x="80521" y="19953"/>
                </a:cubicBezTo>
                <a:cubicBezTo>
                  <a:pt x="78371" y="17142"/>
                  <a:pt x="78371" y="17142"/>
                  <a:pt x="78371" y="17142"/>
                </a:cubicBezTo>
                <a:cubicBezTo>
                  <a:pt x="77980" y="14332"/>
                  <a:pt x="77980" y="14332"/>
                  <a:pt x="77980" y="14332"/>
                </a:cubicBezTo>
                <a:cubicBezTo>
                  <a:pt x="76416" y="12646"/>
                  <a:pt x="76416" y="12646"/>
                  <a:pt x="76416" y="12646"/>
                </a:cubicBezTo>
                <a:cubicBezTo>
                  <a:pt x="75439" y="14332"/>
                  <a:pt x="75439" y="14332"/>
                  <a:pt x="75439" y="14332"/>
                </a:cubicBezTo>
                <a:cubicBezTo>
                  <a:pt x="73876" y="14051"/>
                  <a:pt x="73876" y="14051"/>
                  <a:pt x="73876" y="14051"/>
                </a:cubicBezTo>
                <a:cubicBezTo>
                  <a:pt x="72312" y="14613"/>
                  <a:pt x="72312" y="14613"/>
                  <a:pt x="72312" y="14613"/>
                </a:cubicBezTo>
                <a:cubicBezTo>
                  <a:pt x="72312" y="14613"/>
                  <a:pt x="71335" y="16018"/>
                  <a:pt x="71335" y="15456"/>
                </a:cubicBezTo>
                <a:cubicBezTo>
                  <a:pt x="71140" y="14894"/>
                  <a:pt x="71530" y="13770"/>
                  <a:pt x="71530" y="13208"/>
                </a:cubicBezTo>
                <a:cubicBezTo>
                  <a:pt x="71335" y="12927"/>
                  <a:pt x="70358" y="13770"/>
                  <a:pt x="70553" y="12646"/>
                </a:cubicBezTo>
                <a:cubicBezTo>
                  <a:pt x="70749" y="12084"/>
                  <a:pt x="70553" y="11241"/>
                  <a:pt x="70358" y="10960"/>
                </a:cubicBezTo>
                <a:cubicBezTo>
                  <a:pt x="69967" y="10398"/>
                  <a:pt x="68794" y="10398"/>
                  <a:pt x="69185" y="9274"/>
                </a:cubicBezTo>
                <a:cubicBezTo>
                  <a:pt x="69576" y="8430"/>
                  <a:pt x="70553" y="7868"/>
                  <a:pt x="70553" y="7868"/>
                </a:cubicBezTo>
                <a:cubicBezTo>
                  <a:pt x="70553" y="7306"/>
                  <a:pt x="70553" y="7306"/>
                  <a:pt x="70553" y="7306"/>
                </a:cubicBezTo>
                <a:cubicBezTo>
                  <a:pt x="69771" y="6182"/>
                  <a:pt x="69771" y="6182"/>
                  <a:pt x="69771" y="6182"/>
                </a:cubicBezTo>
                <a:cubicBezTo>
                  <a:pt x="67622" y="4777"/>
                  <a:pt x="67622" y="4777"/>
                  <a:pt x="67622" y="4777"/>
                </a:cubicBezTo>
                <a:cubicBezTo>
                  <a:pt x="67622" y="4777"/>
                  <a:pt x="67426" y="3091"/>
                  <a:pt x="67035" y="3091"/>
                </a:cubicBezTo>
                <a:cubicBezTo>
                  <a:pt x="66840" y="2810"/>
                  <a:pt x="66254" y="1967"/>
                  <a:pt x="66254" y="1967"/>
                </a:cubicBezTo>
                <a:cubicBezTo>
                  <a:pt x="66254" y="1967"/>
                  <a:pt x="65667" y="843"/>
                  <a:pt x="64885" y="562"/>
                </a:cubicBezTo>
                <a:cubicBezTo>
                  <a:pt x="64104" y="0"/>
                  <a:pt x="63517" y="2529"/>
                  <a:pt x="63517" y="2529"/>
                </a:cubicBezTo>
                <a:cubicBezTo>
                  <a:pt x="62736" y="1405"/>
                  <a:pt x="62736" y="1405"/>
                  <a:pt x="62736" y="1405"/>
                </a:cubicBezTo>
                <a:cubicBezTo>
                  <a:pt x="61172" y="2248"/>
                  <a:pt x="61172" y="2248"/>
                  <a:pt x="61172" y="2248"/>
                </a:cubicBezTo>
                <a:cubicBezTo>
                  <a:pt x="59999" y="4777"/>
                  <a:pt x="59999" y="4777"/>
                  <a:pt x="59999" y="4777"/>
                </a:cubicBezTo>
                <a:cubicBezTo>
                  <a:pt x="59218" y="5058"/>
                  <a:pt x="59218" y="5058"/>
                  <a:pt x="59218" y="5058"/>
                </a:cubicBezTo>
                <a:cubicBezTo>
                  <a:pt x="58045" y="5339"/>
                  <a:pt x="58045" y="5339"/>
                  <a:pt x="58045" y="5339"/>
                </a:cubicBezTo>
                <a:cubicBezTo>
                  <a:pt x="56286" y="5901"/>
                  <a:pt x="56286" y="5901"/>
                  <a:pt x="56286" y="5901"/>
                </a:cubicBezTo>
                <a:cubicBezTo>
                  <a:pt x="55895" y="7587"/>
                  <a:pt x="55895" y="7587"/>
                  <a:pt x="55895" y="7587"/>
                </a:cubicBezTo>
                <a:cubicBezTo>
                  <a:pt x="56091" y="9274"/>
                  <a:pt x="56091" y="9274"/>
                  <a:pt x="56091" y="9274"/>
                </a:cubicBezTo>
                <a:cubicBezTo>
                  <a:pt x="55114" y="10398"/>
                  <a:pt x="55114" y="10398"/>
                  <a:pt x="55114" y="10398"/>
                </a:cubicBezTo>
                <a:cubicBezTo>
                  <a:pt x="52768" y="10117"/>
                  <a:pt x="52768" y="10117"/>
                  <a:pt x="52768" y="10117"/>
                </a:cubicBezTo>
                <a:cubicBezTo>
                  <a:pt x="51205" y="10679"/>
                  <a:pt x="51205" y="10679"/>
                  <a:pt x="51205" y="10679"/>
                </a:cubicBezTo>
                <a:cubicBezTo>
                  <a:pt x="50423" y="12365"/>
                  <a:pt x="50423" y="12365"/>
                  <a:pt x="50423" y="12365"/>
                </a:cubicBezTo>
                <a:cubicBezTo>
                  <a:pt x="48078" y="12365"/>
                  <a:pt x="48078" y="12365"/>
                  <a:pt x="48078" y="12365"/>
                </a:cubicBezTo>
                <a:cubicBezTo>
                  <a:pt x="47687" y="15737"/>
                  <a:pt x="47687" y="15737"/>
                  <a:pt x="47687" y="15737"/>
                </a:cubicBezTo>
                <a:cubicBezTo>
                  <a:pt x="47100" y="17985"/>
                  <a:pt x="47100" y="17985"/>
                  <a:pt x="47100" y="17985"/>
                </a:cubicBezTo>
                <a:cubicBezTo>
                  <a:pt x="46514" y="20515"/>
                  <a:pt x="46514" y="20515"/>
                  <a:pt x="46514" y="20515"/>
                </a:cubicBezTo>
                <a:cubicBezTo>
                  <a:pt x="46905" y="21920"/>
                  <a:pt x="46905" y="21920"/>
                  <a:pt x="46905" y="21920"/>
                </a:cubicBezTo>
                <a:cubicBezTo>
                  <a:pt x="47491" y="23887"/>
                  <a:pt x="47491" y="23887"/>
                  <a:pt x="47491" y="23887"/>
                </a:cubicBezTo>
                <a:cubicBezTo>
                  <a:pt x="48664" y="25854"/>
                  <a:pt x="48664" y="25854"/>
                  <a:pt x="48664" y="25854"/>
                </a:cubicBezTo>
                <a:cubicBezTo>
                  <a:pt x="48664" y="25854"/>
                  <a:pt x="48664" y="25854"/>
                  <a:pt x="48664" y="25854"/>
                </a:cubicBezTo>
                <a:cubicBezTo>
                  <a:pt x="47491" y="26416"/>
                  <a:pt x="47491" y="26416"/>
                  <a:pt x="47491" y="26416"/>
                </a:cubicBezTo>
                <a:cubicBezTo>
                  <a:pt x="46710" y="26697"/>
                  <a:pt x="46710" y="26697"/>
                  <a:pt x="46710" y="26697"/>
                </a:cubicBezTo>
                <a:cubicBezTo>
                  <a:pt x="45928" y="25011"/>
                  <a:pt x="45928" y="25011"/>
                  <a:pt x="45928" y="25011"/>
                </a:cubicBezTo>
                <a:cubicBezTo>
                  <a:pt x="44755" y="24449"/>
                  <a:pt x="44755" y="24449"/>
                  <a:pt x="44755" y="24449"/>
                </a:cubicBezTo>
                <a:cubicBezTo>
                  <a:pt x="43387" y="25292"/>
                  <a:pt x="43387" y="25292"/>
                  <a:pt x="43387" y="25292"/>
                </a:cubicBezTo>
                <a:cubicBezTo>
                  <a:pt x="42019" y="25854"/>
                  <a:pt x="42019" y="25854"/>
                  <a:pt x="42019" y="25854"/>
                </a:cubicBezTo>
                <a:cubicBezTo>
                  <a:pt x="41628" y="25854"/>
                  <a:pt x="41628" y="25854"/>
                  <a:pt x="41628" y="25854"/>
                </a:cubicBezTo>
                <a:cubicBezTo>
                  <a:pt x="41237" y="26978"/>
                  <a:pt x="41237" y="26978"/>
                  <a:pt x="41237" y="26978"/>
                </a:cubicBezTo>
                <a:cubicBezTo>
                  <a:pt x="40065" y="27822"/>
                  <a:pt x="40065" y="27822"/>
                  <a:pt x="40065" y="27822"/>
                </a:cubicBezTo>
                <a:cubicBezTo>
                  <a:pt x="40065" y="27822"/>
                  <a:pt x="39674" y="27259"/>
                  <a:pt x="39478" y="26978"/>
                </a:cubicBezTo>
                <a:cubicBezTo>
                  <a:pt x="39283" y="26697"/>
                  <a:pt x="38697" y="26135"/>
                  <a:pt x="38697" y="26135"/>
                </a:cubicBezTo>
                <a:cubicBezTo>
                  <a:pt x="38697" y="26135"/>
                  <a:pt x="38501" y="25573"/>
                  <a:pt x="38306" y="25292"/>
                </a:cubicBezTo>
                <a:cubicBezTo>
                  <a:pt x="38110" y="25292"/>
                  <a:pt x="36938" y="26416"/>
                  <a:pt x="36938" y="26416"/>
                </a:cubicBezTo>
                <a:cubicBezTo>
                  <a:pt x="36938" y="26416"/>
                  <a:pt x="35960" y="27259"/>
                  <a:pt x="35960" y="27540"/>
                </a:cubicBezTo>
                <a:cubicBezTo>
                  <a:pt x="36156" y="27540"/>
                  <a:pt x="35960" y="28946"/>
                  <a:pt x="35960" y="28946"/>
                </a:cubicBezTo>
                <a:cubicBezTo>
                  <a:pt x="34592" y="27259"/>
                  <a:pt x="34592" y="27259"/>
                  <a:pt x="34592" y="27259"/>
                </a:cubicBezTo>
                <a:cubicBezTo>
                  <a:pt x="33615" y="28384"/>
                  <a:pt x="33615" y="28384"/>
                  <a:pt x="33615" y="28384"/>
                </a:cubicBezTo>
                <a:cubicBezTo>
                  <a:pt x="32833" y="27540"/>
                  <a:pt x="32833" y="27540"/>
                  <a:pt x="32833" y="27540"/>
                </a:cubicBezTo>
                <a:cubicBezTo>
                  <a:pt x="32442" y="27259"/>
                  <a:pt x="32442" y="27259"/>
                  <a:pt x="32442" y="27259"/>
                </a:cubicBezTo>
                <a:cubicBezTo>
                  <a:pt x="31270" y="29227"/>
                  <a:pt x="31270" y="29227"/>
                  <a:pt x="31270" y="29227"/>
                </a:cubicBezTo>
                <a:cubicBezTo>
                  <a:pt x="30488" y="28665"/>
                  <a:pt x="30488" y="28665"/>
                  <a:pt x="30488" y="28665"/>
                </a:cubicBezTo>
                <a:cubicBezTo>
                  <a:pt x="30097" y="30632"/>
                  <a:pt x="30097" y="30632"/>
                  <a:pt x="30097" y="30632"/>
                </a:cubicBezTo>
                <a:cubicBezTo>
                  <a:pt x="29120" y="29508"/>
                  <a:pt x="29120" y="29508"/>
                  <a:pt x="29120" y="29508"/>
                </a:cubicBezTo>
                <a:cubicBezTo>
                  <a:pt x="29120" y="29508"/>
                  <a:pt x="28143" y="29227"/>
                  <a:pt x="27947" y="29227"/>
                </a:cubicBezTo>
                <a:cubicBezTo>
                  <a:pt x="27752" y="29227"/>
                  <a:pt x="27166" y="30351"/>
                  <a:pt x="27166" y="30351"/>
                </a:cubicBezTo>
                <a:cubicBezTo>
                  <a:pt x="26188" y="29227"/>
                  <a:pt x="26188" y="29227"/>
                  <a:pt x="26188" y="29227"/>
                </a:cubicBezTo>
                <a:cubicBezTo>
                  <a:pt x="25407" y="28384"/>
                  <a:pt x="25407" y="28384"/>
                  <a:pt x="25407" y="28384"/>
                </a:cubicBezTo>
                <a:cubicBezTo>
                  <a:pt x="25407" y="28384"/>
                  <a:pt x="23257" y="28665"/>
                  <a:pt x="23061" y="28665"/>
                </a:cubicBezTo>
                <a:cubicBezTo>
                  <a:pt x="22866" y="28665"/>
                  <a:pt x="21498" y="28384"/>
                  <a:pt x="21498" y="28384"/>
                </a:cubicBezTo>
                <a:cubicBezTo>
                  <a:pt x="19739" y="28946"/>
                  <a:pt x="19739" y="28946"/>
                  <a:pt x="19739" y="28946"/>
                </a:cubicBezTo>
                <a:cubicBezTo>
                  <a:pt x="17198" y="28946"/>
                  <a:pt x="17198" y="28946"/>
                  <a:pt x="17198" y="28946"/>
                </a:cubicBezTo>
                <a:cubicBezTo>
                  <a:pt x="14853" y="29227"/>
                  <a:pt x="14853" y="29227"/>
                  <a:pt x="14853" y="29227"/>
                </a:cubicBezTo>
                <a:cubicBezTo>
                  <a:pt x="13094" y="29227"/>
                  <a:pt x="13094" y="29227"/>
                  <a:pt x="13094" y="29227"/>
                </a:cubicBezTo>
                <a:cubicBezTo>
                  <a:pt x="11726" y="30632"/>
                  <a:pt x="11726" y="30632"/>
                  <a:pt x="11726" y="30632"/>
                </a:cubicBezTo>
                <a:cubicBezTo>
                  <a:pt x="10358" y="30913"/>
                  <a:pt x="10358" y="30913"/>
                  <a:pt x="10358" y="30913"/>
                </a:cubicBezTo>
                <a:cubicBezTo>
                  <a:pt x="8794" y="31194"/>
                  <a:pt x="8794" y="31194"/>
                  <a:pt x="8794" y="31194"/>
                </a:cubicBezTo>
                <a:cubicBezTo>
                  <a:pt x="8599" y="31194"/>
                  <a:pt x="8599" y="31194"/>
                  <a:pt x="8599" y="31194"/>
                </a:cubicBezTo>
                <a:cubicBezTo>
                  <a:pt x="8403" y="31475"/>
                  <a:pt x="8403" y="31475"/>
                  <a:pt x="8403" y="31475"/>
                </a:cubicBezTo>
                <a:cubicBezTo>
                  <a:pt x="7817" y="32037"/>
                  <a:pt x="7817" y="32037"/>
                  <a:pt x="7817" y="32037"/>
                </a:cubicBezTo>
                <a:cubicBezTo>
                  <a:pt x="7817" y="32318"/>
                  <a:pt x="7817" y="32318"/>
                  <a:pt x="7817" y="32318"/>
                </a:cubicBezTo>
                <a:cubicBezTo>
                  <a:pt x="7426" y="32880"/>
                  <a:pt x="7426" y="32880"/>
                  <a:pt x="7426" y="32880"/>
                </a:cubicBezTo>
                <a:cubicBezTo>
                  <a:pt x="7231" y="34285"/>
                  <a:pt x="7231" y="34285"/>
                  <a:pt x="7231" y="34285"/>
                </a:cubicBezTo>
                <a:cubicBezTo>
                  <a:pt x="7035" y="34847"/>
                  <a:pt x="6644" y="35409"/>
                  <a:pt x="6449" y="35971"/>
                </a:cubicBezTo>
                <a:cubicBezTo>
                  <a:pt x="6449" y="35971"/>
                  <a:pt x="6449" y="35971"/>
                  <a:pt x="6449" y="35971"/>
                </a:cubicBezTo>
                <a:cubicBezTo>
                  <a:pt x="6449" y="35971"/>
                  <a:pt x="5863" y="35690"/>
                  <a:pt x="5863" y="36252"/>
                </a:cubicBezTo>
                <a:cubicBezTo>
                  <a:pt x="5863" y="36533"/>
                  <a:pt x="5863" y="36533"/>
                  <a:pt x="5863" y="36533"/>
                </a:cubicBezTo>
                <a:cubicBezTo>
                  <a:pt x="5276" y="36814"/>
                  <a:pt x="4299" y="36252"/>
                  <a:pt x="4299" y="36252"/>
                </a:cubicBezTo>
                <a:cubicBezTo>
                  <a:pt x="3322" y="37096"/>
                  <a:pt x="3322" y="37096"/>
                  <a:pt x="3322" y="37096"/>
                </a:cubicBezTo>
                <a:cubicBezTo>
                  <a:pt x="3322" y="37377"/>
                  <a:pt x="3322" y="37658"/>
                  <a:pt x="3517" y="37658"/>
                </a:cubicBezTo>
                <a:cubicBezTo>
                  <a:pt x="3713" y="37939"/>
                  <a:pt x="3713" y="37939"/>
                  <a:pt x="3713" y="38220"/>
                </a:cubicBezTo>
                <a:cubicBezTo>
                  <a:pt x="3908" y="38220"/>
                  <a:pt x="3908" y="38501"/>
                  <a:pt x="3908" y="38501"/>
                </a:cubicBezTo>
                <a:cubicBezTo>
                  <a:pt x="4299" y="39906"/>
                  <a:pt x="4299" y="39906"/>
                  <a:pt x="4299" y="39906"/>
                </a:cubicBezTo>
                <a:cubicBezTo>
                  <a:pt x="4299" y="41030"/>
                  <a:pt x="4299" y="41030"/>
                  <a:pt x="4299" y="41030"/>
                </a:cubicBezTo>
                <a:cubicBezTo>
                  <a:pt x="4299" y="41030"/>
                  <a:pt x="4299" y="41873"/>
                  <a:pt x="4690" y="41873"/>
                </a:cubicBezTo>
                <a:cubicBezTo>
                  <a:pt x="5081" y="41873"/>
                  <a:pt x="5276" y="42154"/>
                  <a:pt x="5276" y="42716"/>
                </a:cubicBezTo>
                <a:cubicBezTo>
                  <a:pt x="5276" y="43278"/>
                  <a:pt x="6254" y="43840"/>
                  <a:pt x="6254" y="43840"/>
                </a:cubicBezTo>
                <a:cubicBezTo>
                  <a:pt x="6254" y="43840"/>
                  <a:pt x="6254" y="44964"/>
                  <a:pt x="6449" y="45245"/>
                </a:cubicBezTo>
                <a:cubicBezTo>
                  <a:pt x="6840" y="45526"/>
                  <a:pt x="7231" y="45807"/>
                  <a:pt x="7817" y="45807"/>
                </a:cubicBezTo>
                <a:cubicBezTo>
                  <a:pt x="8403" y="46088"/>
                  <a:pt x="8208" y="47213"/>
                  <a:pt x="8599" y="47494"/>
                </a:cubicBezTo>
                <a:cubicBezTo>
                  <a:pt x="8990" y="47775"/>
                  <a:pt x="9381" y="48337"/>
                  <a:pt x="8990" y="48337"/>
                </a:cubicBezTo>
                <a:cubicBezTo>
                  <a:pt x="8794" y="48618"/>
                  <a:pt x="8208" y="48618"/>
                  <a:pt x="8208" y="48618"/>
                </a:cubicBezTo>
                <a:cubicBezTo>
                  <a:pt x="8208" y="48618"/>
                  <a:pt x="8013" y="48899"/>
                  <a:pt x="8013" y="49461"/>
                </a:cubicBezTo>
                <a:cubicBezTo>
                  <a:pt x="8208" y="49742"/>
                  <a:pt x="8208" y="49742"/>
                  <a:pt x="8208" y="49742"/>
                </a:cubicBezTo>
                <a:cubicBezTo>
                  <a:pt x="8990" y="51147"/>
                  <a:pt x="8990" y="51147"/>
                  <a:pt x="8990" y="51147"/>
                </a:cubicBezTo>
                <a:cubicBezTo>
                  <a:pt x="8990" y="52833"/>
                  <a:pt x="8990" y="52833"/>
                  <a:pt x="8990" y="52833"/>
                </a:cubicBezTo>
                <a:cubicBezTo>
                  <a:pt x="8990" y="52833"/>
                  <a:pt x="8990" y="53395"/>
                  <a:pt x="8990" y="53957"/>
                </a:cubicBezTo>
                <a:cubicBezTo>
                  <a:pt x="8990" y="54238"/>
                  <a:pt x="8794" y="54800"/>
                  <a:pt x="8403" y="54800"/>
                </a:cubicBezTo>
                <a:cubicBezTo>
                  <a:pt x="8403" y="54800"/>
                  <a:pt x="8403" y="54800"/>
                  <a:pt x="8403" y="54800"/>
                </a:cubicBezTo>
                <a:cubicBezTo>
                  <a:pt x="8403" y="54800"/>
                  <a:pt x="8403" y="54800"/>
                  <a:pt x="8403" y="54800"/>
                </a:cubicBezTo>
                <a:cubicBezTo>
                  <a:pt x="8208" y="54800"/>
                  <a:pt x="8208" y="54800"/>
                  <a:pt x="8208" y="54800"/>
                </a:cubicBezTo>
                <a:cubicBezTo>
                  <a:pt x="8013" y="55081"/>
                  <a:pt x="8013" y="55644"/>
                  <a:pt x="7817" y="55644"/>
                </a:cubicBezTo>
                <a:cubicBezTo>
                  <a:pt x="7622" y="55925"/>
                  <a:pt x="7231" y="55081"/>
                  <a:pt x="7035" y="55925"/>
                </a:cubicBezTo>
                <a:cubicBezTo>
                  <a:pt x="6840" y="57049"/>
                  <a:pt x="6449" y="57892"/>
                  <a:pt x="6449" y="58173"/>
                </a:cubicBezTo>
                <a:cubicBezTo>
                  <a:pt x="6254" y="58454"/>
                  <a:pt x="5667" y="58735"/>
                  <a:pt x="5667" y="59297"/>
                </a:cubicBezTo>
                <a:cubicBezTo>
                  <a:pt x="5472" y="59859"/>
                  <a:pt x="5472" y="59297"/>
                  <a:pt x="5081" y="60702"/>
                </a:cubicBezTo>
                <a:cubicBezTo>
                  <a:pt x="4690" y="62107"/>
                  <a:pt x="4495" y="62669"/>
                  <a:pt x="4495" y="62669"/>
                </a:cubicBezTo>
                <a:cubicBezTo>
                  <a:pt x="2736" y="66042"/>
                  <a:pt x="2736" y="66042"/>
                  <a:pt x="2736" y="66042"/>
                </a:cubicBezTo>
                <a:cubicBezTo>
                  <a:pt x="2736" y="66042"/>
                  <a:pt x="1758" y="68290"/>
                  <a:pt x="1758" y="68571"/>
                </a:cubicBezTo>
                <a:cubicBezTo>
                  <a:pt x="1758" y="68852"/>
                  <a:pt x="1758" y="69976"/>
                  <a:pt x="1758" y="69976"/>
                </a:cubicBezTo>
                <a:cubicBezTo>
                  <a:pt x="2540" y="71100"/>
                  <a:pt x="2540" y="71100"/>
                  <a:pt x="2540" y="71100"/>
                </a:cubicBezTo>
                <a:cubicBezTo>
                  <a:pt x="2540" y="72224"/>
                  <a:pt x="2540" y="72224"/>
                  <a:pt x="2540" y="72224"/>
                </a:cubicBezTo>
                <a:cubicBezTo>
                  <a:pt x="2540" y="72224"/>
                  <a:pt x="2540" y="73067"/>
                  <a:pt x="2736" y="73348"/>
                </a:cubicBezTo>
                <a:cubicBezTo>
                  <a:pt x="2931" y="73348"/>
                  <a:pt x="2931" y="73348"/>
                  <a:pt x="2931" y="73348"/>
                </a:cubicBezTo>
                <a:cubicBezTo>
                  <a:pt x="2736" y="74192"/>
                  <a:pt x="2736" y="74192"/>
                  <a:pt x="2736" y="74192"/>
                </a:cubicBezTo>
                <a:cubicBezTo>
                  <a:pt x="2736" y="74192"/>
                  <a:pt x="2931" y="75035"/>
                  <a:pt x="3127" y="75035"/>
                </a:cubicBezTo>
                <a:cubicBezTo>
                  <a:pt x="3127" y="75035"/>
                  <a:pt x="3517" y="75316"/>
                  <a:pt x="3517" y="75316"/>
                </a:cubicBezTo>
                <a:cubicBezTo>
                  <a:pt x="3517" y="75316"/>
                  <a:pt x="3908" y="75878"/>
                  <a:pt x="3908" y="75878"/>
                </a:cubicBezTo>
                <a:cubicBezTo>
                  <a:pt x="4104" y="76159"/>
                  <a:pt x="3908" y="76721"/>
                  <a:pt x="3908" y="76721"/>
                </a:cubicBezTo>
                <a:cubicBezTo>
                  <a:pt x="3908" y="76721"/>
                  <a:pt x="3908" y="77002"/>
                  <a:pt x="3713" y="77002"/>
                </a:cubicBezTo>
                <a:cubicBezTo>
                  <a:pt x="3517" y="77002"/>
                  <a:pt x="3517" y="77002"/>
                  <a:pt x="3127" y="77002"/>
                </a:cubicBezTo>
                <a:cubicBezTo>
                  <a:pt x="3127" y="76721"/>
                  <a:pt x="3127" y="76721"/>
                  <a:pt x="2931" y="76721"/>
                </a:cubicBezTo>
                <a:cubicBezTo>
                  <a:pt x="2540" y="76721"/>
                  <a:pt x="2540" y="76721"/>
                  <a:pt x="2540" y="76721"/>
                </a:cubicBezTo>
                <a:cubicBezTo>
                  <a:pt x="2345" y="76721"/>
                  <a:pt x="2345" y="76721"/>
                  <a:pt x="2149" y="76721"/>
                </a:cubicBezTo>
                <a:cubicBezTo>
                  <a:pt x="1954" y="76721"/>
                  <a:pt x="1954" y="76721"/>
                  <a:pt x="1954" y="76721"/>
                </a:cubicBezTo>
                <a:cubicBezTo>
                  <a:pt x="1758" y="76721"/>
                  <a:pt x="1758" y="76721"/>
                  <a:pt x="1563" y="77002"/>
                </a:cubicBezTo>
                <a:cubicBezTo>
                  <a:pt x="1563" y="77283"/>
                  <a:pt x="1563" y="77283"/>
                  <a:pt x="1563" y="77283"/>
                </a:cubicBezTo>
                <a:cubicBezTo>
                  <a:pt x="1563" y="77283"/>
                  <a:pt x="1368" y="77564"/>
                  <a:pt x="1368" y="77845"/>
                </a:cubicBezTo>
                <a:cubicBezTo>
                  <a:pt x="1172" y="77845"/>
                  <a:pt x="1172" y="78407"/>
                  <a:pt x="1172" y="78407"/>
                </a:cubicBezTo>
                <a:cubicBezTo>
                  <a:pt x="1172" y="78407"/>
                  <a:pt x="1172" y="78688"/>
                  <a:pt x="1172" y="78688"/>
                </a:cubicBezTo>
                <a:cubicBezTo>
                  <a:pt x="1172" y="78688"/>
                  <a:pt x="1172" y="79250"/>
                  <a:pt x="1172" y="79250"/>
                </a:cubicBezTo>
                <a:cubicBezTo>
                  <a:pt x="977" y="79812"/>
                  <a:pt x="977" y="79812"/>
                  <a:pt x="977" y="79812"/>
                </a:cubicBezTo>
                <a:cubicBezTo>
                  <a:pt x="977" y="79812"/>
                  <a:pt x="781" y="80093"/>
                  <a:pt x="977" y="80374"/>
                </a:cubicBezTo>
                <a:cubicBezTo>
                  <a:pt x="977" y="80374"/>
                  <a:pt x="977" y="80655"/>
                  <a:pt x="977" y="80655"/>
                </a:cubicBezTo>
                <a:cubicBezTo>
                  <a:pt x="1172" y="80936"/>
                  <a:pt x="1172" y="80936"/>
                  <a:pt x="1172" y="80936"/>
                </a:cubicBezTo>
                <a:cubicBezTo>
                  <a:pt x="781" y="81498"/>
                  <a:pt x="781" y="81498"/>
                  <a:pt x="781" y="81498"/>
                </a:cubicBezTo>
                <a:cubicBezTo>
                  <a:pt x="781" y="82060"/>
                  <a:pt x="781" y="82060"/>
                  <a:pt x="781" y="82060"/>
                </a:cubicBezTo>
                <a:cubicBezTo>
                  <a:pt x="781" y="82060"/>
                  <a:pt x="977" y="82341"/>
                  <a:pt x="781" y="82622"/>
                </a:cubicBezTo>
                <a:cubicBezTo>
                  <a:pt x="781" y="82622"/>
                  <a:pt x="586" y="82903"/>
                  <a:pt x="586" y="82903"/>
                </a:cubicBezTo>
                <a:cubicBezTo>
                  <a:pt x="586" y="82903"/>
                  <a:pt x="195" y="83466"/>
                  <a:pt x="195" y="83466"/>
                </a:cubicBezTo>
                <a:cubicBezTo>
                  <a:pt x="195" y="83466"/>
                  <a:pt x="195" y="83747"/>
                  <a:pt x="195" y="83747"/>
                </a:cubicBezTo>
                <a:cubicBezTo>
                  <a:pt x="195" y="83747"/>
                  <a:pt x="0" y="84309"/>
                  <a:pt x="0" y="84309"/>
                </a:cubicBezTo>
                <a:cubicBezTo>
                  <a:pt x="0" y="84309"/>
                  <a:pt x="0" y="85152"/>
                  <a:pt x="0" y="85152"/>
                </a:cubicBezTo>
                <a:cubicBezTo>
                  <a:pt x="0" y="85152"/>
                  <a:pt x="195" y="85433"/>
                  <a:pt x="195" y="85433"/>
                </a:cubicBezTo>
                <a:cubicBezTo>
                  <a:pt x="195" y="85433"/>
                  <a:pt x="195" y="85714"/>
                  <a:pt x="195" y="85995"/>
                </a:cubicBezTo>
                <a:cubicBezTo>
                  <a:pt x="0" y="85995"/>
                  <a:pt x="195" y="86276"/>
                  <a:pt x="195" y="86557"/>
                </a:cubicBezTo>
                <a:cubicBezTo>
                  <a:pt x="195" y="86557"/>
                  <a:pt x="195" y="86838"/>
                  <a:pt x="195" y="86838"/>
                </a:cubicBezTo>
                <a:cubicBezTo>
                  <a:pt x="0" y="87400"/>
                  <a:pt x="0" y="87400"/>
                  <a:pt x="0" y="87400"/>
                </a:cubicBezTo>
                <a:cubicBezTo>
                  <a:pt x="0" y="87400"/>
                  <a:pt x="0" y="87400"/>
                  <a:pt x="0" y="87400"/>
                </a:cubicBezTo>
                <a:cubicBezTo>
                  <a:pt x="0" y="87681"/>
                  <a:pt x="0" y="87681"/>
                  <a:pt x="0" y="87681"/>
                </a:cubicBezTo>
                <a:cubicBezTo>
                  <a:pt x="0" y="88243"/>
                  <a:pt x="0" y="88243"/>
                  <a:pt x="0" y="88243"/>
                </a:cubicBezTo>
                <a:cubicBezTo>
                  <a:pt x="390" y="88243"/>
                  <a:pt x="390" y="88243"/>
                  <a:pt x="390" y="88243"/>
                </a:cubicBezTo>
                <a:cubicBezTo>
                  <a:pt x="586" y="87962"/>
                  <a:pt x="586" y="87962"/>
                  <a:pt x="586" y="87962"/>
                </a:cubicBezTo>
                <a:cubicBezTo>
                  <a:pt x="1563" y="87400"/>
                  <a:pt x="1563" y="87400"/>
                  <a:pt x="1563" y="87400"/>
                </a:cubicBezTo>
                <a:cubicBezTo>
                  <a:pt x="2149" y="88243"/>
                  <a:pt x="2149" y="88243"/>
                  <a:pt x="2149" y="88243"/>
                </a:cubicBezTo>
                <a:cubicBezTo>
                  <a:pt x="2736" y="89086"/>
                  <a:pt x="2736" y="89086"/>
                  <a:pt x="2736" y="89086"/>
                </a:cubicBezTo>
                <a:cubicBezTo>
                  <a:pt x="3713" y="89086"/>
                  <a:pt x="3713" y="89086"/>
                  <a:pt x="3713" y="89086"/>
                </a:cubicBezTo>
                <a:cubicBezTo>
                  <a:pt x="4299" y="90210"/>
                  <a:pt x="4299" y="90210"/>
                  <a:pt x="4299" y="90210"/>
                </a:cubicBezTo>
                <a:cubicBezTo>
                  <a:pt x="4885" y="91053"/>
                  <a:pt x="4885" y="91053"/>
                  <a:pt x="4885" y="91053"/>
                </a:cubicBezTo>
                <a:cubicBezTo>
                  <a:pt x="5863" y="90772"/>
                  <a:pt x="5863" y="90772"/>
                  <a:pt x="5863" y="90772"/>
                </a:cubicBezTo>
                <a:cubicBezTo>
                  <a:pt x="6840" y="91615"/>
                  <a:pt x="6840" y="91615"/>
                  <a:pt x="6840" y="91615"/>
                </a:cubicBezTo>
                <a:cubicBezTo>
                  <a:pt x="6644" y="92459"/>
                  <a:pt x="6644" y="92459"/>
                  <a:pt x="6644" y="92459"/>
                </a:cubicBezTo>
                <a:cubicBezTo>
                  <a:pt x="6644" y="92459"/>
                  <a:pt x="7426" y="91053"/>
                  <a:pt x="7622" y="90772"/>
                </a:cubicBezTo>
                <a:cubicBezTo>
                  <a:pt x="7817" y="90491"/>
                  <a:pt x="8599" y="90210"/>
                  <a:pt x="8599" y="90210"/>
                </a:cubicBezTo>
                <a:cubicBezTo>
                  <a:pt x="8599" y="90210"/>
                  <a:pt x="8990" y="90772"/>
                  <a:pt x="9381" y="91053"/>
                </a:cubicBezTo>
                <a:cubicBezTo>
                  <a:pt x="9967" y="91053"/>
                  <a:pt x="9967" y="91053"/>
                  <a:pt x="9967" y="91053"/>
                </a:cubicBezTo>
                <a:cubicBezTo>
                  <a:pt x="10358" y="91053"/>
                  <a:pt x="11921" y="90772"/>
                  <a:pt x="11921" y="90772"/>
                </a:cubicBezTo>
                <a:cubicBezTo>
                  <a:pt x="14071" y="91053"/>
                  <a:pt x="14071" y="91053"/>
                  <a:pt x="14071" y="91053"/>
                </a:cubicBezTo>
                <a:cubicBezTo>
                  <a:pt x="15244" y="90210"/>
                  <a:pt x="15244" y="90210"/>
                  <a:pt x="15244" y="90210"/>
                </a:cubicBezTo>
                <a:cubicBezTo>
                  <a:pt x="17589" y="90491"/>
                  <a:pt x="17589" y="90491"/>
                  <a:pt x="17589" y="90491"/>
                </a:cubicBezTo>
                <a:cubicBezTo>
                  <a:pt x="17980" y="90210"/>
                  <a:pt x="17980" y="90210"/>
                  <a:pt x="17980" y="90210"/>
                </a:cubicBezTo>
                <a:cubicBezTo>
                  <a:pt x="18175" y="90491"/>
                  <a:pt x="18175" y="90491"/>
                  <a:pt x="18175" y="90491"/>
                </a:cubicBezTo>
                <a:cubicBezTo>
                  <a:pt x="18957" y="90210"/>
                  <a:pt x="18957" y="90210"/>
                  <a:pt x="18957" y="90210"/>
                </a:cubicBezTo>
                <a:cubicBezTo>
                  <a:pt x="19739" y="91334"/>
                  <a:pt x="19739" y="91334"/>
                  <a:pt x="19739" y="91334"/>
                </a:cubicBezTo>
                <a:cubicBezTo>
                  <a:pt x="21302" y="91053"/>
                  <a:pt x="21302" y="91053"/>
                  <a:pt x="21302" y="91053"/>
                </a:cubicBezTo>
                <a:cubicBezTo>
                  <a:pt x="22280" y="89086"/>
                  <a:pt x="22280" y="89086"/>
                  <a:pt x="22280" y="89086"/>
                </a:cubicBezTo>
                <a:cubicBezTo>
                  <a:pt x="22280" y="89086"/>
                  <a:pt x="22866" y="88243"/>
                  <a:pt x="23648" y="87962"/>
                </a:cubicBezTo>
                <a:cubicBezTo>
                  <a:pt x="24429" y="87962"/>
                  <a:pt x="25798" y="87119"/>
                  <a:pt x="25798" y="87119"/>
                </a:cubicBezTo>
                <a:lnTo>
                  <a:pt x="27557" y="85714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3047;p256">
            <a:extLst>
              <a:ext uri="{FF2B5EF4-FFF2-40B4-BE49-F238E27FC236}">
                <a16:creationId xmlns:a16="http://schemas.microsoft.com/office/drawing/2014/main" id="{6254BB6A-FE8D-AA6D-B9E6-B355E8CA7A39}"/>
              </a:ext>
            </a:extLst>
          </p:cNvPr>
          <p:cNvSpPr/>
          <p:nvPr/>
        </p:nvSpPr>
        <p:spPr>
          <a:xfrm>
            <a:off x="8722189" y="59589"/>
            <a:ext cx="1033237" cy="272140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8510" y="13785"/>
                </a:moveTo>
                <a:cubicBezTo>
                  <a:pt x="108510" y="13629"/>
                  <a:pt x="108510" y="13629"/>
                  <a:pt x="108510" y="13629"/>
                </a:cubicBezTo>
                <a:cubicBezTo>
                  <a:pt x="108510" y="13629"/>
                  <a:pt x="107659" y="13002"/>
                  <a:pt x="108085" y="12689"/>
                </a:cubicBezTo>
                <a:cubicBezTo>
                  <a:pt x="108085" y="12689"/>
                  <a:pt x="108085" y="12689"/>
                  <a:pt x="108085" y="12532"/>
                </a:cubicBezTo>
                <a:cubicBezTo>
                  <a:pt x="108085" y="12375"/>
                  <a:pt x="108085" y="12375"/>
                  <a:pt x="108085" y="12375"/>
                </a:cubicBezTo>
                <a:cubicBezTo>
                  <a:pt x="106382" y="12532"/>
                  <a:pt x="106382" y="12532"/>
                  <a:pt x="106382" y="12532"/>
                </a:cubicBezTo>
                <a:cubicBezTo>
                  <a:pt x="105106" y="11906"/>
                  <a:pt x="105106" y="11906"/>
                  <a:pt x="105106" y="11906"/>
                </a:cubicBezTo>
                <a:cubicBezTo>
                  <a:pt x="105531" y="11122"/>
                  <a:pt x="105531" y="11122"/>
                  <a:pt x="105531" y="11122"/>
                </a:cubicBezTo>
                <a:cubicBezTo>
                  <a:pt x="104680" y="9242"/>
                  <a:pt x="104680" y="9242"/>
                  <a:pt x="104680" y="9242"/>
                </a:cubicBezTo>
                <a:cubicBezTo>
                  <a:pt x="105531" y="8302"/>
                  <a:pt x="105531" y="8302"/>
                  <a:pt x="105531" y="8302"/>
                </a:cubicBezTo>
                <a:cubicBezTo>
                  <a:pt x="102978" y="7832"/>
                  <a:pt x="102978" y="7832"/>
                  <a:pt x="102978" y="7832"/>
                </a:cubicBezTo>
                <a:cubicBezTo>
                  <a:pt x="101276" y="6892"/>
                  <a:pt x="101276" y="6892"/>
                  <a:pt x="101276" y="6892"/>
                </a:cubicBezTo>
                <a:cubicBezTo>
                  <a:pt x="101276" y="6892"/>
                  <a:pt x="100851" y="7206"/>
                  <a:pt x="100425" y="7049"/>
                </a:cubicBezTo>
                <a:cubicBezTo>
                  <a:pt x="100000" y="6892"/>
                  <a:pt x="97872" y="5639"/>
                  <a:pt x="97872" y="5639"/>
                </a:cubicBezTo>
                <a:cubicBezTo>
                  <a:pt x="94042" y="5169"/>
                  <a:pt x="94042" y="5169"/>
                  <a:pt x="94042" y="5169"/>
                </a:cubicBezTo>
                <a:cubicBezTo>
                  <a:pt x="92340" y="4856"/>
                  <a:pt x="92340" y="4856"/>
                  <a:pt x="92340" y="4856"/>
                </a:cubicBezTo>
                <a:cubicBezTo>
                  <a:pt x="90212" y="4699"/>
                  <a:pt x="90212" y="4699"/>
                  <a:pt x="90212" y="4699"/>
                </a:cubicBezTo>
                <a:cubicBezTo>
                  <a:pt x="90212" y="4699"/>
                  <a:pt x="89787" y="5013"/>
                  <a:pt x="89361" y="4699"/>
                </a:cubicBezTo>
                <a:cubicBezTo>
                  <a:pt x="88936" y="4386"/>
                  <a:pt x="88085" y="4073"/>
                  <a:pt x="88085" y="4073"/>
                </a:cubicBezTo>
                <a:cubicBezTo>
                  <a:pt x="86382" y="4229"/>
                  <a:pt x="86382" y="4229"/>
                  <a:pt x="86382" y="4229"/>
                </a:cubicBezTo>
                <a:cubicBezTo>
                  <a:pt x="85106" y="3603"/>
                  <a:pt x="85106" y="3603"/>
                  <a:pt x="85106" y="3603"/>
                </a:cubicBezTo>
                <a:cubicBezTo>
                  <a:pt x="85106" y="3603"/>
                  <a:pt x="84680" y="3603"/>
                  <a:pt x="84255" y="3603"/>
                </a:cubicBezTo>
                <a:cubicBezTo>
                  <a:pt x="83829" y="3446"/>
                  <a:pt x="82978" y="3289"/>
                  <a:pt x="82978" y="3289"/>
                </a:cubicBezTo>
                <a:cubicBezTo>
                  <a:pt x="81702" y="2506"/>
                  <a:pt x="81702" y="2506"/>
                  <a:pt x="81702" y="2506"/>
                </a:cubicBezTo>
                <a:cubicBezTo>
                  <a:pt x="80000" y="2193"/>
                  <a:pt x="80000" y="2193"/>
                  <a:pt x="80000" y="2193"/>
                </a:cubicBezTo>
                <a:cubicBezTo>
                  <a:pt x="77872" y="1879"/>
                  <a:pt x="77872" y="1879"/>
                  <a:pt x="77872" y="1879"/>
                </a:cubicBezTo>
                <a:cubicBezTo>
                  <a:pt x="77872" y="1253"/>
                  <a:pt x="77872" y="1253"/>
                  <a:pt x="77872" y="1253"/>
                </a:cubicBezTo>
                <a:cubicBezTo>
                  <a:pt x="74893" y="626"/>
                  <a:pt x="74893" y="626"/>
                  <a:pt x="74893" y="626"/>
                </a:cubicBezTo>
                <a:cubicBezTo>
                  <a:pt x="74893" y="626"/>
                  <a:pt x="74468" y="313"/>
                  <a:pt x="74893" y="313"/>
                </a:cubicBezTo>
                <a:cubicBezTo>
                  <a:pt x="75319" y="156"/>
                  <a:pt x="76595" y="156"/>
                  <a:pt x="77446" y="156"/>
                </a:cubicBezTo>
                <a:cubicBezTo>
                  <a:pt x="75319" y="0"/>
                  <a:pt x="75319" y="0"/>
                  <a:pt x="75319" y="0"/>
                </a:cubicBezTo>
                <a:cubicBezTo>
                  <a:pt x="72765" y="783"/>
                  <a:pt x="72765" y="783"/>
                  <a:pt x="72765" y="783"/>
                </a:cubicBezTo>
                <a:cubicBezTo>
                  <a:pt x="71489" y="783"/>
                  <a:pt x="71489" y="783"/>
                  <a:pt x="71489" y="783"/>
                </a:cubicBezTo>
                <a:cubicBezTo>
                  <a:pt x="71489" y="783"/>
                  <a:pt x="70638" y="939"/>
                  <a:pt x="70638" y="1096"/>
                </a:cubicBezTo>
                <a:cubicBezTo>
                  <a:pt x="71063" y="1253"/>
                  <a:pt x="71914" y="2663"/>
                  <a:pt x="72340" y="2976"/>
                </a:cubicBezTo>
                <a:cubicBezTo>
                  <a:pt x="72765" y="3133"/>
                  <a:pt x="72765" y="4229"/>
                  <a:pt x="71063" y="5013"/>
                </a:cubicBezTo>
                <a:cubicBezTo>
                  <a:pt x="72765" y="5639"/>
                  <a:pt x="72765" y="5639"/>
                  <a:pt x="72765" y="5639"/>
                </a:cubicBezTo>
                <a:cubicBezTo>
                  <a:pt x="71063" y="6422"/>
                  <a:pt x="71063" y="6422"/>
                  <a:pt x="71063" y="6422"/>
                </a:cubicBezTo>
                <a:cubicBezTo>
                  <a:pt x="68510" y="6579"/>
                  <a:pt x="68510" y="6579"/>
                  <a:pt x="68510" y="6579"/>
                </a:cubicBezTo>
                <a:cubicBezTo>
                  <a:pt x="68510" y="6579"/>
                  <a:pt x="65957" y="6422"/>
                  <a:pt x="65531" y="6266"/>
                </a:cubicBezTo>
                <a:cubicBezTo>
                  <a:pt x="65106" y="6109"/>
                  <a:pt x="62978" y="5796"/>
                  <a:pt x="62553" y="5796"/>
                </a:cubicBezTo>
                <a:cubicBezTo>
                  <a:pt x="61702" y="5953"/>
                  <a:pt x="55744" y="5796"/>
                  <a:pt x="55744" y="5796"/>
                </a:cubicBezTo>
                <a:cubicBezTo>
                  <a:pt x="54468" y="6422"/>
                  <a:pt x="54893" y="9712"/>
                  <a:pt x="55319" y="10182"/>
                </a:cubicBezTo>
                <a:cubicBezTo>
                  <a:pt x="54468" y="10809"/>
                  <a:pt x="54468" y="10809"/>
                  <a:pt x="54468" y="10809"/>
                </a:cubicBezTo>
                <a:cubicBezTo>
                  <a:pt x="52340" y="10809"/>
                  <a:pt x="52340" y="10809"/>
                  <a:pt x="52340" y="10809"/>
                </a:cubicBezTo>
                <a:cubicBezTo>
                  <a:pt x="48085" y="10026"/>
                  <a:pt x="48085" y="10026"/>
                  <a:pt x="48085" y="10026"/>
                </a:cubicBezTo>
                <a:cubicBezTo>
                  <a:pt x="46382" y="11279"/>
                  <a:pt x="46382" y="11279"/>
                  <a:pt x="46382" y="11279"/>
                </a:cubicBezTo>
                <a:cubicBezTo>
                  <a:pt x="46382" y="11279"/>
                  <a:pt x="44680" y="11906"/>
                  <a:pt x="44680" y="12219"/>
                </a:cubicBezTo>
                <a:cubicBezTo>
                  <a:pt x="44680" y="12375"/>
                  <a:pt x="43829" y="13002"/>
                  <a:pt x="43829" y="13002"/>
                </a:cubicBezTo>
                <a:cubicBezTo>
                  <a:pt x="43829" y="13159"/>
                  <a:pt x="43829" y="14255"/>
                  <a:pt x="43829" y="14255"/>
                </a:cubicBezTo>
                <a:cubicBezTo>
                  <a:pt x="42978" y="14882"/>
                  <a:pt x="42978" y="14882"/>
                  <a:pt x="42978" y="14882"/>
                </a:cubicBezTo>
                <a:cubicBezTo>
                  <a:pt x="40425" y="15509"/>
                  <a:pt x="40425" y="15509"/>
                  <a:pt x="40425" y="15509"/>
                </a:cubicBezTo>
                <a:cubicBezTo>
                  <a:pt x="40425" y="16292"/>
                  <a:pt x="40425" y="16292"/>
                  <a:pt x="40425" y="16292"/>
                </a:cubicBezTo>
                <a:cubicBezTo>
                  <a:pt x="40425" y="16292"/>
                  <a:pt x="41702" y="17232"/>
                  <a:pt x="42553" y="17389"/>
                </a:cubicBezTo>
                <a:cubicBezTo>
                  <a:pt x="42978" y="17702"/>
                  <a:pt x="43829" y="18955"/>
                  <a:pt x="43829" y="18955"/>
                </a:cubicBezTo>
                <a:cubicBezTo>
                  <a:pt x="43829" y="18955"/>
                  <a:pt x="42553" y="20052"/>
                  <a:pt x="42127" y="20365"/>
                </a:cubicBezTo>
                <a:cubicBezTo>
                  <a:pt x="41702" y="20678"/>
                  <a:pt x="38297" y="22245"/>
                  <a:pt x="38297" y="22245"/>
                </a:cubicBezTo>
                <a:cubicBezTo>
                  <a:pt x="36170" y="24281"/>
                  <a:pt x="36170" y="24281"/>
                  <a:pt x="36170" y="24281"/>
                </a:cubicBezTo>
                <a:cubicBezTo>
                  <a:pt x="36170" y="25691"/>
                  <a:pt x="36170" y="25691"/>
                  <a:pt x="36170" y="25691"/>
                </a:cubicBezTo>
                <a:cubicBezTo>
                  <a:pt x="35744" y="26475"/>
                  <a:pt x="35744" y="26475"/>
                  <a:pt x="35744" y="26475"/>
                </a:cubicBezTo>
                <a:cubicBezTo>
                  <a:pt x="32765" y="27571"/>
                  <a:pt x="32765" y="27571"/>
                  <a:pt x="32765" y="27571"/>
                </a:cubicBezTo>
                <a:cubicBezTo>
                  <a:pt x="28936" y="27728"/>
                  <a:pt x="28936" y="27728"/>
                  <a:pt x="28936" y="27728"/>
                </a:cubicBezTo>
                <a:cubicBezTo>
                  <a:pt x="27659" y="28198"/>
                  <a:pt x="27659" y="28198"/>
                  <a:pt x="27659" y="28198"/>
                </a:cubicBezTo>
                <a:cubicBezTo>
                  <a:pt x="29787" y="30861"/>
                  <a:pt x="29787" y="30861"/>
                  <a:pt x="29787" y="30861"/>
                </a:cubicBezTo>
                <a:cubicBezTo>
                  <a:pt x="28936" y="32114"/>
                  <a:pt x="28936" y="32114"/>
                  <a:pt x="28936" y="32114"/>
                </a:cubicBezTo>
                <a:cubicBezTo>
                  <a:pt x="28510" y="33211"/>
                  <a:pt x="28510" y="33211"/>
                  <a:pt x="28510" y="33211"/>
                </a:cubicBezTo>
                <a:cubicBezTo>
                  <a:pt x="28510" y="33211"/>
                  <a:pt x="27659" y="34151"/>
                  <a:pt x="28085" y="34308"/>
                </a:cubicBezTo>
                <a:cubicBezTo>
                  <a:pt x="28510" y="34621"/>
                  <a:pt x="28936" y="35248"/>
                  <a:pt x="28936" y="35248"/>
                </a:cubicBezTo>
                <a:cubicBezTo>
                  <a:pt x="27234" y="35718"/>
                  <a:pt x="27234" y="35718"/>
                  <a:pt x="27234" y="35718"/>
                </a:cubicBezTo>
                <a:cubicBezTo>
                  <a:pt x="27659" y="36657"/>
                  <a:pt x="27659" y="36657"/>
                  <a:pt x="27659" y="36657"/>
                </a:cubicBezTo>
                <a:cubicBezTo>
                  <a:pt x="21276" y="40731"/>
                  <a:pt x="21276" y="40731"/>
                  <a:pt x="21276" y="40731"/>
                </a:cubicBezTo>
                <a:cubicBezTo>
                  <a:pt x="22127" y="41514"/>
                  <a:pt x="22127" y="41514"/>
                  <a:pt x="22127" y="41514"/>
                </a:cubicBezTo>
                <a:cubicBezTo>
                  <a:pt x="25957" y="41827"/>
                  <a:pt x="25957" y="41827"/>
                  <a:pt x="25957" y="41827"/>
                </a:cubicBezTo>
                <a:cubicBezTo>
                  <a:pt x="26382" y="44334"/>
                  <a:pt x="26382" y="44334"/>
                  <a:pt x="26382" y="44334"/>
                </a:cubicBezTo>
                <a:cubicBezTo>
                  <a:pt x="25106" y="45430"/>
                  <a:pt x="25106" y="45430"/>
                  <a:pt x="25106" y="45430"/>
                </a:cubicBezTo>
                <a:cubicBezTo>
                  <a:pt x="24680" y="45744"/>
                  <a:pt x="24680" y="45744"/>
                  <a:pt x="24680" y="45744"/>
                </a:cubicBezTo>
                <a:cubicBezTo>
                  <a:pt x="14468" y="45900"/>
                  <a:pt x="14468" y="45900"/>
                  <a:pt x="14468" y="45900"/>
                </a:cubicBezTo>
                <a:cubicBezTo>
                  <a:pt x="8936" y="48563"/>
                  <a:pt x="8936" y="48563"/>
                  <a:pt x="8936" y="48563"/>
                </a:cubicBezTo>
                <a:cubicBezTo>
                  <a:pt x="8085" y="50130"/>
                  <a:pt x="8085" y="50130"/>
                  <a:pt x="8085" y="50130"/>
                </a:cubicBezTo>
                <a:cubicBezTo>
                  <a:pt x="7659" y="51227"/>
                  <a:pt x="7659" y="51227"/>
                  <a:pt x="7659" y="51227"/>
                </a:cubicBezTo>
                <a:cubicBezTo>
                  <a:pt x="7659" y="51227"/>
                  <a:pt x="6382" y="51853"/>
                  <a:pt x="6382" y="52167"/>
                </a:cubicBezTo>
                <a:cubicBezTo>
                  <a:pt x="6382" y="52323"/>
                  <a:pt x="6382" y="53263"/>
                  <a:pt x="6382" y="53263"/>
                </a:cubicBezTo>
                <a:cubicBezTo>
                  <a:pt x="8085" y="54516"/>
                  <a:pt x="8085" y="54516"/>
                  <a:pt x="8085" y="54516"/>
                </a:cubicBezTo>
                <a:cubicBezTo>
                  <a:pt x="8085" y="55456"/>
                  <a:pt x="8085" y="55456"/>
                  <a:pt x="8085" y="55456"/>
                </a:cubicBezTo>
                <a:cubicBezTo>
                  <a:pt x="7234" y="55926"/>
                  <a:pt x="7234" y="55926"/>
                  <a:pt x="7234" y="55926"/>
                </a:cubicBezTo>
                <a:cubicBezTo>
                  <a:pt x="7659" y="57023"/>
                  <a:pt x="7659" y="57023"/>
                  <a:pt x="7659" y="57023"/>
                </a:cubicBezTo>
                <a:cubicBezTo>
                  <a:pt x="7659" y="57023"/>
                  <a:pt x="8085" y="57336"/>
                  <a:pt x="7659" y="57493"/>
                </a:cubicBezTo>
                <a:cubicBezTo>
                  <a:pt x="6808" y="57806"/>
                  <a:pt x="6808" y="58120"/>
                  <a:pt x="7234" y="58433"/>
                </a:cubicBezTo>
                <a:cubicBezTo>
                  <a:pt x="7234" y="58590"/>
                  <a:pt x="10212" y="60626"/>
                  <a:pt x="10212" y="60626"/>
                </a:cubicBezTo>
                <a:cubicBezTo>
                  <a:pt x="10638" y="65483"/>
                  <a:pt x="10638" y="65483"/>
                  <a:pt x="10638" y="65483"/>
                </a:cubicBezTo>
                <a:cubicBezTo>
                  <a:pt x="11914" y="66736"/>
                  <a:pt x="11914" y="66736"/>
                  <a:pt x="11914" y="66736"/>
                </a:cubicBezTo>
                <a:cubicBezTo>
                  <a:pt x="14893" y="67519"/>
                  <a:pt x="14893" y="67519"/>
                  <a:pt x="14893" y="67519"/>
                </a:cubicBezTo>
                <a:cubicBezTo>
                  <a:pt x="17446" y="68302"/>
                  <a:pt x="17446" y="68302"/>
                  <a:pt x="17446" y="68302"/>
                </a:cubicBezTo>
                <a:cubicBezTo>
                  <a:pt x="17872" y="69712"/>
                  <a:pt x="17872" y="69712"/>
                  <a:pt x="17872" y="69712"/>
                </a:cubicBezTo>
                <a:cubicBezTo>
                  <a:pt x="17872" y="69712"/>
                  <a:pt x="17021" y="70809"/>
                  <a:pt x="17021" y="70966"/>
                </a:cubicBezTo>
                <a:cubicBezTo>
                  <a:pt x="17446" y="71122"/>
                  <a:pt x="14893" y="71122"/>
                  <a:pt x="14893" y="71122"/>
                </a:cubicBezTo>
                <a:cubicBezTo>
                  <a:pt x="12765" y="71279"/>
                  <a:pt x="12765" y="71279"/>
                  <a:pt x="12765" y="71279"/>
                </a:cubicBezTo>
                <a:cubicBezTo>
                  <a:pt x="10638" y="72062"/>
                  <a:pt x="10638" y="72062"/>
                  <a:pt x="10638" y="72062"/>
                </a:cubicBezTo>
                <a:cubicBezTo>
                  <a:pt x="11489" y="73002"/>
                  <a:pt x="11489" y="73002"/>
                  <a:pt x="11489" y="73002"/>
                </a:cubicBezTo>
                <a:cubicBezTo>
                  <a:pt x="12765" y="74412"/>
                  <a:pt x="12765" y="74412"/>
                  <a:pt x="12765" y="74412"/>
                </a:cubicBezTo>
                <a:cubicBezTo>
                  <a:pt x="15319" y="75509"/>
                  <a:pt x="15319" y="75509"/>
                  <a:pt x="15319" y="75509"/>
                </a:cubicBezTo>
                <a:cubicBezTo>
                  <a:pt x="16170" y="76449"/>
                  <a:pt x="16170" y="76449"/>
                  <a:pt x="16170" y="76449"/>
                </a:cubicBezTo>
                <a:cubicBezTo>
                  <a:pt x="14893" y="77389"/>
                  <a:pt x="14893" y="77389"/>
                  <a:pt x="14893" y="77389"/>
                </a:cubicBezTo>
                <a:cubicBezTo>
                  <a:pt x="14042" y="77859"/>
                  <a:pt x="14042" y="77859"/>
                  <a:pt x="14042" y="77859"/>
                </a:cubicBezTo>
                <a:cubicBezTo>
                  <a:pt x="14893" y="78642"/>
                  <a:pt x="14893" y="78642"/>
                  <a:pt x="14893" y="78642"/>
                </a:cubicBezTo>
                <a:cubicBezTo>
                  <a:pt x="14893" y="79425"/>
                  <a:pt x="14893" y="79425"/>
                  <a:pt x="14893" y="79425"/>
                </a:cubicBezTo>
                <a:cubicBezTo>
                  <a:pt x="14893" y="79425"/>
                  <a:pt x="14042" y="79895"/>
                  <a:pt x="14042" y="80052"/>
                </a:cubicBezTo>
                <a:cubicBezTo>
                  <a:pt x="14042" y="80208"/>
                  <a:pt x="12340" y="80678"/>
                  <a:pt x="12340" y="80678"/>
                </a:cubicBezTo>
                <a:cubicBezTo>
                  <a:pt x="11063" y="81148"/>
                  <a:pt x="11063" y="81148"/>
                  <a:pt x="11063" y="81148"/>
                </a:cubicBezTo>
                <a:cubicBezTo>
                  <a:pt x="9787" y="81305"/>
                  <a:pt x="9787" y="81305"/>
                  <a:pt x="9787" y="81305"/>
                </a:cubicBezTo>
                <a:cubicBezTo>
                  <a:pt x="9787" y="81305"/>
                  <a:pt x="8936" y="81148"/>
                  <a:pt x="8510" y="81305"/>
                </a:cubicBezTo>
                <a:cubicBezTo>
                  <a:pt x="8510" y="81305"/>
                  <a:pt x="7659" y="81618"/>
                  <a:pt x="7659" y="81618"/>
                </a:cubicBezTo>
                <a:cubicBezTo>
                  <a:pt x="7659" y="82088"/>
                  <a:pt x="7659" y="82088"/>
                  <a:pt x="7659" y="82088"/>
                </a:cubicBezTo>
                <a:cubicBezTo>
                  <a:pt x="8510" y="82402"/>
                  <a:pt x="8510" y="82402"/>
                  <a:pt x="8510" y="82402"/>
                </a:cubicBezTo>
                <a:cubicBezTo>
                  <a:pt x="8085" y="83185"/>
                  <a:pt x="8085" y="83185"/>
                  <a:pt x="8085" y="83185"/>
                </a:cubicBezTo>
                <a:cubicBezTo>
                  <a:pt x="6808" y="83655"/>
                  <a:pt x="6808" y="83655"/>
                  <a:pt x="6808" y="83655"/>
                </a:cubicBezTo>
                <a:cubicBezTo>
                  <a:pt x="5531" y="83812"/>
                  <a:pt x="5531" y="83812"/>
                  <a:pt x="5531" y="83812"/>
                </a:cubicBezTo>
                <a:cubicBezTo>
                  <a:pt x="6382" y="84751"/>
                  <a:pt x="6382" y="84751"/>
                  <a:pt x="6382" y="84751"/>
                </a:cubicBezTo>
                <a:cubicBezTo>
                  <a:pt x="8085" y="85848"/>
                  <a:pt x="8085" y="85848"/>
                  <a:pt x="8085" y="85848"/>
                </a:cubicBezTo>
                <a:cubicBezTo>
                  <a:pt x="8085" y="86788"/>
                  <a:pt x="8085" y="86788"/>
                  <a:pt x="8085" y="86788"/>
                </a:cubicBezTo>
                <a:cubicBezTo>
                  <a:pt x="6808" y="87728"/>
                  <a:pt x="6808" y="87728"/>
                  <a:pt x="6808" y="87728"/>
                </a:cubicBezTo>
                <a:cubicBezTo>
                  <a:pt x="6382" y="88825"/>
                  <a:pt x="6382" y="88825"/>
                  <a:pt x="6382" y="88825"/>
                </a:cubicBezTo>
                <a:cubicBezTo>
                  <a:pt x="5957" y="89765"/>
                  <a:pt x="5957" y="89765"/>
                  <a:pt x="5957" y="89765"/>
                </a:cubicBezTo>
                <a:cubicBezTo>
                  <a:pt x="5106" y="89921"/>
                  <a:pt x="5106" y="89921"/>
                  <a:pt x="5106" y="89921"/>
                </a:cubicBezTo>
                <a:cubicBezTo>
                  <a:pt x="3829" y="89921"/>
                  <a:pt x="3829" y="89921"/>
                  <a:pt x="3829" y="89921"/>
                </a:cubicBezTo>
                <a:cubicBezTo>
                  <a:pt x="3829" y="89921"/>
                  <a:pt x="3829" y="88981"/>
                  <a:pt x="3404" y="88825"/>
                </a:cubicBezTo>
                <a:cubicBezTo>
                  <a:pt x="3404" y="88825"/>
                  <a:pt x="425" y="87885"/>
                  <a:pt x="425" y="87885"/>
                </a:cubicBezTo>
                <a:cubicBezTo>
                  <a:pt x="425" y="88825"/>
                  <a:pt x="425" y="88825"/>
                  <a:pt x="425" y="88825"/>
                </a:cubicBezTo>
                <a:cubicBezTo>
                  <a:pt x="0" y="89921"/>
                  <a:pt x="0" y="89921"/>
                  <a:pt x="0" y="89921"/>
                </a:cubicBezTo>
                <a:cubicBezTo>
                  <a:pt x="0" y="89921"/>
                  <a:pt x="425" y="90548"/>
                  <a:pt x="851" y="90704"/>
                </a:cubicBezTo>
                <a:cubicBezTo>
                  <a:pt x="1276" y="90861"/>
                  <a:pt x="1702" y="91958"/>
                  <a:pt x="1702" y="91958"/>
                </a:cubicBezTo>
                <a:cubicBezTo>
                  <a:pt x="1276" y="93054"/>
                  <a:pt x="1276" y="93054"/>
                  <a:pt x="1276" y="93054"/>
                </a:cubicBezTo>
                <a:cubicBezTo>
                  <a:pt x="1276" y="93054"/>
                  <a:pt x="2127" y="93838"/>
                  <a:pt x="2127" y="93838"/>
                </a:cubicBezTo>
                <a:cubicBezTo>
                  <a:pt x="2127" y="93994"/>
                  <a:pt x="2553" y="94621"/>
                  <a:pt x="2553" y="94621"/>
                </a:cubicBezTo>
                <a:cubicBezTo>
                  <a:pt x="4255" y="94464"/>
                  <a:pt x="4255" y="94464"/>
                  <a:pt x="4255" y="94464"/>
                </a:cubicBezTo>
                <a:cubicBezTo>
                  <a:pt x="3829" y="93994"/>
                  <a:pt x="3829" y="93994"/>
                  <a:pt x="3829" y="93994"/>
                </a:cubicBezTo>
                <a:cubicBezTo>
                  <a:pt x="5106" y="94621"/>
                  <a:pt x="5106" y="94621"/>
                  <a:pt x="5106" y="94621"/>
                </a:cubicBezTo>
                <a:cubicBezTo>
                  <a:pt x="5106" y="94621"/>
                  <a:pt x="4255" y="94778"/>
                  <a:pt x="5106" y="94621"/>
                </a:cubicBezTo>
                <a:cubicBezTo>
                  <a:pt x="5531" y="94621"/>
                  <a:pt x="6382" y="94308"/>
                  <a:pt x="6382" y="94308"/>
                </a:cubicBezTo>
                <a:cubicBezTo>
                  <a:pt x="5957" y="94778"/>
                  <a:pt x="5957" y="94778"/>
                  <a:pt x="5957" y="94778"/>
                </a:cubicBezTo>
                <a:cubicBezTo>
                  <a:pt x="5106" y="95404"/>
                  <a:pt x="5106" y="95404"/>
                  <a:pt x="5106" y="95404"/>
                </a:cubicBezTo>
                <a:cubicBezTo>
                  <a:pt x="5531" y="95561"/>
                  <a:pt x="5531" y="95561"/>
                  <a:pt x="5531" y="95561"/>
                </a:cubicBezTo>
                <a:cubicBezTo>
                  <a:pt x="6808" y="95718"/>
                  <a:pt x="6808" y="95718"/>
                  <a:pt x="6808" y="95718"/>
                </a:cubicBezTo>
                <a:cubicBezTo>
                  <a:pt x="5106" y="96501"/>
                  <a:pt x="5106" y="96501"/>
                  <a:pt x="5106" y="96501"/>
                </a:cubicBezTo>
                <a:cubicBezTo>
                  <a:pt x="5106" y="96501"/>
                  <a:pt x="5957" y="96971"/>
                  <a:pt x="6382" y="97127"/>
                </a:cubicBezTo>
                <a:cubicBezTo>
                  <a:pt x="6382" y="97127"/>
                  <a:pt x="8085" y="96657"/>
                  <a:pt x="8085" y="96657"/>
                </a:cubicBezTo>
                <a:cubicBezTo>
                  <a:pt x="8085" y="96657"/>
                  <a:pt x="8085" y="96814"/>
                  <a:pt x="8085" y="96971"/>
                </a:cubicBezTo>
                <a:cubicBezTo>
                  <a:pt x="8085" y="96971"/>
                  <a:pt x="6808" y="97441"/>
                  <a:pt x="6808" y="97754"/>
                </a:cubicBezTo>
                <a:cubicBezTo>
                  <a:pt x="7234" y="97911"/>
                  <a:pt x="9361" y="97597"/>
                  <a:pt x="8936" y="97754"/>
                </a:cubicBezTo>
                <a:cubicBezTo>
                  <a:pt x="8510" y="97911"/>
                  <a:pt x="8510" y="98224"/>
                  <a:pt x="8510" y="98224"/>
                </a:cubicBezTo>
                <a:cubicBezTo>
                  <a:pt x="8510" y="98224"/>
                  <a:pt x="7234" y="98694"/>
                  <a:pt x="8085" y="98851"/>
                </a:cubicBezTo>
                <a:cubicBezTo>
                  <a:pt x="8510" y="99007"/>
                  <a:pt x="9787" y="99164"/>
                  <a:pt x="9361" y="99164"/>
                </a:cubicBezTo>
                <a:cubicBezTo>
                  <a:pt x="9361" y="99321"/>
                  <a:pt x="8085" y="99634"/>
                  <a:pt x="8085" y="99634"/>
                </a:cubicBezTo>
                <a:cubicBezTo>
                  <a:pt x="8085" y="99634"/>
                  <a:pt x="7659" y="99947"/>
                  <a:pt x="8085" y="100104"/>
                </a:cubicBezTo>
                <a:cubicBezTo>
                  <a:pt x="8510" y="100261"/>
                  <a:pt x="9787" y="100261"/>
                  <a:pt x="9787" y="100261"/>
                </a:cubicBezTo>
                <a:cubicBezTo>
                  <a:pt x="9787" y="100261"/>
                  <a:pt x="9787" y="99947"/>
                  <a:pt x="9787" y="100104"/>
                </a:cubicBezTo>
                <a:cubicBezTo>
                  <a:pt x="9787" y="100261"/>
                  <a:pt x="9361" y="100574"/>
                  <a:pt x="9361" y="100574"/>
                </a:cubicBezTo>
                <a:cubicBezTo>
                  <a:pt x="9361" y="100574"/>
                  <a:pt x="8936" y="100887"/>
                  <a:pt x="9361" y="101044"/>
                </a:cubicBezTo>
                <a:cubicBezTo>
                  <a:pt x="9787" y="101044"/>
                  <a:pt x="10638" y="101044"/>
                  <a:pt x="10638" y="101044"/>
                </a:cubicBezTo>
                <a:cubicBezTo>
                  <a:pt x="10638" y="101044"/>
                  <a:pt x="10638" y="101201"/>
                  <a:pt x="10638" y="101514"/>
                </a:cubicBezTo>
                <a:cubicBezTo>
                  <a:pt x="10638" y="101671"/>
                  <a:pt x="10638" y="102140"/>
                  <a:pt x="10638" y="102140"/>
                </a:cubicBezTo>
                <a:cubicBezTo>
                  <a:pt x="10638" y="102297"/>
                  <a:pt x="10638" y="102610"/>
                  <a:pt x="10638" y="102610"/>
                </a:cubicBezTo>
                <a:cubicBezTo>
                  <a:pt x="10638" y="102610"/>
                  <a:pt x="10212" y="102767"/>
                  <a:pt x="11489" y="102767"/>
                </a:cubicBezTo>
                <a:cubicBezTo>
                  <a:pt x="12340" y="102767"/>
                  <a:pt x="12340" y="102610"/>
                  <a:pt x="12765" y="102610"/>
                </a:cubicBezTo>
                <a:cubicBezTo>
                  <a:pt x="13191" y="102610"/>
                  <a:pt x="13191" y="102767"/>
                  <a:pt x="13617" y="102924"/>
                </a:cubicBezTo>
                <a:cubicBezTo>
                  <a:pt x="13617" y="103237"/>
                  <a:pt x="13617" y="103394"/>
                  <a:pt x="13617" y="103550"/>
                </a:cubicBezTo>
                <a:cubicBezTo>
                  <a:pt x="14042" y="103707"/>
                  <a:pt x="15744" y="105274"/>
                  <a:pt x="15744" y="105274"/>
                </a:cubicBezTo>
                <a:cubicBezTo>
                  <a:pt x="15744" y="105274"/>
                  <a:pt x="16170" y="105900"/>
                  <a:pt x="16595" y="106057"/>
                </a:cubicBezTo>
                <a:cubicBezTo>
                  <a:pt x="16595" y="106214"/>
                  <a:pt x="17021" y="106370"/>
                  <a:pt x="17446" y="106527"/>
                </a:cubicBezTo>
                <a:cubicBezTo>
                  <a:pt x="17446" y="106527"/>
                  <a:pt x="18297" y="106997"/>
                  <a:pt x="18297" y="106997"/>
                </a:cubicBezTo>
                <a:cubicBezTo>
                  <a:pt x="19574" y="107310"/>
                  <a:pt x="19574" y="107310"/>
                  <a:pt x="19574" y="107310"/>
                </a:cubicBezTo>
                <a:cubicBezTo>
                  <a:pt x="21276" y="108407"/>
                  <a:pt x="21276" y="108407"/>
                  <a:pt x="21276" y="108407"/>
                </a:cubicBezTo>
                <a:cubicBezTo>
                  <a:pt x="21276" y="108407"/>
                  <a:pt x="22553" y="108877"/>
                  <a:pt x="22553" y="108877"/>
                </a:cubicBezTo>
                <a:cubicBezTo>
                  <a:pt x="22978" y="108877"/>
                  <a:pt x="23829" y="108563"/>
                  <a:pt x="23829" y="108563"/>
                </a:cubicBezTo>
                <a:cubicBezTo>
                  <a:pt x="23829" y="108563"/>
                  <a:pt x="25106" y="108720"/>
                  <a:pt x="25106" y="108877"/>
                </a:cubicBezTo>
                <a:cubicBezTo>
                  <a:pt x="24680" y="108877"/>
                  <a:pt x="24255" y="109503"/>
                  <a:pt x="24255" y="109660"/>
                </a:cubicBezTo>
                <a:cubicBezTo>
                  <a:pt x="24680" y="109817"/>
                  <a:pt x="24680" y="110130"/>
                  <a:pt x="24680" y="110130"/>
                </a:cubicBezTo>
                <a:cubicBezTo>
                  <a:pt x="23829" y="110287"/>
                  <a:pt x="23829" y="110287"/>
                  <a:pt x="23829" y="110287"/>
                </a:cubicBezTo>
                <a:cubicBezTo>
                  <a:pt x="22978" y="110443"/>
                  <a:pt x="22978" y="110443"/>
                  <a:pt x="22978" y="110443"/>
                </a:cubicBezTo>
                <a:cubicBezTo>
                  <a:pt x="21276" y="110443"/>
                  <a:pt x="21276" y="110443"/>
                  <a:pt x="21276" y="110443"/>
                </a:cubicBezTo>
                <a:cubicBezTo>
                  <a:pt x="20851" y="111070"/>
                  <a:pt x="20851" y="111070"/>
                  <a:pt x="20851" y="111070"/>
                </a:cubicBezTo>
                <a:cubicBezTo>
                  <a:pt x="22553" y="111383"/>
                  <a:pt x="22553" y="111383"/>
                  <a:pt x="22553" y="111383"/>
                </a:cubicBezTo>
                <a:cubicBezTo>
                  <a:pt x="22553" y="111383"/>
                  <a:pt x="23404" y="111697"/>
                  <a:pt x="23829" y="111697"/>
                </a:cubicBezTo>
                <a:cubicBezTo>
                  <a:pt x="23829" y="111853"/>
                  <a:pt x="23829" y="112480"/>
                  <a:pt x="23829" y="112480"/>
                </a:cubicBezTo>
                <a:cubicBezTo>
                  <a:pt x="23404" y="112480"/>
                  <a:pt x="21702" y="112480"/>
                  <a:pt x="21702" y="112480"/>
                </a:cubicBezTo>
                <a:cubicBezTo>
                  <a:pt x="21702" y="112480"/>
                  <a:pt x="20851" y="112950"/>
                  <a:pt x="20851" y="112950"/>
                </a:cubicBezTo>
                <a:cubicBezTo>
                  <a:pt x="20851" y="113107"/>
                  <a:pt x="20425" y="113107"/>
                  <a:pt x="21276" y="113577"/>
                </a:cubicBezTo>
                <a:cubicBezTo>
                  <a:pt x="21702" y="113890"/>
                  <a:pt x="23829" y="114830"/>
                  <a:pt x="23829" y="114830"/>
                </a:cubicBezTo>
                <a:cubicBezTo>
                  <a:pt x="23829" y="114830"/>
                  <a:pt x="25531" y="115770"/>
                  <a:pt x="25531" y="115770"/>
                </a:cubicBezTo>
                <a:cubicBezTo>
                  <a:pt x="25531" y="115926"/>
                  <a:pt x="26808" y="116553"/>
                  <a:pt x="26808" y="116553"/>
                </a:cubicBezTo>
                <a:cubicBezTo>
                  <a:pt x="27234" y="116553"/>
                  <a:pt x="27234" y="117180"/>
                  <a:pt x="27234" y="117180"/>
                </a:cubicBezTo>
                <a:cubicBezTo>
                  <a:pt x="26808" y="117493"/>
                  <a:pt x="26808" y="117493"/>
                  <a:pt x="26808" y="117493"/>
                </a:cubicBezTo>
                <a:cubicBezTo>
                  <a:pt x="26382" y="117963"/>
                  <a:pt x="26382" y="117963"/>
                  <a:pt x="26382" y="117963"/>
                </a:cubicBezTo>
                <a:cubicBezTo>
                  <a:pt x="25957" y="118433"/>
                  <a:pt x="25957" y="118433"/>
                  <a:pt x="25957" y="118433"/>
                </a:cubicBezTo>
                <a:cubicBezTo>
                  <a:pt x="26382" y="118746"/>
                  <a:pt x="26382" y="118746"/>
                  <a:pt x="26382" y="118746"/>
                </a:cubicBezTo>
                <a:cubicBezTo>
                  <a:pt x="25957" y="119060"/>
                  <a:pt x="25957" y="119060"/>
                  <a:pt x="25957" y="119060"/>
                </a:cubicBezTo>
                <a:cubicBezTo>
                  <a:pt x="25106" y="119530"/>
                  <a:pt x="25106" y="119530"/>
                  <a:pt x="25106" y="119530"/>
                </a:cubicBezTo>
                <a:cubicBezTo>
                  <a:pt x="27234" y="119686"/>
                  <a:pt x="27234" y="119686"/>
                  <a:pt x="27234" y="119686"/>
                </a:cubicBezTo>
                <a:cubicBezTo>
                  <a:pt x="29787" y="119530"/>
                  <a:pt x="29787" y="119530"/>
                  <a:pt x="29787" y="119530"/>
                </a:cubicBezTo>
                <a:cubicBezTo>
                  <a:pt x="29787" y="119530"/>
                  <a:pt x="30212" y="119843"/>
                  <a:pt x="30212" y="119843"/>
                </a:cubicBezTo>
                <a:cubicBezTo>
                  <a:pt x="30638" y="120000"/>
                  <a:pt x="32765" y="119843"/>
                  <a:pt x="32765" y="119843"/>
                </a:cubicBezTo>
                <a:cubicBezTo>
                  <a:pt x="34468" y="119530"/>
                  <a:pt x="34468" y="119530"/>
                  <a:pt x="34468" y="119530"/>
                </a:cubicBezTo>
                <a:cubicBezTo>
                  <a:pt x="35744" y="119216"/>
                  <a:pt x="35744" y="119216"/>
                  <a:pt x="35744" y="119216"/>
                </a:cubicBezTo>
                <a:cubicBezTo>
                  <a:pt x="35744" y="118903"/>
                  <a:pt x="35744" y="118903"/>
                  <a:pt x="35744" y="118903"/>
                </a:cubicBezTo>
                <a:cubicBezTo>
                  <a:pt x="35744" y="118903"/>
                  <a:pt x="36595" y="118433"/>
                  <a:pt x="36595" y="118433"/>
                </a:cubicBezTo>
                <a:cubicBezTo>
                  <a:pt x="37021" y="118433"/>
                  <a:pt x="38297" y="118590"/>
                  <a:pt x="38297" y="118590"/>
                </a:cubicBezTo>
                <a:cubicBezTo>
                  <a:pt x="38297" y="118590"/>
                  <a:pt x="39574" y="118590"/>
                  <a:pt x="39574" y="118746"/>
                </a:cubicBezTo>
                <a:cubicBezTo>
                  <a:pt x="39574" y="118903"/>
                  <a:pt x="40425" y="119060"/>
                  <a:pt x="40425" y="119060"/>
                </a:cubicBezTo>
                <a:cubicBezTo>
                  <a:pt x="41702" y="119060"/>
                  <a:pt x="41702" y="119060"/>
                  <a:pt x="41702" y="119060"/>
                </a:cubicBezTo>
                <a:cubicBezTo>
                  <a:pt x="42978" y="118903"/>
                  <a:pt x="42978" y="118903"/>
                  <a:pt x="42978" y="118903"/>
                </a:cubicBezTo>
                <a:cubicBezTo>
                  <a:pt x="44680" y="118746"/>
                  <a:pt x="44680" y="118746"/>
                  <a:pt x="44680" y="118746"/>
                </a:cubicBezTo>
                <a:cubicBezTo>
                  <a:pt x="44680" y="118746"/>
                  <a:pt x="44255" y="118433"/>
                  <a:pt x="44680" y="118433"/>
                </a:cubicBezTo>
                <a:cubicBezTo>
                  <a:pt x="45106" y="118433"/>
                  <a:pt x="46382" y="118433"/>
                  <a:pt x="46382" y="118433"/>
                </a:cubicBezTo>
                <a:cubicBezTo>
                  <a:pt x="46382" y="118433"/>
                  <a:pt x="46808" y="118746"/>
                  <a:pt x="47234" y="118746"/>
                </a:cubicBezTo>
                <a:cubicBezTo>
                  <a:pt x="47234" y="118746"/>
                  <a:pt x="48085" y="118433"/>
                  <a:pt x="47659" y="118276"/>
                </a:cubicBezTo>
                <a:cubicBezTo>
                  <a:pt x="47234" y="118120"/>
                  <a:pt x="45531" y="117806"/>
                  <a:pt x="45531" y="117806"/>
                </a:cubicBezTo>
                <a:cubicBezTo>
                  <a:pt x="45531" y="117806"/>
                  <a:pt x="44680" y="117336"/>
                  <a:pt x="44680" y="117180"/>
                </a:cubicBezTo>
                <a:cubicBezTo>
                  <a:pt x="44255" y="117023"/>
                  <a:pt x="44255" y="116553"/>
                  <a:pt x="43829" y="116396"/>
                </a:cubicBezTo>
                <a:cubicBezTo>
                  <a:pt x="43404" y="116396"/>
                  <a:pt x="42978" y="116240"/>
                  <a:pt x="42978" y="115926"/>
                </a:cubicBezTo>
                <a:cubicBezTo>
                  <a:pt x="43404" y="115456"/>
                  <a:pt x="43404" y="115300"/>
                  <a:pt x="43404" y="115300"/>
                </a:cubicBezTo>
                <a:cubicBezTo>
                  <a:pt x="43404" y="115143"/>
                  <a:pt x="43404" y="114516"/>
                  <a:pt x="43404" y="114516"/>
                </a:cubicBezTo>
                <a:cubicBezTo>
                  <a:pt x="43404" y="114516"/>
                  <a:pt x="42978" y="114203"/>
                  <a:pt x="44255" y="113890"/>
                </a:cubicBezTo>
                <a:cubicBezTo>
                  <a:pt x="45531" y="113577"/>
                  <a:pt x="45531" y="113263"/>
                  <a:pt x="45957" y="113420"/>
                </a:cubicBezTo>
                <a:cubicBezTo>
                  <a:pt x="46382" y="113577"/>
                  <a:pt x="47234" y="113890"/>
                  <a:pt x="47659" y="113890"/>
                </a:cubicBezTo>
                <a:cubicBezTo>
                  <a:pt x="47659" y="114046"/>
                  <a:pt x="48085" y="114046"/>
                  <a:pt x="48510" y="114203"/>
                </a:cubicBezTo>
                <a:cubicBezTo>
                  <a:pt x="48510" y="114360"/>
                  <a:pt x="48085" y="114516"/>
                  <a:pt x="48936" y="114516"/>
                </a:cubicBezTo>
                <a:cubicBezTo>
                  <a:pt x="49361" y="114516"/>
                  <a:pt x="50212" y="114516"/>
                  <a:pt x="50212" y="114516"/>
                </a:cubicBezTo>
                <a:cubicBezTo>
                  <a:pt x="50212" y="114516"/>
                  <a:pt x="50638" y="114516"/>
                  <a:pt x="50638" y="114360"/>
                </a:cubicBezTo>
                <a:cubicBezTo>
                  <a:pt x="50638" y="114203"/>
                  <a:pt x="50638" y="113733"/>
                  <a:pt x="50212" y="113733"/>
                </a:cubicBezTo>
                <a:cubicBezTo>
                  <a:pt x="49787" y="113577"/>
                  <a:pt x="49361" y="113420"/>
                  <a:pt x="49361" y="113420"/>
                </a:cubicBezTo>
                <a:cubicBezTo>
                  <a:pt x="49361" y="113420"/>
                  <a:pt x="50212" y="113263"/>
                  <a:pt x="48936" y="113107"/>
                </a:cubicBezTo>
                <a:cubicBezTo>
                  <a:pt x="47659" y="112793"/>
                  <a:pt x="47659" y="112637"/>
                  <a:pt x="48085" y="112480"/>
                </a:cubicBezTo>
                <a:cubicBezTo>
                  <a:pt x="48936" y="112323"/>
                  <a:pt x="50638" y="112480"/>
                  <a:pt x="50638" y="112480"/>
                </a:cubicBezTo>
                <a:cubicBezTo>
                  <a:pt x="51914" y="112323"/>
                  <a:pt x="51914" y="112323"/>
                  <a:pt x="51914" y="112323"/>
                </a:cubicBezTo>
                <a:cubicBezTo>
                  <a:pt x="51914" y="112323"/>
                  <a:pt x="52765" y="112010"/>
                  <a:pt x="53617" y="112167"/>
                </a:cubicBezTo>
                <a:cubicBezTo>
                  <a:pt x="54042" y="112323"/>
                  <a:pt x="55744" y="112167"/>
                  <a:pt x="55744" y="112167"/>
                </a:cubicBezTo>
                <a:cubicBezTo>
                  <a:pt x="57872" y="112323"/>
                  <a:pt x="57872" y="112323"/>
                  <a:pt x="57872" y="112323"/>
                </a:cubicBezTo>
                <a:cubicBezTo>
                  <a:pt x="58723" y="112010"/>
                  <a:pt x="58723" y="112010"/>
                  <a:pt x="58723" y="112010"/>
                </a:cubicBezTo>
                <a:cubicBezTo>
                  <a:pt x="60851" y="112323"/>
                  <a:pt x="60851" y="112323"/>
                  <a:pt x="60851" y="112323"/>
                </a:cubicBezTo>
                <a:cubicBezTo>
                  <a:pt x="60851" y="112323"/>
                  <a:pt x="60425" y="112323"/>
                  <a:pt x="61702" y="112480"/>
                </a:cubicBezTo>
                <a:cubicBezTo>
                  <a:pt x="62553" y="112480"/>
                  <a:pt x="63829" y="112167"/>
                  <a:pt x="63829" y="112010"/>
                </a:cubicBezTo>
                <a:cubicBezTo>
                  <a:pt x="64255" y="112010"/>
                  <a:pt x="65957" y="110913"/>
                  <a:pt x="65957" y="110913"/>
                </a:cubicBezTo>
                <a:cubicBezTo>
                  <a:pt x="67234" y="107780"/>
                  <a:pt x="67234" y="107780"/>
                  <a:pt x="67234" y="107780"/>
                </a:cubicBezTo>
                <a:cubicBezTo>
                  <a:pt x="67234" y="107780"/>
                  <a:pt x="68936" y="107310"/>
                  <a:pt x="68510" y="107310"/>
                </a:cubicBezTo>
                <a:cubicBezTo>
                  <a:pt x="68510" y="107154"/>
                  <a:pt x="68510" y="106057"/>
                  <a:pt x="68510" y="105900"/>
                </a:cubicBezTo>
                <a:cubicBezTo>
                  <a:pt x="68510" y="105744"/>
                  <a:pt x="69361" y="104647"/>
                  <a:pt x="69361" y="104647"/>
                </a:cubicBezTo>
                <a:cubicBezTo>
                  <a:pt x="69361" y="104647"/>
                  <a:pt x="71063" y="104177"/>
                  <a:pt x="70212" y="103707"/>
                </a:cubicBezTo>
                <a:cubicBezTo>
                  <a:pt x="69787" y="103237"/>
                  <a:pt x="69361" y="102454"/>
                  <a:pt x="69361" y="102454"/>
                </a:cubicBezTo>
                <a:cubicBezTo>
                  <a:pt x="69361" y="102454"/>
                  <a:pt x="68936" y="101671"/>
                  <a:pt x="68936" y="101514"/>
                </a:cubicBezTo>
                <a:cubicBezTo>
                  <a:pt x="68936" y="101357"/>
                  <a:pt x="70638" y="100574"/>
                  <a:pt x="70638" y="100574"/>
                </a:cubicBezTo>
                <a:cubicBezTo>
                  <a:pt x="69361" y="99164"/>
                  <a:pt x="69361" y="99164"/>
                  <a:pt x="69361" y="99164"/>
                </a:cubicBezTo>
                <a:cubicBezTo>
                  <a:pt x="69361" y="99164"/>
                  <a:pt x="70212" y="98694"/>
                  <a:pt x="70212" y="98537"/>
                </a:cubicBezTo>
                <a:cubicBezTo>
                  <a:pt x="70212" y="98381"/>
                  <a:pt x="69361" y="96971"/>
                  <a:pt x="69361" y="96971"/>
                </a:cubicBezTo>
                <a:cubicBezTo>
                  <a:pt x="69361" y="96657"/>
                  <a:pt x="69361" y="96657"/>
                  <a:pt x="69361" y="96657"/>
                </a:cubicBezTo>
                <a:cubicBezTo>
                  <a:pt x="69361" y="96657"/>
                  <a:pt x="70638" y="95874"/>
                  <a:pt x="70212" y="95718"/>
                </a:cubicBezTo>
                <a:cubicBezTo>
                  <a:pt x="70212" y="95561"/>
                  <a:pt x="70212" y="94778"/>
                  <a:pt x="70212" y="94778"/>
                </a:cubicBezTo>
                <a:cubicBezTo>
                  <a:pt x="69361" y="93838"/>
                  <a:pt x="69361" y="93838"/>
                  <a:pt x="69361" y="93838"/>
                </a:cubicBezTo>
                <a:cubicBezTo>
                  <a:pt x="69361" y="93838"/>
                  <a:pt x="70212" y="93681"/>
                  <a:pt x="69787" y="93524"/>
                </a:cubicBezTo>
                <a:cubicBezTo>
                  <a:pt x="69361" y="93211"/>
                  <a:pt x="68936" y="93054"/>
                  <a:pt x="68936" y="93054"/>
                </a:cubicBezTo>
                <a:cubicBezTo>
                  <a:pt x="68936" y="92741"/>
                  <a:pt x="68936" y="92741"/>
                  <a:pt x="68936" y="92741"/>
                </a:cubicBezTo>
                <a:cubicBezTo>
                  <a:pt x="69361" y="92428"/>
                  <a:pt x="69361" y="92428"/>
                  <a:pt x="69361" y="92428"/>
                </a:cubicBezTo>
                <a:cubicBezTo>
                  <a:pt x="70212" y="92114"/>
                  <a:pt x="70212" y="92114"/>
                  <a:pt x="70212" y="92114"/>
                </a:cubicBezTo>
                <a:cubicBezTo>
                  <a:pt x="69787" y="91174"/>
                  <a:pt x="69787" y="91174"/>
                  <a:pt x="69787" y="91174"/>
                </a:cubicBezTo>
                <a:cubicBezTo>
                  <a:pt x="68085" y="91018"/>
                  <a:pt x="68085" y="91018"/>
                  <a:pt x="68085" y="91018"/>
                </a:cubicBezTo>
                <a:cubicBezTo>
                  <a:pt x="68085" y="91018"/>
                  <a:pt x="68085" y="90704"/>
                  <a:pt x="68510" y="90704"/>
                </a:cubicBezTo>
                <a:cubicBezTo>
                  <a:pt x="69361" y="90548"/>
                  <a:pt x="72340" y="90078"/>
                  <a:pt x="72340" y="90078"/>
                </a:cubicBezTo>
                <a:cubicBezTo>
                  <a:pt x="72340" y="90078"/>
                  <a:pt x="73191" y="89608"/>
                  <a:pt x="73617" y="89608"/>
                </a:cubicBezTo>
                <a:cubicBezTo>
                  <a:pt x="73617" y="89451"/>
                  <a:pt x="77021" y="88668"/>
                  <a:pt x="77021" y="88668"/>
                </a:cubicBezTo>
                <a:cubicBezTo>
                  <a:pt x="77021" y="88668"/>
                  <a:pt x="77021" y="88198"/>
                  <a:pt x="77021" y="88041"/>
                </a:cubicBezTo>
                <a:cubicBezTo>
                  <a:pt x="77446" y="88041"/>
                  <a:pt x="77446" y="87885"/>
                  <a:pt x="77446" y="87571"/>
                </a:cubicBezTo>
                <a:cubicBezTo>
                  <a:pt x="77872" y="87571"/>
                  <a:pt x="77021" y="86161"/>
                  <a:pt x="77021" y="85691"/>
                </a:cubicBezTo>
                <a:cubicBezTo>
                  <a:pt x="77446" y="85378"/>
                  <a:pt x="78297" y="86005"/>
                  <a:pt x="78297" y="86005"/>
                </a:cubicBezTo>
                <a:cubicBezTo>
                  <a:pt x="78723" y="86475"/>
                  <a:pt x="78723" y="86475"/>
                  <a:pt x="78723" y="86475"/>
                </a:cubicBezTo>
                <a:cubicBezTo>
                  <a:pt x="78723" y="87415"/>
                  <a:pt x="78723" y="87415"/>
                  <a:pt x="78723" y="87415"/>
                </a:cubicBezTo>
                <a:cubicBezTo>
                  <a:pt x="80000" y="87571"/>
                  <a:pt x="80000" y="87571"/>
                  <a:pt x="80000" y="87571"/>
                </a:cubicBezTo>
                <a:cubicBezTo>
                  <a:pt x="80425" y="88041"/>
                  <a:pt x="80425" y="88041"/>
                  <a:pt x="80425" y="88041"/>
                </a:cubicBezTo>
                <a:cubicBezTo>
                  <a:pt x="80425" y="88041"/>
                  <a:pt x="80000" y="88511"/>
                  <a:pt x="80425" y="88511"/>
                </a:cubicBezTo>
                <a:cubicBezTo>
                  <a:pt x="80851" y="88355"/>
                  <a:pt x="80851" y="88355"/>
                  <a:pt x="80851" y="88355"/>
                </a:cubicBezTo>
                <a:cubicBezTo>
                  <a:pt x="81276" y="87415"/>
                  <a:pt x="81276" y="87415"/>
                  <a:pt x="81276" y="87415"/>
                </a:cubicBezTo>
                <a:cubicBezTo>
                  <a:pt x="81276" y="87415"/>
                  <a:pt x="82978" y="87415"/>
                  <a:pt x="82553" y="87101"/>
                </a:cubicBezTo>
                <a:cubicBezTo>
                  <a:pt x="82553" y="86945"/>
                  <a:pt x="82127" y="86631"/>
                  <a:pt x="82553" y="86631"/>
                </a:cubicBezTo>
                <a:cubicBezTo>
                  <a:pt x="85106" y="86475"/>
                  <a:pt x="84255" y="86475"/>
                  <a:pt x="85531" y="86161"/>
                </a:cubicBezTo>
                <a:cubicBezTo>
                  <a:pt x="85531" y="86161"/>
                  <a:pt x="86382" y="85535"/>
                  <a:pt x="86382" y="85535"/>
                </a:cubicBezTo>
                <a:cubicBezTo>
                  <a:pt x="86382" y="85378"/>
                  <a:pt x="86808" y="85065"/>
                  <a:pt x="86808" y="85065"/>
                </a:cubicBezTo>
                <a:cubicBezTo>
                  <a:pt x="85957" y="84908"/>
                  <a:pt x="85957" y="84908"/>
                  <a:pt x="85957" y="84908"/>
                </a:cubicBezTo>
                <a:cubicBezTo>
                  <a:pt x="85531" y="84438"/>
                  <a:pt x="85531" y="84438"/>
                  <a:pt x="85531" y="84438"/>
                </a:cubicBezTo>
                <a:cubicBezTo>
                  <a:pt x="85531" y="84438"/>
                  <a:pt x="85957" y="84125"/>
                  <a:pt x="86382" y="84281"/>
                </a:cubicBezTo>
                <a:cubicBezTo>
                  <a:pt x="86382" y="84438"/>
                  <a:pt x="86808" y="84751"/>
                  <a:pt x="87234" y="84751"/>
                </a:cubicBezTo>
                <a:cubicBezTo>
                  <a:pt x="87659" y="84751"/>
                  <a:pt x="88936" y="84281"/>
                  <a:pt x="88936" y="84281"/>
                </a:cubicBezTo>
                <a:cubicBezTo>
                  <a:pt x="88936" y="83812"/>
                  <a:pt x="85957" y="83185"/>
                  <a:pt x="85106" y="83028"/>
                </a:cubicBezTo>
                <a:cubicBezTo>
                  <a:pt x="85106" y="82402"/>
                  <a:pt x="89361" y="81618"/>
                  <a:pt x="89361" y="81462"/>
                </a:cubicBezTo>
                <a:cubicBezTo>
                  <a:pt x="89787" y="81305"/>
                  <a:pt x="89787" y="81305"/>
                  <a:pt x="89787" y="81148"/>
                </a:cubicBezTo>
                <a:cubicBezTo>
                  <a:pt x="89787" y="80992"/>
                  <a:pt x="89361" y="80835"/>
                  <a:pt x="88936" y="80992"/>
                </a:cubicBezTo>
                <a:cubicBezTo>
                  <a:pt x="88936" y="80992"/>
                  <a:pt x="88510" y="81305"/>
                  <a:pt x="88085" y="81305"/>
                </a:cubicBezTo>
                <a:cubicBezTo>
                  <a:pt x="88085" y="81305"/>
                  <a:pt x="87234" y="81305"/>
                  <a:pt x="87234" y="81305"/>
                </a:cubicBezTo>
                <a:cubicBezTo>
                  <a:pt x="87234" y="81305"/>
                  <a:pt x="86808" y="80992"/>
                  <a:pt x="87234" y="80835"/>
                </a:cubicBezTo>
                <a:cubicBezTo>
                  <a:pt x="87659" y="80678"/>
                  <a:pt x="87234" y="80678"/>
                  <a:pt x="88085" y="80522"/>
                </a:cubicBezTo>
                <a:cubicBezTo>
                  <a:pt x="88510" y="80365"/>
                  <a:pt x="88936" y="80365"/>
                  <a:pt x="89361" y="80365"/>
                </a:cubicBezTo>
                <a:cubicBezTo>
                  <a:pt x="89361" y="80208"/>
                  <a:pt x="89787" y="80052"/>
                  <a:pt x="90212" y="80052"/>
                </a:cubicBezTo>
                <a:cubicBezTo>
                  <a:pt x="90638" y="80052"/>
                  <a:pt x="92765" y="79582"/>
                  <a:pt x="92765" y="79582"/>
                </a:cubicBezTo>
                <a:cubicBezTo>
                  <a:pt x="93191" y="79268"/>
                  <a:pt x="93191" y="79268"/>
                  <a:pt x="93191" y="79268"/>
                </a:cubicBezTo>
                <a:cubicBezTo>
                  <a:pt x="93191" y="79268"/>
                  <a:pt x="91914" y="78798"/>
                  <a:pt x="91914" y="78798"/>
                </a:cubicBezTo>
                <a:cubicBezTo>
                  <a:pt x="91914" y="78798"/>
                  <a:pt x="89787" y="78172"/>
                  <a:pt x="89787" y="78172"/>
                </a:cubicBezTo>
                <a:cubicBezTo>
                  <a:pt x="89787" y="78172"/>
                  <a:pt x="88936" y="78172"/>
                  <a:pt x="88936" y="78015"/>
                </a:cubicBezTo>
                <a:cubicBezTo>
                  <a:pt x="88936" y="78015"/>
                  <a:pt x="88085" y="77702"/>
                  <a:pt x="88085" y="77702"/>
                </a:cubicBezTo>
                <a:cubicBezTo>
                  <a:pt x="87234" y="76919"/>
                  <a:pt x="86382" y="77545"/>
                  <a:pt x="84680" y="77232"/>
                </a:cubicBezTo>
                <a:cubicBezTo>
                  <a:pt x="84680" y="77232"/>
                  <a:pt x="83829" y="76605"/>
                  <a:pt x="83829" y="76605"/>
                </a:cubicBezTo>
                <a:cubicBezTo>
                  <a:pt x="83829" y="76605"/>
                  <a:pt x="84680" y="76605"/>
                  <a:pt x="84680" y="76449"/>
                </a:cubicBezTo>
                <a:cubicBezTo>
                  <a:pt x="84680" y="76135"/>
                  <a:pt x="83829" y="75822"/>
                  <a:pt x="83829" y="75822"/>
                </a:cubicBezTo>
                <a:cubicBezTo>
                  <a:pt x="82978" y="75509"/>
                  <a:pt x="82978" y="75509"/>
                  <a:pt x="82978" y="75509"/>
                </a:cubicBezTo>
                <a:cubicBezTo>
                  <a:pt x="81276" y="74882"/>
                  <a:pt x="81702" y="76292"/>
                  <a:pt x="80425" y="75039"/>
                </a:cubicBezTo>
                <a:cubicBezTo>
                  <a:pt x="80425" y="75039"/>
                  <a:pt x="80000" y="75039"/>
                  <a:pt x="79574" y="74725"/>
                </a:cubicBezTo>
                <a:cubicBezTo>
                  <a:pt x="79148" y="74569"/>
                  <a:pt x="77872" y="74099"/>
                  <a:pt x="77872" y="74099"/>
                </a:cubicBezTo>
                <a:cubicBezTo>
                  <a:pt x="77872" y="74099"/>
                  <a:pt x="77446" y="73629"/>
                  <a:pt x="77446" y="73629"/>
                </a:cubicBezTo>
                <a:cubicBezTo>
                  <a:pt x="77021" y="73629"/>
                  <a:pt x="76595" y="73159"/>
                  <a:pt x="76595" y="73159"/>
                </a:cubicBezTo>
                <a:cubicBezTo>
                  <a:pt x="74468" y="73629"/>
                  <a:pt x="74468" y="73629"/>
                  <a:pt x="74468" y="73629"/>
                </a:cubicBezTo>
                <a:cubicBezTo>
                  <a:pt x="73191" y="74099"/>
                  <a:pt x="73191" y="74099"/>
                  <a:pt x="73191" y="74099"/>
                </a:cubicBezTo>
                <a:cubicBezTo>
                  <a:pt x="73191" y="74099"/>
                  <a:pt x="72765" y="73785"/>
                  <a:pt x="72765" y="73785"/>
                </a:cubicBezTo>
                <a:cubicBezTo>
                  <a:pt x="72765" y="73785"/>
                  <a:pt x="72765" y="73159"/>
                  <a:pt x="72765" y="73159"/>
                </a:cubicBezTo>
                <a:cubicBezTo>
                  <a:pt x="72765" y="73159"/>
                  <a:pt x="71489" y="73002"/>
                  <a:pt x="71063" y="73002"/>
                </a:cubicBezTo>
                <a:cubicBezTo>
                  <a:pt x="71063" y="73002"/>
                  <a:pt x="69787" y="73002"/>
                  <a:pt x="69787" y="73002"/>
                </a:cubicBezTo>
                <a:cubicBezTo>
                  <a:pt x="68085" y="72845"/>
                  <a:pt x="68085" y="72845"/>
                  <a:pt x="68085" y="72845"/>
                </a:cubicBezTo>
                <a:cubicBezTo>
                  <a:pt x="68085" y="72375"/>
                  <a:pt x="68085" y="72375"/>
                  <a:pt x="68085" y="72375"/>
                </a:cubicBezTo>
                <a:cubicBezTo>
                  <a:pt x="68085" y="72375"/>
                  <a:pt x="68936" y="72062"/>
                  <a:pt x="68510" y="71906"/>
                </a:cubicBezTo>
                <a:cubicBezTo>
                  <a:pt x="68510" y="71749"/>
                  <a:pt x="67234" y="71436"/>
                  <a:pt x="67234" y="71436"/>
                </a:cubicBezTo>
                <a:cubicBezTo>
                  <a:pt x="67234" y="71122"/>
                  <a:pt x="67234" y="71122"/>
                  <a:pt x="67234" y="71122"/>
                </a:cubicBezTo>
                <a:cubicBezTo>
                  <a:pt x="65957" y="70496"/>
                  <a:pt x="65957" y="70496"/>
                  <a:pt x="65957" y="70496"/>
                </a:cubicBezTo>
                <a:cubicBezTo>
                  <a:pt x="65957" y="70496"/>
                  <a:pt x="66808" y="70026"/>
                  <a:pt x="66808" y="70026"/>
                </a:cubicBezTo>
                <a:cubicBezTo>
                  <a:pt x="66808" y="69869"/>
                  <a:pt x="65106" y="68459"/>
                  <a:pt x="65106" y="68459"/>
                </a:cubicBezTo>
                <a:cubicBezTo>
                  <a:pt x="65106" y="68459"/>
                  <a:pt x="65957" y="67832"/>
                  <a:pt x="65957" y="67676"/>
                </a:cubicBezTo>
                <a:cubicBezTo>
                  <a:pt x="65957" y="67676"/>
                  <a:pt x="65106" y="67049"/>
                  <a:pt x="65106" y="67049"/>
                </a:cubicBezTo>
                <a:cubicBezTo>
                  <a:pt x="64255" y="67049"/>
                  <a:pt x="64255" y="67049"/>
                  <a:pt x="64255" y="67049"/>
                </a:cubicBezTo>
                <a:cubicBezTo>
                  <a:pt x="64255" y="66422"/>
                  <a:pt x="64255" y="66422"/>
                  <a:pt x="64255" y="66422"/>
                </a:cubicBezTo>
                <a:cubicBezTo>
                  <a:pt x="64680" y="65953"/>
                  <a:pt x="64680" y="65953"/>
                  <a:pt x="64680" y="65953"/>
                </a:cubicBezTo>
                <a:cubicBezTo>
                  <a:pt x="63829" y="65639"/>
                  <a:pt x="63829" y="65639"/>
                  <a:pt x="63829" y="65639"/>
                </a:cubicBezTo>
                <a:cubicBezTo>
                  <a:pt x="63829" y="65639"/>
                  <a:pt x="64255" y="65326"/>
                  <a:pt x="64680" y="65326"/>
                </a:cubicBezTo>
                <a:cubicBezTo>
                  <a:pt x="64680" y="65326"/>
                  <a:pt x="64680" y="64699"/>
                  <a:pt x="64680" y="64699"/>
                </a:cubicBezTo>
                <a:cubicBezTo>
                  <a:pt x="64680" y="64699"/>
                  <a:pt x="65106" y="64386"/>
                  <a:pt x="65531" y="64386"/>
                </a:cubicBezTo>
                <a:cubicBezTo>
                  <a:pt x="65531" y="64386"/>
                  <a:pt x="66808" y="64699"/>
                  <a:pt x="66808" y="64699"/>
                </a:cubicBezTo>
                <a:cubicBezTo>
                  <a:pt x="66808" y="64699"/>
                  <a:pt x="68085" y="64856"/>
                  <a:pt x="68085" y="64699"/>
                </a:cubicBezTo>
                <a:cubicBezTo>
                  <a:pt x="68085" y="64699"/>
                  <a:pt x="67659" y="64229"/>
                  <a:pt x="67659" y="64229"/>
                </a:cubicBezTo>
                <a:cubicBezTo>
                  <a:pt x="67659" y="64073"/>
                  <a:pt x="66808" y="63759"/>
                  <a:pt x="66808" y="63759"/>
                </a:cubicBezTo>
                <a:cubicBezTo>
                  <a:pt x="66382" y="63603"/>
                  <a:pt x="66382" y="62819"/>
                  <a:pt x="66382" y="62819"/>
                </a:cubicBezTo>
                <a:cubicBezTo>
                  <a:pt x="66382" y="62819"/>
                  <a:pt x="65531" y="62193"/>
                  <a:pt x="65957" y="62193"/>
                </a:cubicBezTo>
                <a:cubicBezTo>
                  <a:pt x="65957" y="62193"/>
                  <a:pt x="66382" y="61879"/>
                  <a:pt x="66382" y="61879"/>
                </a:cubicBezTo>
                <a:cubicBezTo>
                  <a:pt x="66808" y="60783"/>
                  <a:pt x="66808" y="60783"/>
                  <a:pt x="66808" y="60783"/>
                </a:cubicBezTo>
                <a:cubicBezTo>
                  <a:pt x="67234" y="59843"/>
                  <a:pt x="67234" y="59843"/>
                  <a:pt x="67234" y="59843"/>
                </a:cubicBezTo>
                <a:cubicBezTo>
                  <a:pt x="65957" y="59373"/>
                  <a:pt x="65957" y="59373"/>
                  <a:pt x="65957" y="59373"/>
                </a:cubicBezTo>
                <a:cubicBezTo>
                  <a:pt x="65531" y="59060"/>
                  <a:pt x="65531" y="59060"/>
                  <a:pt x="65531" y="59060"/>
                </a:cubicBezTo>
                <a:cubicBezTo>
                  <a:pt x="64680" y="58746"/>
                  <a:pt x="64680" y="58746"/>
                  <a:pt x="64680" y="58746"/>
                </a:cubicBezTo>
                <a:cubicBezTo>
                  <a:pt x="65531" y="57806"/>
                  <a:pt x="65531" y="57806"/>
                  <a:pt x="65531" y="57806"/>
                </a:cubicBezTo>
                <a:cubicBezTo>
                  <a:pt x="67234" y="57806"/>
                  <a:pt x="67234" y="57806"/>
                  <a:pt x="67234" y="57806"/>
                </a:cubicBezTo>
                <a:cubicBezTo>
                  <a:pt x="68085" y="57336"/>
                  <a:pt x="68085" y="57336"/>
                  <a:pt x="68085" y="57336"/>
                </a:cubicBezTo>
                <a:cubicBezTo>
                  <a:pt x="68085" y="57336"/>
                  <a:pt x="69361" y="57023"/>
                  <a:pt x="69361" y="56866"/>
                </a:cubicBezTo>
                <a:cubicBezTo>
                  <a:pt x="69361" y="56866"/>
                  <a:pt x="69787" y="56240"/>
                  <a:pt x="69787" y="56240"/>
                </a:cubicBezTo>
                <a:cubicBezTo>
                  <a:pt x="69361" y="55770"/>
                  <a:pt x="69361" y="55770"/>
                  <a:pt x="69361" y="55770"/>
                </a:cubicBezTo>
                <a:cubicBezTo>
                  <a:pt x="70212" y="55926"/>
                  <a:pt x="70212" y="55926"/>
                  <a:pt x="70212" y="55926"/>
                </a:cubicBezTo>
                <a:cubicBezTo>
                  <a:pt x="70212" y="55456"/>
                  <a:pt x="70212" y="55456"/>
                  <a:pt x="70212" y="55456"/>
                </a:cubicBezTo>
                <a:cubicBezTo>
                  <a:pt x="70212" y="55456"/>
                  <a:pt x="70638" y="54986"/>
                  <a:pt x="70638" y="54986"/>
                </a:cubicBezTo>
                <a:cubicBezTo>
                  <a:pt x="71063" y="54986"/>
                  <a:pt x="71489" y="54830"/>
                  <a:pt x="71489" y="54830"/>
                </a:cubicBezTo>
                <a:cubicBezTo>
                  <a:pt x="71489" y="54830"/>
                  <a:pt x="72340" y="54203"/>
                  <a:pt x="72340" y="54203"/>
                </a:cubicBezTo>
                <a:cubicBezTo>
                  <a:pt x="72340" y="54203"/>
                  <a:pt x="72765" y="54360"/>
                  <a:pt x="73191" y="54203"/>
                </a:cubicBezTo>
                <a:cubicBezTo>
                  <a:pt x="73617" y="54046"/>
                  <a:pt x="73617" y="54046"/>
                  <a:pt x="73617" y="53890"/>
                </a:cubicBezTo>
                <a:cubicBezTo>
                  <a:pt x="74042" y="53577"/>
                  <a:pt x="74893" y="52950"/>
                  <a:pt x="74893" y="52950"/>
                </a:cubicBezTo>
                <a:cubicBezTo>
                  <a:pt x="74893" y="52950"/>
                  <a:pt x="74893" y="52793"/>
                  <a:pt x="74893" y="52637"/>
                </a:cubicBezTo>
                <a:cubicBezTo>
                  <a:pt x="75319" y="52637"/>
                  <a:pt x="76170" y="52637"/>
                  <a:pt x="76170" y="52480"/>
                </a:cubicBezTo>
                <a:cubicBezTo>
                  <a:pt x="75744" y="52323"/>
                  <a:pt x="74893" y="51853"/>
                  <a:pt x="74893" y="51853"/>
                </a:cubicBezTo>
                <a:cubicBezTo>
                  <a:pt x="76170" y="51383"/>
                  <a:pt x="76170" y="51383"/>
                  <a:pt x="76170" y="51383"/>
                </a:cubicBezTo>
                <a:cubicBezTo>
                  <a:pt x="76170" y="51383"/>
                  <a:pt x="77446" y="50913"/>
                  <a:pt x="77446" y="50913"/>
                </a:cubicBezTo>
                <a:cubicBezTo>
                  <a:pt x="77446" y="51070"/>
                  <a:pt x="77872" y="51070"/>
                  <a:pt x="78297" y="50913"/>
                </a:cubicBezTo>
                <a:cubicBezTo>
                  <a:pt x="78297" y="50913"/>
                  <a:pt x="78723" y="50757"/>
                  <a:pt x="79148" y="50600"/>
                </a:cubicBezTo>
                <a:cubicBezTo>
                  <a:pt x="79148" y="50600"/>
                  <a:pt x="79574" y="50443"/>
                  <a:pt x="80000" y="50443"/>
                </a:cubicBezTo>
                <a:cubicBezTo>
                  <a:pt x="80000" y="50287"/>
                  <a:pt x="80425" y="49973"/>
                  <a:pt x="80425" y="49817"/>
                </a:cubicBezTo>
                <a:cubicBezTo>
                  <a:pt x="80425" y="49817"/>
                  <a:pt x="81276" y="49033"/>
                  <a:pt x="81276" y="49033"/>
                </a:cubicBezTo>
                <a:cubicBezTo>
                  <a:pt x="81276" y="48563"/>
                  <a:pt x="81276" y="48563"/>
                  <a:pt x="81276" y="48563"/>
                </a:cubicBezTo>
                <a:cubicBezTo>
                  <a:pt x="81702" y="48407"/>
                  <a:pt x="81702" y="48407"/>
                  <a:pt x="81702" y="48407"/>
                </a:cubicBezTo>
                <a:cubicBezTo>
                  <a:pt x="82553" y="48093"/>
                  <a:pt x="82553" y="48093"/>
                  <a:pt x="82553" y="48093"/>
                </a:cubicBezTo>
                <a:cubicBezTo>
                  <a:pt x="82553" y="48093"/>
                  <a:pt x="83404" y="47937"/>
                  <a:pt x="83404" y="48093"/>
                </a:cubicBezTo>
                <a:cubicBezTo>
                  <a:pt x="83404" y="48093"/>
                  <a:pt x="82978" y="48407"/>
                  <a:pt x="82978" y="48407"/>
                </a:cubicBezTo>
                <a:cubicBezTo>
                  <a:pt x="84255" y="48407"/>
                  <a:pt x="84255" y="48407"/>
                  <a:pt x="84255" y="48407"/>
                </a:cubicBezTo>
                <a:cubicBezTo>
                  <a:pt x="84255" y="48407"/>
                  <a:pt x="84255" y="48093"/>
                  <a:pt x="84255" y="48250"/>
                </a:cubicBezTo>
                <a:cubicBezTo>
                  <a:pt x="84680" y="48250"/>
                  <a:pt x="85106" y="48407"/>
                  <a:pt x="85106" y="48407"/>
                </a:cubicBezTo>
                <a:cubicBezTo>
                  <a:pt x="85106" y="48250"/>
                  <a:pt x="85531" y="47937"/>
                  <a:pt x="85531" y="47937"/>
                </a:cubicBezTo>
                <a:cubicBezTo>
                  <a:pt x="85531" y="47467"/>
                  <a:pt x="85531" y="47467"/>
                  <a:pt x="85531" y="47467"/>
                </a:cubicBezTo>
                <a:cubicBezTo>
                  <a:pt x="85531" y="47467"/>
                  <a:pt x="86382" y="47154"/>
                  <a:pt x="86808" y="46997"/>
                </a:cubicBezTo>
                <a:cubicBezTo>
                  <a:pt x="86808" y="46840"/>
                  <a:pt x="88085" y="46370"/>
                  <a:pt x="88085" y="46370"/>
                </a:cubicBezTo>
                <a:cubicBezTo>
                  <a:pt x="89361" y="46214"/>
                  <a:pt x="89361" y="46214"/>
                  <a:pt x="89361" y="46214"/>
                </a:cubicBezTo>
                <a:cubicBezTo>
                  <a:pt x="89361" y="46214"/>
                  <a:pt x="89787" y="46057"/>
                  <a:pt x="90212" y="46057"/>
                </a:cubicBezTo>
                <a:cubicBezTo>
                  <a:pt x="90212" y="46057"/>
                  <a:pt x="91489" y="45430"/>
                  <a:pt x="91489" y="45430"/>
                </a:cubicBezTo>
                <a:cubicBezTo>
                  <a:pt x="91489" y="45430"/>
                  <a:pt x="91489" y="45274"/>
                  <a:pt x="91914" y="45117"/>
                </a:cubicBezTo>
                <a:cubicBezTo>
                  <a:pt x="91914" y="44960"/>
                  <a:pt x="92765" y="44960"/>
                  <a:pt x="92765" y="44804"/>
                </a:cubicBezTo>
                <a:cubicBezTo>
                  <a:pt x="93191" y="44804"/>
                  <a:pt x="94042" y="44020"/>
                  <a:pt x="94042" y="44020"/>
                </a:cubicBezTo>
                <a:cubicBezTo>
                  <a:pt x="94042" y="44020"/>
                  <a:pt x="94468" y="44020"/>
                  <a:pt x="94468" y="43864"/>
                </a:cubicBezTo>
                <a:cubicBezTo>
                  <a:pt x="94468" y="43550"/>
                  <a:pt x="94893" y="43237"/>
                  <a:pt x="94893" y="43237"/>
                </a:cubicBezTo>
                <a:cubicBezTo>
                  <a:pt x="95744" y="42610"/>
                  <a:pt x="95744" y="42610"/>
                  <a:pt x="95744" y="42610"/>
                </a:cubicBezTo>
                <a:cubicBezTo>
                  <a:pt x="95744" y="41671"/>
                  <a:pt x="95744" y="41671"/>
                  <a:pt x="95744" y="41671"/>
                </a:cubicBezTo>
                <a:cubicBezTo>
                  <a:pt x="96595" y="40887"/>
                  <a:pt x="96595" y="40887"/>
                  <a:pt x="96595" y="40887"/>
                </a:cubicBezTo>
                <a:cubicBezTo>
                  <a:pt x="96595" y="40887"/>
                  <a:pt x="97021" y="40731"/>
                  <a:pt x="97021" y="40574"/>
                </a:cubicBezTo>
                <a:cubicBezTo>
                  <a:pt x="97446" y="40574"/>
                  <a:pt x="97872" y="40104"/>
                  <a:pt x="97872" y="40104"/>
                </a:cubicBezTo>
                <a:cubicBezTo>
                  <a:pt x="97872" y="40104"/>
                  <a:pt x="99148" y="39477"/>
                  <a:pt x="99148" y="39477"/>
                </a:cubicBezTo>
                <a:cubicBezTo>
                  <a:pt x="99148" y="39477"/>
                  <a:pt x="99574" y="39007"/>
                  <a:pt x="99574" y="38851"/>
                </a:cubicBezTo>
                <a:cubicBezTo>
                  <a:pt x="100000" y="38851"/>
                  <a:pt x="100000" y="38851"/>
                  <a:pt x="100000" y="38851"/>
                </a:cubicBezTo>
                <a:cubicBezTo>
                  <a:pt x="100000" y="38381"/>
                  <a:pt x="100000" y="38381"/>
                  <a:pt x="100000" y="38381"/>
                </a:cubicBezTo>
                <a:cubicBezTo>
                  <a:pt x="99148" y="37754"/>
                  <a:pt x="99148" y="37754"/>
                  <a:pt x="99148" y="37754"/>
                </a:cubicBezTo>
                <a:cubicBezTo>
                  <a:pt x="97446" y="37284"/>
                  <a:pt x="97446" y="37284"/>
                  <a:pt x="97446" y="37284"/>
                </a:cubicBezTo>
                <a:cubicBezTo>
                  <a:pt x="96170" y="37284"/>
                  <a:pt x="96170" y="37284"/>
                  <a:pt x="96170" y="37284"/>
                </a:cubicBezTo>
                <a:cubicBezTo>
                  <a:pt x="95319" y="36971"/>
                  <a:pt x="95319" y="36971"/>
                  <a:pt x="95319" y="36971"/>
                </a:cubicBezTo>
                <a:cubicBezTo>
                  <a:pt x="95744" y="36657"/>
                  <a:pt x="95744" y="36657"/>
                  <a:pt x="95744" y="36657"/>
                </a:cubicBezTo>
                <a:cubicBezTo>
                  <a:pt x="94893" y="36187"/>
                  <a:pt x="94893" y="36187"/>
                  <a:pt x="94893" y="36187"/>
                </a:cubicBezTo>
                <a:cubicBezTo>
                  <a:pt x="94468" y="35874"/>
                  <a:pt x="94468" y="35874"/>
                  <a:pt x="94468" y="35874"/>
                </a:cubicBezTo>
                <a:cubicBezTo>
                  <a:pt x="93617" y="35561"/>
                  <a:pt x="93617" y="35561"/>
                  <a:pt x="93617" y="35561"/>
                </a:cubicBezTo>
                <a:cubicBezTo>
                  <a:pt x="93617" y="35561"/>
                  <a:pt x="94468" y="35091"/>
                  <a:pt x="94468" y="35091"/>
                </a:cubicBezTo>
                <a:cubicBezTo>
                  <a:pt x="94468" y="35091"/>
                  <a:pt x="94893" y="34934"/>
                  <a:pt x="94893" y="34778"/>
                </a:cubicBezTo>
                <a:cubicBezTo>
                  <a:pt x="94893" y="34778"/>
                  <a:pt x="95744" y="34308"/>
                  <a:pt x="95744" y="34308"/>
                </a:cubicBezTo>
                <a:cubicBezTo>
                  <a:pt x="95744" y="34308"/>
                  <a:pt x="96595" y="33838"/>
                  <a:pt x="96595" y="33838"/>
                </a:cubicBezTo>
                <a:cubicBezTo>
                  <a:pt x="96595" y="33838"/>
                  <a:pt x="97021" y="33681"/>
                  <a:pt x="97021" y="33524"/>
                </a:cubicBezTo>
                <a:cubicBezTo>
                  <a:pt x="97021" y="33368"/>
                  <a:pt x="96595" y="32741"/>
                  <a:pt x="96595" y="32741"/>
                </a:cubicBezTo>
                <a:cubicBezTo>
                  <a:pt x="96595" y="32741"/>
                  <a:pt x="96595" y="32271"/>
                  <a:pt x="97021" y="32271"/>
                </a:cubicBezTo>
                <a:cubicBezTo>
                  <a:pt x="97021" y="32114"/>
                  <a:pt x="97446" y="31958"/>
                  <a:pt x="97446" y="31958"/>
                </a:cubicBezTo>
                <a:cubicBezTo>
                  <a:pt x="97446" y="31958"/>
                  <a:pt x="97872" y="31958"/>
                  <a:pt x="98297" y="32114"/>
                </a:cubicBezTo>
                <a:cubicBezTo>
                  <a:pt x="98723" y="32114"/>
                  <a:pt x="98723" y="31801"/>
                  <a:pt x="98723" y="31801"/>
                </a:cubicBezTo>
                <a:cubicBezTo>
                  <a:pt x="98723" y="31801"/>
                  <a:pt x="98723" y="31331"/>
                  <a:pt x="98297" y="31331"/>
                </a:cubicBezTo>
                <a:cubicBezTo>
                  <a:pt x="97872" y="31331"/>
                  <a:pt x="97446" y="31018"/>
                  <a:pt x="97446" y="31018"/>
                </a:cubicBezTo>
                <a:cubicBezTo>
                  <a:pt x="97446" y="31018"/>
                  <a:pt x="97872" y="30861"/>
                  <a:pt x="97872" y="30861"/>
                </a:cubicBezTo>
                <a:cubicBezTo>
                  <a:pt x="97872" y="30704"/>
                  <a:pt x="98723" y="30548"/>
                  <a:pt x="98723" y="30548"/>
                </a:cubicBezTo>
                <a:cubicBezTo>
                  <a:pt x="100000" y="30391"/>
                  <a:pt x="100000" y="30391"/>
                  <a:pt x="100000" y="30391"/>
                </a:cubicBezTo>
                <a:cubicBezTo>
                  <a:pt x="99574" y="29921"/>
                  <a:pt x="99574" y="29921"/>
                  <a:pt x="99574" y="29921"/>
                </a:cubicBezTo>
                <a:cubicBezTo>
                  <a:pt x="99574" y="29451"/>
                  <a:pt x="99574" y="29451"/>
                  <a:pt x="99574" y="29451"/>
                </a:cubicBezTo>
                <a:cubicBezTo>
                  <a:pt x="99574" y="29451"/>
                  <a:pt x="101276" y="29608"/>
                  <a:pt x="101276" y="29608"/>
                </a:cubicBezTo>
                <a:cubicBezTo>
                  <a:pt x="101276" y="29765"/>
                  <a:pt x="101702" y="30078"/>
                  <a:pt x="102127" y="30078"/>
                </a:cubicBezTo>
                <a:cubicBezTo>
                  <a:pt x="102127" y="29921"/>
                  <a:pt x="102127" y="29608"/>
                  <a:pt x="102127" y="29608"/>
                </a:cubicBezTo>
                <a:cubicBezTo>
                  <a:pt x="102127" y="29608"/>
                  <a:pt x="102553" y="29138"/>
                  <a:pt x="102978" y="29295"/>
                </a:cubicBezTo>
                <a:cubicBezTo>
                  <a:pt x="103829" y="29451"/>
                  <a:pt x="104255" y="29138"/>
                  <a:pt x="104680" y="29138"/>
                </a:cubicBezTo>
                <a:cubicBezTo>
                  <a:pt x="104680" y="28981"/>
                  <a:pt x="105106" y="28668"/>
                  <a:pt x="105106" y="28668"/>
                </a:cubicBezTo>
                <a:cubicBezTo>
                  <a:pt x="105106" y="28668"/>
                  <a:pt x="105531" y="28198"/>
                  <a:pt x="105106" y="28041"/>
                </a:cubicBezTo>
                <a:cubicBezTo>
                  <a:pt x="104680" y="28041"/>
                  <a:pt x="104255" y="28041"/>
                  <a:pt x="104255" y="27885"/>
                </a:cubicBezTo>
                <a:cubicBezTo>
                  <a:pt x="104255" y="27885"/>
                  <a:pt x="104680" y="27571"/>
                  <a:pt x="105106" y="27571"/>
                </a:cubicBezTo>
                <a:cubicBezTo>
                  <a:pt x="105531" y="27571"/>
                  <a:pt x="105531" y="27571"/>
                  <a:pt x="106382" y="27415"/>
                </a:cubicBezTo>
                <a:cubicBezTo>
                  <a:pt x="106808" y="27258"/>
                  <a:pt x="106808" y="27101"/>
                  <a:pt x="106808" y="27101"/>
                </a:cubicBezTo>
                <a:cubicBezTo>
                  <a:pt x="106808" y="27101"/>
                  <a:pt x="108085" y="26945"/>
                  <a:pt x="108085" y="26945"/>
                </a:cubicBezTo>
                <a:cubicBezTo>
                  <a:pt x="109787" y="26631"/>
                  <a:pt x="109787" y="26631"/>
                  <a:pt x="109787" y="26631"/>
                </a:cubicBezTo>
                <a:cubicBezTo>
                  <a:pt x="109787" y="26318"/>
                  <a:pt x="109787" y="26318"/>
                  <a:pt x="109787" y="26318"/>
                </a:cubicBezTo>
                <a:cubicBezTo>
                  <a:pt x="109787" y="26318"/>
                  <a:pt x="110638" y="26318"/>
                  <a:pt x="110638" y="26318"/>
                </a:cubicBezTo>
                <a:cubicBezTo>
                  <a:pt x="111063" y="26318"/>
                  <a:pt x="111489" y="26475"/>
                  <a:pt x="111489" y="26475"/>
                </a:cubicBezTo>
                <a:cubicBezTo>
                  <a:pt x="111489" y="26475"/>
                  <a:pt x="112340" y="26475"/>
                  <a:pt x="112340" y="26475"/>
                </a:cubicBezTo>
                <a:cubicBezTo>
                  <a:pt x="112340" y="26318"/>
                  <a:pt x="111914" y="26161"/>
                  <a:pt x="112340" y="26161"/>
                </a:cubicBezTo>
                <a:cubicBezTo>
                  <a:pt x="112765" y="26318"/>
                  <a:pt x="112765" y="26318"/>
                  <a:pt x="112765" y="26475"/>
                </a:cubicBezTo>
                <a:cubicBezTo>
                  <a:pt x="113191" y="26475"/>
                  <a:pt x="113191" y="26475"/>
                  <a:pt x="113191" y="26475"/>
                </a:cubicBezTo>
                <a:cubicBezTo>
                  <a:pt x="113617" y="26475"/>
                  <a:pt x="114042" y="26631"/>
                  <a:pt x="114468" y="26788"/>
                </a:cubicBezTo>
                <a:cubicBezTo>
                  <a:pt x="114468" y="26788"/>
                  <a:pt x="114468" y="26945"/>
                  <a:pt x="114468" y="27101"/>
                </a:cubicBezTo>
                <a:cubicBezTo>
                  <a:pt x="114468" y="27258"/>
                  <a:pt x="114468" y="27258"/>
                  <a:pt x="114468" y="27415"/>
                </a:cubicBezTo>
                <a:cubicBezTo>
                  <a:pt x="114468" y="27571"/>
                  <a:pt x="114468" y="27571"/>
                  <a:pt x="114468" y="27571"/>
                </a:cubicBezTo>
                <a:cubicBezTo>
                  <a:pt x="114468" y="27571"/>
                  <a:pt x="115744" y="27885"/>
                  <a:pt x="115744" y="27728"/>
                </a:cubicBezTo>
                <a:cubicBezTo>
                  <a:pt x="115744" y="27571"/>
                  <a:pt x="115744" y="27728"/>
                  <a:pt x="115744" y="27415"/>
                </a:cubicBezTo>
                <a:cubicBezTo>
                  <a:pt x="115319" y="27258"/>
                  <a:pt x="115744" y="27101"/>
                  <a:pt x="115744" y="26945"/>
                </a:cubicBezTo>
                <a:cubicBezTo>
                  <a:pt x="115319" y="26788"/>
                  <a:pt x="114893" y="26475"/>
                  <a:pt x="114893" y="26318"/>
                </a:cubicBezTo>
                <a:cubicBezTo>
                  <a:pt x="114893" y="26318"/>
                  <a:pt x="115319" y="26161"/>
                  <a:pt x="115744" y="26161"/>
                </a:cubicBezTo>
                <a:cubicBezTo>
                  <a:pt x="116170" y="26161"/>
                  <a:pt x="115744" y="26005"/>
                  <a:pt x="116170" y="26161"/>
                </a:cubicBezTo>
                <a:cubicBezTo>
                  <a:pt x="116595" y="26318"/>
                  <a:pt x="116595" y="26475"/>
                  <a:pt x="117021" y="26475"/>
                </a:cubicBezTo>
                <a:cubicBezTo>
                  <a:pt x="117446" y="26475"/>
                  <a:pt x="117446" y="26475"/>
                  <a:pt x="117446" y="26475"/>
                </a:cubicBezTo>
                <a:cubicBezTo>
                  <a:pt x="117446" y="26631"/>
                  <a:pt x="117872" y="26788"/>
                  <a:pt x="117872" y="26945"/>
                </a:cubicBezTo>
                <a:cubicBezTo>
                  <a:pt x="117872" y="27101"/>
                  <a:pt x="117872" y="27101"/>
                  <a:pt x="117872" y="27258"/>
                </a:cubicBezTo>
                <a:cubicBezTo>
                  <a:pt x="117872" y="27258"/>
                  <a:pt x="118723" y="27728"/>
                  <a:pt x="118723" y="27728"/>
                </a:cubicBezTo>
                <a:cubicBezTo>
                  <a:pt x="118723" y="27728"/>
                  <a:pt x="119574" y="27415"/>
                  <a:pt x="119574" y="27415"/>
                </a:cubicBezTo>
                <a:cubicBezTo>
                  <a:pt x="119574" y="27258"/>
                  <a:pt x="119574" y="27101"/>
                  <a:pt x="119574" y="27101"/>
                </a:cubicBezTo>
                <a:cubicBezTo>
                  <a:pt x="119574" y="26945"/>
                  <a:pt x="119574" y="26788"/>
                  <a:pt x="119574" y="26788"/>
                </a:cubicBezTo>
                <a:cubicBezTo>
                  <a:pt x="119574" y="26631"/>
                  <a:pt x="118297" y="26161"/>
                  <a:pt x="118297" y="26161"/>
                </a:cubicBezTo>
                <a:cubicBezTo>
                  <a:pt x="118297" y="26161"/>
                  <a:pt x="118297" y="26005"/>
                  <a:pt x="118723" y="25848"/>
                </a:cubicBezTo>
                <a:cubicBezTo>
                  <a:pt x="118723" y="25848"/>
                  <a:pt x="119148" y="25691"/>
                  <a:pt x="120000" y="25535"/>
                </a:cubicBezTo>
                <a:cubicBezTo>
                  <a:pt x="117446" y="23498"/>
                  <a:pt x="117446" y="23498"/>
                  <a:pt x="117446" y="23498"/>
                </a:cubicBezTo>
                <a:cubicBezTo>
                  <a:pt x="114893" y="23028"/>
                  <a:pt x="114893" y="23028"/>
                  <a:pt x="114893" y="23028"/>
                </a:cubicBezTo>
                <a:cubicBezTo>
                  <a:pt x="113191" y="22402"/>
                  <a:pt x="113191" y="22402"/>
                  <a:pt x="113191" y="22402"/>
                </a:cubicBezTo>
                <a:cubicBezTo>
                  <a:pt x="113191" y="21618"/>
                  <a:pt x="113191" y="21618"/>
                  <a:pt x="113191" y="21618"/>
                </a:cubicBezTo>
                <a:cubicBezTo>
                  <a:pt x="111914" y="20992"/>
                  <a:pt x="111914" y="20992"/>
                  <a:pt x="111914" y="20992"/>
                </a:cubicBezTo>
                <a:cubicBezTo>
                  <a:pt x="111914" y="20992"/>
                  <a:pt x="112340" y="20522"/>
                  <a:pt x="112340" y="20365"/>
                </a:cubicBezTo>
                <a:cubicBezTo>
                  <a:pt x="112765" y="20208"/>
                  <a:pt x="113617" y="19425"/>
                  <a:pt x="113617" y="19425"/>
                </a:cubicBezTo>
                <a:cubicBezTo>
                  <a:pt x="113617" y="19425"/>
                  <a:pt x="113191" y="18798"/>
                  <a:pt x="113191" y="18642"/>
                </a:cubicBezTo>
                <a:cubicBezTo>
                  <a:pt x="113191" y="18485"/>
                  <a:pt x="113617" y="17702"/>
                  <a:pt x="113617" y="17702"/>
                </a:cubicBezTo>
                <a:cubicBezTo>
                  <a:pt x="113191" y="16919"/>
                  <a:pt x="113191" y="16919"/>
                  <a:pt x="113191" y="16919"/>
                </a:cubicBezTo>
                <a:cubicBezTo>
                  <a:pt x="108085" y="14725"/>
                  <a:pt x="108085" y="14725"/>
                  <a:pt x="108085" y="14725"/>
                </a:cubicBezTo>
                <a:cubicBezTo>
                  <a:pt x="108510" y="13785"/>
                  <a:pt x="108510" y="13785"/>
                  <a:pt x="108510" y="13785"/>
                </a:cubicBezTo>
                <a:cubicBezTo>
                  <a:pt x="108510" y="13785"/>
                  <a:pt x="108510" y="13785"/>
                  <a:pt x="108510" y="13785"/>
                </a:cubicBezTo>
                <a:close/>
                <a:moveTo>
                  <a:pt x="70212" y="111227"/>
                </a:moveTo>
                <a:cubicBezTo>
                  <a:pt x="70212" y="111227"/>
                  <a:pt x="70212" y="111227"/>
                  <a:pt x="70212" y="111227"/>
                </a:cubicBezTo>
                <a:cubicBezTo>
                  <a:pt x="70638" y="109973"/>
                  <a:pt x="70638" y="109973"/>
                  <a:pt x="70638" y="109973"/>
                </a:cubicBezTo>
                <a:cubicBezTo>
                  <a:pt x="70638" y="109973"/>
                  <a:pt x="69787" y="109503"/>
                  <a:pt x="69787" y="109503"/>
                </a:cubicBezTo>
                <a:cubicBezTo>
                  <a:pt x="69787" y="109347"/>
                  <a:pt x="69361" y="109033"/>
                  <a:pt x="69361" y="108563"/>
                </a:cubicBezTo>
                <a:cubicBezTo>
                  <a:pt x="69787" y="108093"/>
                  <a:pt x="69787" y="107937"/>
                  <a:pt x="70212" y="107624"/>
                </a:cubicBezTo>
                <a:cubicBezTo>
                  <a:pt x="70212" y="107310"/>
                  <a:pt x="71063" y="107154"/>
                  <a:pt x="71063" y="106840"/>
                </a:cubicBezTo>
                <a:cubicBezTo>
                  <a:pt x="71063" y="106370"/>
                  <a:pt x="71063" y="106214"/>
                  <a:pt x="71489" y="105900"/>
                </a:cubicBezTo>
                <a:cubicBezTo>
                  <a:pt x="71489" y="105587"/>
                  <a:pt x="71914" y="105274"/>
                  <a:pt x="72340" y="105274"/>
                </a:cubicBezTo>
                <a:cubicBezTo>
                  <a:pt x="72340" y="105117"/>
                  <a:pt x="73191" y="104490"/>
                  <a:pt x="73191" y="104490"/>
                </a:cubicBezTo>
                <a:cubicBezTo>
                  <a:pt x="73617" y="103707"/>
                  <a:pt x="73617" y="103707"/>
                  <a:pt x="73617" y="103707"/>
                </a:cubicBezTo>
                <a:cubicBezTo>
                  <a:pt x="73617" y="103707"/>
                  <a:pt x="74468" y="102924"/>
                  <a:pt x="74468" y="102767"/>
                </a:cubicBezTo>
                <a:cubicBezTo>
                  <a:pt x="74468" y="102610"/>
                  <a:pt x="74042" y="101984"/>
                  <a:pt x="74042" y="101827"/>
                </a:cubicBezTo>
                <a:cubicBezTo>
                  <a:pt x="74468" y="101671"/>
                  <a:pt x="75319" y="101357"/>
                  <a:pt x="75319" y="101357"/>
                </a:cubicBezTo>
                <a:cubicBezTo>
                  <a:pt x="76595" y="101357"/>
                  <a:pt x="76595" y="101357"/>
                  <a:pt x="76595" y="101357"/>
                </a:cubicBezTo>
                <a:cubicBezTo>
                  <a:pt x="76595" y="101357"/>
                  <a:pt x="76595" y="101827"/>
                  <a:pt x="76170" y="101984"/>
                </a:cubicBezTo>
                <a:cubicBezTo>
                  <a:pt x="75744" y="101984"/>
                  <a:pt x="75319" y="102140"/>
                  <a:pt x="75319" y="102140"/>
                </a:cubicBezTo>
                <a:cubicBezTo>
                  <a:pt x="75319" y="102297"/>
                  <a:pt x="76170" y="102610"/>
                  <a:pt x="76170" y="102610"/>
                </a:cubicBezTo>
                <a:cubicBezTo>
                  <a:pt x="76170" y="103237"/>
                  <a:pt x="76170" y="103237"/>
                  <a:pt x="76170" y="103237"/>
                </a:cubicBezTo>
                <a:cubicBezTo>
                  <a:pt x="75319" y="103864"/>
                  <a:pt x="75319" y="103864"/>
                  <a:pt x="75319" y="103864"/>
                </a:cubicBezTo>
                <a:cubicBezTo>
                  <a:pt x="74468" y="104647"/>
                  <a:pt x="74468" y="104647"/>
                  <a:pt x="74468" y="104647"/>
                </a:cubicBezTo>
                <a:cubicBezTo>
                  <a:pt x="74468" y="105430"/>
                  <a:pt x="74468" y="105430"/>
                  <a:pt x="74468" y="105430"/>
                </a:cubicBezTo>
                <a:cubicBezTo>
                  <a:pt x="74042" y="105900"/>
                  <a:pt x="74042" y="105900"/>
                  <a:pt x="74042" y="105900"/>
                </a:cubicBezTo>
                <a:cubicBezTo>
                  <a:pt x="73617" y="106370"/>
                  <a:pt x="73617" y="106370"/>
                  <a:pt x="73617" y="106370"/>
                </a:cubicBezTo>
                <a:cubicBezTo>
                  <a:pt x="72765" y="107310"/>
                  <a:pt x="72765" y="107310"/>
                  <a:pt x="72765" y="107310"/>
                </a:cubicBezTo>
                <a:cubicBezTo>
                  <a:pt x="73191" y="108093"/>
                  <a:pt x="73191" y="108093"/>
                  <a:pt x="73191" y="108093"/>
                </a:cubicBezTo>
                <a:cubicBezTo>
                  <a:pt x="71914" y="109033"/>
                  <a:pt x="71914" y="109033"/>
                  <a:pt x="71914" y="109033"/>
                </a:cubicBezTo>
                <a:cubicBezTo>
                  <a:pt x="71914" y="109033"/>
                  <a:pt x="71914" y="109503"/>
                  <a:pt x="71914" y="109660"/>
                </a:cubicBezTo>
                <a:cubicBezTo>
                  <a:pt x="71914" y="109817"/>
                  <a:pt x="71914" y="110757"/>
                  <a:pt x="71914" y="110757"/>
                </a:cubicBezTo>
                <a:cubicBezTo>
                  <a:pt x="71914" y="110757"/>
                  <a:pt x="71914" y="111227"/>
                  <a:pt x="71489" y="111227"/>
                </a:cubicBezTo>
                <a:cubicBezTo>
                  <a:pt x="71063" y="111227"/>
                  <a:pt x="70212" y="111227"/>
                  <a:pt x="70212" y="111227"/>
                </a:cubicBezTo>
                <a:close/>
                <a:moveTo>
                  <a:pt x="87659" y="101671"/>
                </a:moveTo>
                <a:cubicBezTo>
                  <a:pt x="87659" y="101671"/>
                  <a:pt x="87659" y="101671"/>
                  <a:pt x="87659" y="101671"/>
                </a:cubicBezTo>
                <a:cubicBezTo>
                  <a:pt x="87234" y="101357"/>
                  <a:pt x="87234" y="101357"/>
                  <a:pt x="87234" y="101357"/>
                </a:cubicBezTo>
                <a:cubicBezTo>
                  <a:pt x="88510" y="101201"/>
                  <a:pt x="88510" y="101201"/>
                  <a:pt x="88510" y="101201"/>
                </a:cubicBezTo>
                <a:cubicBezTo>
                  <a:pt x="88510" y="101201"/>
                  <a:pt x="88085" y="100574"/>
                  <a:pt x="88085" y="100417"/>
                </a:cubicBezTo>
                <a:cubicBezTo>
                  <a:pt x="88085" y="100261"/>
                  <a:pt x="87659" y="100417"/>
                  <a:pt x="87234" y="100104"/>
                </a:cubicBezTo>
                <a:cubicBezTo>
                  <a:pt x="86808" y="99947"/>
                  <a:pt x="86808" y="99477"/>
                  <a:pt x="86808" y="99477"/>
                </a:cubicBezTo>
                <a:cubicBezTo>
                  <a:pt x="86808" y="99321"/>
                  <a:pt x="87234" y="98851"/>
                  <a:pt x="87234" y="98851"/>
                </a:cubicBezTo>
                <a:cubicBezTo>
                  <a:pt x="87234" y="98851"/>
                  <a:pt x="88510" y="98224"/>
                  <a:pt x="89361" y="97911"/>
                </a:cubicBezTo>
                <a:cubicBezTo>
                  <a:pt x="90638" y="97441"/>
                  <a:pt x="90212" y="97441"/>
                  <a:pt x="90212" y="97127"/>
                </a:cubicBezTo>
                <a:cubicBezTo>
                  <a:pt x="89787" y="96971"/>
                  <a:pt x="90638" y="96814"/>
                  <a:pt x="90638" y="96814"/>
                </a:cubicBezTo>
                <a:cubicBezTo>
                  <a:pt x="91914" y="96344"/>
                  <a:pt x="91914" y="96344"/>
                  <a:pt x="91914" y="96344"/>
                </a:cubicBezTo>
                <a:cubicBezTo>
                  <a:pt x="92765" y="95561"/>
                  <a:pt x="92765" y="95561"/>
                  <a:pt x="92765" y="95561"/>
                </a:cubicBezTo>
                <a:cubicBezTo>
                  <a:pt x="92765" y="95561"/>
                  <a:pt x="94042" y="96031"/>
                  <a:pt x="94042" y="96031"/>
                </a:cubicBezTo>
                <a:cubicBezTo>
                  <a:pt x="94468" y="96031"/>
                  <a:pt x="94468" y="95874"/>
                  <a:pt x="94468" y="95718"/>
                </a:cubicBezTo>
                <a:cubicBezTo>
                  <a:pt x="94468" y="95561"/>
                  <a:pt x="95319" y="95561"/>
                  <a:pt x="95319" y="95561"/>
                </a:cubicBezTo>
                <a:cubicBezTo>
                  <a:pt x="95744" y="95561"/>
                  <a:pt x="97021" y="95404"/>
                  <a:pt x="97021" y="95404"/>
                </a:cubicBezTo>
                <a:cubicBezTo>
                  <a:pt x="97446" y="95091"/>
                  <a:pt x="97446" y="95091"/>
                  <a:pt x="97446" y="95091"/>
                </a:cubicBezTo>
                <a:cubicBezTo>
                  <a:pt x="97446" y="95091"/>
                  <a:pt x="99148" y="94934"/>
                  <a:pt x="100000" y="95091"/>
                </a:cubicBezTo>
                <a:cubicBezTo>
                  <a:pt x="100425" y="95248"/>
                  <a:pt x="99574" y="95248"/>
                  <a:pt x="99574" y="95404"/>
                </a:cubicBezTo>
                <a:cubicBezTo>
                  <a:pt x="99574" y="95561"/>
                  <a:pt x="99574" y="95561"/>
                  <a:pt x="99574" y="95718"/>
                </a:cubicBezTo>
                <a:cubicBezTo>
                  <a:pt x="99574" y="95874"/>
                  <a:pt x="99148" y="96031"/>
                  <a:pt x="97872" y="96031"/>
                </a:cubicBezTo>
                <a:cubicBezTo>
                  <a:pt x="96595" y="96187"/>
                  <a:pt x="97446" y="96501"/>
                  <a:pt x="97446" y="96501"/>
                </a:cubicBezTo>
                <a:cubicBezTo>
                  <a:pt x="97446" y="96501"/>
                  <a:pt x="97446" y="97127"/>
                  <a:pt x="97446" y="97127"/>
                </a:cubicBezTo>
                <a:cubicBezTo>
                  <a:pt x="97021" y="97284"/>
                  <a:pt x="96170" y="97597"/>
                  <a:pt x="95319" y="97597"/>
                </a:cubicBezTo>
                <a:cubicBezTo>
                  <a:pt x="94893" y="97754"/>
                  <a:pt x="94893" y="98067"/>
                  <a:pt x="94893" y="98067"/>
                </a:cubicBezTo>
                <a:cubicBezTo>
                  <a:pt x="94893" y="98224"/>
                  <a:pt x="95319" y="98537"/>
                  <a:pt x="95319" y="98851"/>
                </a:cubicBezTo>
                <a:cubicBezTo>
                  <a:pt x="95319" y="99007"/>
                  <a:pt x="95319" y="99007"/>
                  <a:pt x="95744" y="99321"/>
                </a:cubicBezTo>
                <a:cubicBezTo>
                  <a:pt x="95744" y="99477"/>
                  <a:pt x="96595" y="99477"/>
                  <a:pt x="97021" y="99477"/>
                </a:cubicBezTo>
                <a:cubicBezTo>
                  <a:pt x="97021" y="99634"/>
                  <a:pt x="97872" y="99947"/>
                  <a:pt x="97446" y="100104"/>
                </a:cubicBezTo>
                <a:cubicBezTo>
                  <a:pt x="97021" y="100261"/>
                  <a:pt x="96595" y="100417"/>
                  <a:pt x="96170" y="100417"/>
                </a:cubicBezTo>
                <a:cubicBezTo>
                  <a:pt x="96170" y="100574"/>
                  <a:pt x="95319" y="101044"/>
                  <a:pt x="95319" y="101044"/>
                </a:cubicBezTo>
                <a:cubicBezTo>
                  <a:pt x="95319" y="101044"/>
                  <a:pt x="95744" y="101357"/>
                  <a:pt x="95319" y="101671"/>
                </a:cubicBezTo>
                <a:cubicBezTo>
                  <a:pt x="95319" y="101984"/>
                  <a:pt x="94468" y="101827"/>
                  <a:pt x="94042" y="101984"/>
                </a:cubicBezTo>
                <a:cubicBezTo>
                  <a:pt x="94042" y="101984"/>
                  <a:pt x="92765" y="102454"/>
                  <a:pt x="92765" y="102454"/>
                </a:cubicBezTo>
                <a:cubicBezTo>
                  <a:pt x="92340" y="102454"/>
                  <a:pt x="91914" y="103080"/>
                  <a:pt x="91914" y="103394"/>
                </a:cubicBezTo>
                <a:cubicBezTo>
                  <a:pt x="91914" y="103550"/>
                  <a:pt x="91914" y="103864"/>
                  <a:pt x="91914" y="104020"/>
                </a:cubicBezTo>
                <a:cubicBezTo>
                  <a:pt x="91914" y="104177"/>
                  <a:pt x="91914" y="104020"/>
                  <a:pt x="91063" y="104490"/>
                </a:cubicBezTo>
                <a:cubicBezTo>
                  <a:pt x="89787" y="104960"/>
                  <a:pt x="90212" y="104647"/>
                  <a:pt x="88936" y="104490"/>
                </a:cubicBezTo>
                <a:cubicBezTo>
                  <a:pt x="87234" y="104490"/>
                  <a:pt x="88936" y="104334"/>
                  <a:pt x="89361" y="104020"/>
                </a:cubicBezTo>
                <a:cubicBezTo>
                  <a:pt x="89787" y="103707"/>
                  <a:pt x="90212" y="103394"/>
                  <a:pt x="90212" y="103394"/>
                </a:cubicBezTo>
                <a:cubicBezTo>
                  <a:pt x="89787" y="102767"/>
                  <a:pt x="89787" y="102767"/>
                  <a:pt x="89787" y="102767"/>
                </a:cubicBezTo>
                <a:cubicBezTo>
                  <a:pt x="88936" y="102297"/>
                  <a:pt x="88936" y="102297"/>
                  <a:pt x="88936" y="102297"/>
                </a:cubicBezTo>
                <a:lnTo>
                  <a:pt x="87659" y="101671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3048;p256">
            <a:extLst>
              <a:ext uri="{FF2B5EF4-FFF2-40B4-BE49-F238E27FC236}">
                <a16:creationId xmlns:a16="http://schemas.microsoft.com/office/drawing/2014/main" id="{8BF36D2F-60D3-D1C0-3B05-94084FA0BCBF}"/>
              </a:ext>
            </a:extLst>
          </p:cNvPr>
          <p:cNvSpPr/>
          <p:nvPr/>
        </p:nvSpPr>
        <p:spPr>
          <a:xfrm>
            <a:off x="8091685" y="-426475"/>
            <a:ext cx="1971053" cy="269923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82527" y="9000"/>
                </a:moveTo>
                <a:cubicBezTo>
                  <a:pt x="82081" y="9000"/>
                  <a:pt x="81412" y="9157"/>
                  <a:pt x="81412" y="8842"/>
                </a:cubicBezTo>
                <a:cubicBezTo>
                  <a:pt x="81412" y="8684"/>
                  <a:pt x="80743" y="8210"/>
                  <a:pt x="80743" y="8210"/>
                </a:cubicBezTo>
                <a:cubicBezTo>
                  <a:pt x="80743" y="8052"/>
                  <a:pt x="80297" y="7736"/>
                  <a:pt x="80966" y="7578"/>
                </a:cubicBezTo>
                <a:cubicBezTo>
                  <a:pt x="81412" y="7263"/>
                  <a:pt x="82973" y="6789"/>
                  <a:pt x="83197" y="6789"/>
                </a:cubicBezTo>
                <a:cubicBezTo>
                  <a:pt x="83197" y="6789"/>
                  <a:pt x="83866" y="6000"/>
                  <a:pt x="84089" y="5842"/>
                </a:cubicBezTo>
                <a:cubicBezTo>
                  <a:pt x="84312" y="5842"/>
                  <a:pt x="85650" y="5842"/>
                  <a:pt x="85650" y="5842"/>
                </a:cubicBezTo>
                <a:cubicBezTo>
                  <a:pt x="85650" y="5842"/>
                  <a:pt x="85873" y="6000"/>
                  <a:pt x="86319" y="6000"/>
                </a:cubicBezTo>
                <a:cubicBezTo>
                  <a:pt x="86765" y="6157"/>
                  <a:pt x="87657" y="5684"/>
                  <a:pt x="87211" y="6157"/>
                </a:cubicBezTo>
                <a:cubicBezTo>
                  <a:pt x="86542" y="6473"/>
                  <a:pt x="86319" y="6631"/>
                  <a:pt x="86096" y="6631"/>
                </a:cubicBezTo>
                <a:cubicBezTo>
                  <a:pt x="85873" y="6789"/>
                  <a:pt x="84758" y="7421"/>
                  <a:pt x="84758" y="7736"/>
                </a:cubicBezTo>
                <a:cubicBezTo>
                  <a:pt x="84535" y="8052"/>
                  <a:pt x="84758" y="8052"/>
                  <a:pt x="84535" y="8210"/>
                </a:cubicBezTo>
                <a:cubicBezTo>
                  <a:pt x="84089" y="8368"/>
                  <a:pt x="82750" y="8842"/>
                  <a:pt x="82527" y="9000"/>
                </a:cubicBezTo>
                <a:close/>
                <a:moveTo>
                  <a:pt x="85427" y="9631"/>
                </a:moveTo>
                <a:cubicBezTo>
                  <a:pt x="85427" y="9631"/>
                  <a:pt x="85427" y="9631"/>
                  <a:pt x="85427" y="9631"/>
                </a:cubicBezTo>
                <a:cubicBezTo>
                  <a:pt x="85427" y="9631"/>
                  <a:pt x="86096" y="9789"/>
                  <a:pt x="86096" y="9631"/>
                </a:cubicBezTo>
                <a:cubicBezTo>
                  <a:pt x="86096" y="9631"/>
                  <a:pt x="86319" y="9315"/>
                  <a:pt x="86319" y="8842"/>
                </a:cubicBezTo>
                <a:cubicBezTo>
                  <a:pt x="86542" y="8368"/>
                  <a:pt x="86988" y="8368"/>
                  <a:pt x="87211" y="8210"/>
                </a:cubicBezTo>
                <a:cubicBezTo>
                  <a:pt x="87434" y="8052"/>
                  <a:pt x="87211" y="8052"/>
                  <a:pt x="87434" y="7736"/>
                </a:cubicBezTo>
                <a:cubicBezTo>
                  <a:pt x="87434" y="7421"/>
                  <a:pt x="87211" y="7421"/>
                  <a:pt x="86765" y="7263"/>
                </a:cubicBezTo>
                <a:cubicBezTo>
                  <a:pt x="86096" y="7263"/>
                  <a:pt x="86096" y="7578"/>
                  <a:pt x="85650" y="7578"/>
                </a:cubicBezTo>
                <a:cubicBezTo>
                  <a:pt x="85427" y="7736"/>
                  <a:pt x="85427" y="8052"/>
                  <a:pt x="85650" y="8210"/>
                </a:cubicBezTo>
                <a:cubicBezTo>
                  <a:pt x="85650" y="8368"/>
                  <a:pt x="85204" y="8526"/>
                  <a:pt x="84758" y="8684"/>
                </a:cubicBezTo>
                <a:cubicBezTo>
                  <a:pt x="84312" y="9000"/>
                  <a:pt x="84312" y="9315"/>
                  <a:pt x="84312" y="9315"/>
                </a:cubicBezTo>
                <a:cubicBezTo>
                  <a:pt x="85427" y="9631"/>
                  <a:pt x="85427" y="9631"/>
                  <a:pt x="85427" y="9631"/>
                </a:cubicBezTo>
                <a:close/>
                <a:moveTo>
                  <a:pt x="80966" y="19894"/>
                </a:moveTo>
                <a:cubicBezTo>
                  <a:pt x="80966" y="19894"/>
                  <a:pt x="80966" y="19894"/>
                  <a:pt x="80966" y="19894"/>
                </a:cubicBezTo>
                <a:cubicBezTo>
                  <a:pt x="81858" y="20052"/>
                  <a:pt x="81858" y="20052"/>
                  <a:pt x="81858" y="20052"/>
                </a:cubicBezTo>
                <a:cubicBezTo>
                  <a:pt x="83420" y="21315"/>
                  <a:pt x="83420" y="21315"/>
                  <a:pt x="83420" y="21315"/>
                </a:cubicBezTo>
                <a:cubicBezTo>
                  <a:pt x="84758" y="22421"/>
                  <a:pt x="84758" y="22421"/>
                  <a:pt x="84758" y="22421"/>
                </a:cubicBezTo>
                <a:cubicBezTo>
                  <a:pt x="84758" y="22421"/>
                  <a:pt x="86765" y="23526"/>
                  <a:pt x="87211" y="23684"/>
                </a:cubicBezTo>
                <a:cubicBezTo>
                  <a:pt x="87657" y="23842"/>
                  <a:pt x="90111" y="24157"/>
                  <a:pt x="90334" y="24315"/>
                </a:cubicBezTo>
                <a:cubicBezTo>
                  <a:pt x="91003" y="23684"/>
                  <a:pt x="91003" y="23684"/>
                  <a:pt x="91003" y="23684"/>
                </a:cubicBezTo>
                <a:cubicBezTo>
                  <a:pt x="91895" y="23210"/>
                  <a:pt x="91895" y="23210"/>
                  <a:pt x="91895" y="23210"/>
                </a:cubicBezTo>
                <a:cubicBezTo>
                  <a:pt x="91672" y="22894"/>
                  <a:pt x="91672" y="22894"/>
                  <a:pt x="91672" y="22894"/>
                </a:cubicBezTo>
                <a:cubicBezTo>
                  <a:pt x="92788" y="22421"/>
                  <a:pt x="92788" y="22421"/>
                  <a:pt x="92788" y="22421"/>
                </a:cubicBezTo>
                <a:cubicBezTo>
                  <a:pt x="93680" y="22894"/>
                  <a:pt x="93680" y="22894"/>
                  <a:pt x="93680" y="22894"/>
                </a:cubicBezTo>
                <a:cubicBezTo>
                  <a:pt x="95910" y="23210"/>
                  <a:pt x="95910" y="23210"/>
                  <a:pt x="95910" y="23210"/>
                </a:cubicBezTo>
                <a:cubicBezTo>
                  <a:pt x="96802" y="23684"/>
                  <a:pt x="96802" y="23684"/>
                  <a:pt x="96802" y="23684"/>
                </a:cubicBezTo>
                <a:cubicBezTo>
                  <a:pt x="96802" y="23684"/>
                  <a:pt x="96802" y="23684"/>
                  <a:pt x="97026" y="23684"/>
                </a:cubicBezTo>
                <a:cubicBezTo>
                  <a:pt x="97026" y="23684"/>
                  <a:pt x="97026" y="23684"/>
                  <a:pt x="97026" y="23684"/>
                </a:cubicBezTo>
                <a:cubicBezTo>
                  <a:pt x="97026" y="23684"/>
                  <a:pt x="97026" y="23684"/>
                  <a:pt x="97026" y="23684"/>
                </a:cubicBezTo>
                <a:cubicBezTo>
                  <a:pt x="97249" y="23526"/>
                  <a:pt x="97249" y="23526"/>
                  <a:pt x="97249" y="23526"/>
                </a:cubicBezTo>
                <a:cubicBezTo>
                  <a:pt x="97249" y="23526"/>
                  <a:pt x="97249" y="23526"/>
                  <a:pt x="97249" y="23526"/>
                </a:cubicBezTo>
                <a:cubicBezTo>
                  <a:pt x="97249" y="23526"/>
                  <a:pt x="97249" y="23526"/>
                  <a:pt x="97249" y="23526"/>
                </a:cubicBezTo>
                <a:cubicBezTo>
                  <a:pt x="97249" y="23526"/>
                  <a:pt x="97249" y="23526"/>
                  <a:pt x="97249" y="23526"/>
                </a:cubicBezTo>
                <a:cubicBezTo>
                  <a:pt x="97249" y="23526"/>
                  <a:pt x="97472" y="23526"/>
                  <a:pt x="97472" y="23526"/>
                </a:cubicBezTo>
                <a:cubicBezTo>
                  <a:pt x="97472" y="23526"/>
                  <a:pt x="97472" y="23526"/>
                  <a:pt x="97472" y="23526"/>
                </a:cubicBezTo>
                <a:cubicBezTo>
                  <a:pt x="97472" y="23526"/>
                  <a:pt x="97472" y="23526"/>
                  <a:pt x="97472" y="23526"/>
                </a:cubicBezTo>
                <a:cubicBezTo>
                  <a:pt x="97472" y="23526"/>
                  <a:pt x="97472" y="23526"/>
                  <a:pt x="97472" y="23526"/>
                </a:cubicBezTo>
                <a:cubicBezTo>
                  <a:pt x="97472" y="23526"/>
                  <a:pt x="97472" y="23526"/>
                  <a:pt x="97472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526"/>
                  <a:pt x="97695" y="23526"/>
                  <a:pt x="97695" y="23526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368"/>
                  <a:pt x="97695" y="23368"/>
                  <a:pt x="97695" y="23368"/>
                </a:cubicBezTo>
                <a:cubicBezTo>
                  <a:pt x="97695" y="23210"/>
                  <a:pt x="97695" y="23210"/>
                  <a:pt x="97695" y="23210"/>
                </a:cubicBezTo>
                <a:cubicBezTo>
                  <a:pt x="97695" y="23052"/>
                  <a:pt x="97695" y="22105"/>
                  <a:pt x="97695" y="22105"/>
                </a:cubicBezTo>
                <a:cubicBezTo>
                  <a:pt x="97695" y="22105"/>
                  <a:pt x="97026" y="21789"/>
                  <a:pt x="97695" y="21473"/>
                </a:cubicBezTo>
                <a:cubicBezTo>
                  <a:pt x="98364" y="21000"/>
                  <a:pt x="99256" y="20526"/>
                  <a:pt x="99256" y="20526"/>
                </a:cubicBezTo>
                <a:cubicBezTo>
                  <a:pt x="99256" y="20526"/>
                  <a:pt x="99702" y="20368"/>
                  <a:pt x="99702" y="19894"/>
                </a:cubicBezTo>
                <a:cubicBezTo>
                  <a:pt x="99702" y="19421"/>
                  <a:pt x="99256" y="18157"/>
                  <a:pt x="99256" y="18157"/>
                </a:cubicBezTo>
                <a:cubicBezTo>
                  <a:pt x="99256" y="18157"/>
                  <a:pt x="98810" y="17368"/>
                  <a:pt x="98810" y="17052"/>
                </a:cubicBezTo>
                <a:cubicBezTo>
                  <a:pt x="99256" y="15157"/>
                  <a:pt x="98141" y="13894"/>
                  <a:pt x="98810" y="13578"/>
                </a:cubicBezTo>
                <a:cubicBezTo>
                  <a:pt x="98810" y="13578"/>
                  <a:pt x="98810" y="13578"/>
                  <a:pt x="98810" y="13578"/>
                </a:cubicBezTo>
                <a:cubicBezTo>
                  <a:pt x="98810" y="13578"/>
                  <a:pt x="98810" y="13578"/>
                  <a:pt x="98810" y="13578"/>
                </a:cubicBezTo>
                <a:cubicBezTo>
                  <a:pt x="99256" y="13421"/>
                  <a:pt x="99256" y="13421"/>
                  <a:pt x="99256" y="13421"/>
                </a:cubicBezTo>
                <a:cubicBezTo>
                  <a:pt x="99925" y="13105"/>
                  <a:pt x="99925" y="13105"/>
                  <a:pt x="99925" y="13105"/>
                </a:cubicBezTo>
                <a:cubicBezTo>
                  <a:pt x="99925" y="13105"/>
                  <a:pt x="99925" y="12947"/>
                  <a:pt x="99925" y="12947"/>
                </a:cubicBezTo>
                <a:cubicBezTo>
                  <a:pt x="99925" y="12157"/>
                  <a:pt x="98587" y="11368"/>
                  <a:pt x="100148" y="11210"/>
                </a:cubicBezTo>
                <a:cubicBezTo>
                  <a:pt x="100817" y="10894"/>
                  <a:pt x="100817" y="10894"/>
                  <a:pt x="100817" y="10894"/>
                </a:cubicBezTo>
                <a:cubicBezTo>
                  <a:pt x="102825" y="10894"/>
                  <a:pt x="102825" y="10894"/>
                  <a:pt x="102825" y="10894"/>
                </a:cubicBezTo>
                <a:cubicBezTo>
                  <a:pt x="103271" y="9947"/>
                  <a:pt x="103271" y="9947"/>
                  <a:pt x="103271" y="9947"/>
                </a:cubicBezTo>
                <a:cubicBezTo>
                  <a:pt x="104163" y="9315"/>
                  <a:pt x="104163" y="9315"/>
                  <a:pt x="104163" y="9315"/>
                </a:cubicBezTo>
                <a:cubicBezTo>
                  <a:pt x="104832" y="9315"/>
                  <a:pt x="105724" y="9157"/>
                  <a:pt x="106171" y="9315"/>
                </a:cubicBezTo>
                <a:cubicBezTo>
                  <a:pt x="106617" y="9789"/>
                  <a:pt x="106617" y="10105"/>
                  <a:pt x="107509" y="10263"/>
                </a:cubicBezTo>
                <a:cubicBezTo>
                  <a:pt x="110185" y="10894"/>
                  <a:pt x="110185" y="10894"/>
                  <a:pt x="110185" y="10894"/>
                </a:cubicBezTo>
                <a:cubicBezTo>
                  <a:pt x="111524" y="11052"/>
                  <a:pt x="111524" y="11052"/>
                  <a:pt x="111524" y="11052"/>
                </a:cubicBezTo>
                <a:cubicBezTo>
                  <a:pt x="111524" y="11052"/>
                  <a:pt x="111524" y="11052"/>
                  <a:pt x="111524" y="11052"/>
                </a:cubicBezTo>
                <a:cubicBezTo>
                  <a:pt x="111747" y="11052"/>
                  <a:pt x="111747" y="11052"/>
                  <a:pt x="111747" y="11052"/>
                </a:cubicBezTo>
                <a:cubicBezTo>
                  <a:pt x="111747" y="11052"/>
                  <a:pt x="111747" y="11052"/>
                  <a:pt x="111747" y="11052"/>
                </a:cubicBezTo>
                <a:cubicBezTo>
                  <a:pt x="112193" y="11368"/>
                  <a:pt x="112193" y="11368"/>
                  <a:pt x="112193" y="11368"/>
                </a:cubicBezTo>
                <a:cubicBezTo>
                  <a:pt x="112193" y="11368"/>
                  <a:pt x="112193" y="11368"/>
                  <a:pt x="112193" y="11368"/>
                </a:cubicBezTo>
                <a:cubicBezTo>
                  <a:pt x="112193" y="11368"/>
                  <a:pt x="112193" y="11368"/>
                  <a:pt x="112193" y="11368"/>
                </a:cubicBezTo>
                <a:cubicBezTo>
                  <a:pt x="112193" y="11368"/>
                  <a:pt x="112193" y="11368"/>
                  <a:pt x="112193" y="11368"/>
                </a:cubicBezTo>
                <a:cubicBezTo>
                  <a:pt x="112193" y="11684"/>
                  <a:pt x="112193" y="12000"/>
                  <a:pt x="112416" y="12157"/>
                </a:cubicBezTo>
                <a:cubicBezTo>
                  <a:pt x="112416" y="12473"/>
                  <a:pt x="112639" y="12947"/>
                  <a:pt x="112639" y="12947"/>
                </a:cubicBezTo>
                <a:cubicBezTo>
                  <a:pt x="112639" y="12947"/>
                  <a:pt x="112416" y="13421"/>
                  <a:pt x="112416" y="13736"/>
                </a:cubicBezTo>
                <a:cubicBezTo>
                  <a:pt x="112193" y="13894"/>
                  <a:pt x="112193" y="14368"/>
                  <a:pt x="112193" y="14526"/>
                </a:cubicBezTo>
                <a:cubicBezTo>
                  <a:pt x="112193" y="14684"/>
                  <a:pt x="112193" y="14842"/>
                  <a:pt x="112193" y="15000"/>
                </a:cubicBezTo>
                <a:cubicBezTo>
                  <a:pt x="112193" y="15315"/>
                  <a:pt x="112416" y="15789"/>
                  <a:pt x="112639" y="15947"/>
                </a:cubicBezTo>
                <a:cubicBezTo>
                  <a:pt x="112639" y="16105"/>
                  <a:pt x="113754" y="16578"/>
                  <a:pt x="113754" y="16578"/>
                </a:cubicBezTo>
                <a:cubicBezTo>
                  <a:pt x="113754" y="16578"/>
                  <a:pt x="113754" y="16578"/>
                  <a:pt x="113531" y="16736"/>
                </a:cubicBezTo>
                <a:cubicBezTo>
                  <a:pt x="113531" y="16736"/>
                  <a:pt x="113531" y="16894"/>
                  <a:pt x="113754" y="16894"/>
                </a:cubicBezTo>
                <a:cubicBezTo>
                  <a:pt x="114200" y="16894"/>
                  <a:pt x="114869" y="16736"/>
                  <a:pt x="114869" y="16736"/>
                </a:cubicBezTo>
                <a:cubicBezTo>
                  <a:pt x="114869" y="16736"/>
                  <a:pt x="114869" y="15315"/>
                  <a:pt x="114646" y="14842"/>
                </a:cubicBezTo>
                <a:cubicBezTo>
                  <a:pt x="114423" y="14210"/>
                  <a:pt x="115539" y="13578"/>
                  <a:pt x="115539" y="13578"/>
                </a:cubicBezTo>
                <a:cubicBezTo>
                  <a:pt x="117100" y="12473"/>
                  <a:pt x="117100" y="12473"/>
                  <a:pt x="117100" y="12473"/>
                </a:cubicBezTo>
                <a:cubicBezTo>
                  <a:pt x="116877" y="11210"/>
                  <a:pt x="116877" y="11210"/>
                  <a:pt x="116877" y="11210"/>
                </a:cubicBezTo>
                <a:cubicBezTo>
                  <a:pt x="118661" y="11368"/>
                  <a:pt x="118661" y="11368"/>
                  <a:pt x="118661" y="11368"/>
                </a:cubicBezTo>
                <a:cubicBezTo>
                  <a:pt x="118661" y="11368"/>
                  <a:pt x="120000" y="10894"/>
                  <a:pt x="119553" y="10263"/>
                </a:cubicBezTo>
                <a:cubicBezTo>
                  <a:pt x="119107" y="9473"/>
                  <a:pt x="118661" y="8210"/>
                  <a:pt x="118215" y="8526"/>
                </a:cubicBezTo>
                <a:cubicBezTo>
                  <a:pt x="117546" y="8842"/>
                  <a:pt x="116431" y="9789"/>
                  <a:pt x="116431" y="9789"/>
                </a:cubicBezTo>
                <a:cubicBezTo>
                  <a:pt x="116208" y="8210"/>
                  <a:pt x="116208" y="8210"/>
                  <a:pt x="116208" y="8210"/>
                </a:cubicBezTo>
                <a:cubicBezTo>
                  <a:pt x="114423" y="8684"/>
                  <a:pt x="114423" y="8684"/>
                  <a:pt x="114423" y="8684"/>
                </a:cubicBezTo>
                <a:cubicBezTo>
                  <a:pt x="112639" y="8368"/>
                  <a:pt x="112639" y="8368"/>
                  <a:pt x="112639" y="8368"/>
                </a:cubicBezTo>
                <a:cubicBezTo>
                  <a:pt x="112639" y="8368"/>
                  <a:pt x="111970" y="7736"/>
                  <a:pt x="111301" y="7894"/>
                </a:cubicBezTo>
                <a:cubicBezTo>
                  <a:pt x="110631" y="7894"/>
                  <a:pt x="109516" y="7894"/>
                  <a:pt x="109516" y="7894"/>
                </a:cubicBezTo>
                <a:cubicBezTo>
                  <a:pt x="109516" y="7894"/>
                  <a:pt x="108624" y="7421"/>
                  <a:pt x="109070" y="7263"/>
                </a:cubicBezTo>
                <a:cubicBezTo>
                  <a:pt x="109739" y="7263"/>
                  <a:pt x="111078" y="7421"/>
                  <a:pt x="111747" y="7263"/>
                </a:cubicBezTo>
                <a:cubicBezTo>
                  <a:pt x="112193" y="7263"/>
                  <a:pt x="115762" y="6631"/>
                  <a:pt x="115762" y="6631"/>
                </a:cubicBezTo>
                <a:cubicBezTo>
                  <a:pt x="115985" y="5526"/>
                  <a:pt x="115985" y="5526"/>
                  <a:pt x="115985" y="5526"/>
                </a:cubicBezTo>
                <a:cubicBezTo>
                  <a:pt x="117546" y="4578"/>
                  <a:pt x="117546" y="4578"/>
                  <a:pt x="117546" y="4578"/>
                </a:cubicBezTo>
                <a:cubicBezTo>
                  <a:pt x="114869" y="3157"/>
                  <a:pt x="114869" y="3157"/>
                  <a:pt x="114869" y="3157"/>
                </a:cubicBezTo>
                <a:cubicBezTo>
                  <a:pt x="113754" y="1894"/>
                  <a:pt x="113754" y="1894"/>
                  <a:pt x="113754" y="1894"/>
                </a:cubicBezTo>
                <a:cubicBezTo>
                  <a:pt x="113754" y="1894"/>
                  <a:pt x="113531" y="1421"/>
                  <a:pt x="113085" y="1421"/>
                </a:cubicBezTo>
                <a:cubicBezTo>
                  <a:pt x="112416" y="1421"/>
                  <a:pt x="110631" y="2052"/>
                  <a:pt x="110631" y="2052"/>
                </a:cubicBezTo>
                <a:cubicBezTo>
                  <a:pt x="109293" y="1421"/>
                  <a:pt x="109293" y="1421"/>
                  <a:pt x="109293" y="1421"/>
                </a:cubicBezTo>
                <a:cubicBezTo>
                  <a:pt x="107286" y="1578"/>
                  <a:pt x="107286" y="1578"/>
                  <a:pt x="107286" y="1578"/>
                </a:cubicBezTo>
                <a:cubicBezTo>
                  <a:pt x="104386" y="947"/>
                  <a:pt x="104386" y="947"/>
                  <a:pt x="104386" y="947"/>
                </a:cubicBezTo>
                <a:cubicBezTo>
                  <a:pt x="104386" y="1421"/>
                  <a:pt x="104386" y="1421"/>
                  <a:pt x="104386" y="1421"/>
                </a:cubicBezTo>
                <a:cubicBezTo>
                  <a:pt x="104386" y="1421"/>
                  <a:pt x="103494" y="1263"/>
                  <a:pt x="103271" y="947"/>
                </a:cubicBezTo>
                <a:cubicBezTo>
                  <a:pt x="103271" y="631"/>
                  <a:pt x="103271" y="315"/>
                  <a:pt x="103271" y="315"/>
                </a:cubicBezTo>
                <a:cubicBezTo>
                  <a:pt x="102156" y="473"/>
                  <a:pt x="102156" y="473"/>
                  <a:pt x="102156" y="473"/>
                </a:cubicBezTo>
                <a:cubicBezTo>
                  <a:pt x="101710" y="473"/>
                  <a:pt x="101710" y="473"/>
                  <a:pt x="101710" y="473"/>
                </a:cubicBezTo>
                <a:cubicBezTo>
                  <a:pt x="100371" y="0"/>
                  <a:pt x="100371" y="0"/>
                  <a:pt x="100371" y="0"/>
                </a:cubicBezTo>
                <a:cubicBezTo>
                  <a:pt x="99702" y="947"/>
                  <a:pt x="99702" y="947"/>
                  <a:pt x="99702" y="947"/>
                </a:cubicBezTo>
                <a:cubicBezTo>
                  <a:pt x="100594" y="2052"/>
                  <a:pt x="100594" y="2052"/>
                  <a:pt x="100594" y="2052"/>
                </a:cubicBezTo>
                <a:cubicBezTo>
                  <a:pt x="99702" y="3315"/>
                  <a:pt x="99702" y="3315"/>
                  <a:pt x="99702" y="3315"/>
                </a:cubicBezTo>
                <a:cubicBezTo>
                  <a:pt x="100371" y="4105"/>
                  <a:pt x="100371" y="4105"/>
                  <a:pt x="100371" y="4105"/>
                </a:cubicBezTo>
                <a:cubicBezTo>
                  <a:pt x="100371" y="5210"/>
                  <a:pt x="100371" y="5210"/>
                  <a:pt x="100371" y="5210"/>
                </a:cubicBezTo>
                <a:cubicBezTo>
                  <a:pt x="99479" y="6473"/>
                  <a:pt x="99479" y="6473"/>
                  <a:pt x="99479" y="6473"/>
                </a:cubicBezTo>
                <a:cubicBezTo>
                  <a:pt x="98141" y="5684"/>
                  <a:pt x="98141" y="5684"/>
                  <a:pt x="98141" y="5684"/>
                </a:cubicBezTo>
                <a:cubicBezTo>
                  <a:pt x="98364" y="4578"/>
                  <a:pt x="98364" y="4578"/>
                  <a:pt x="98364" y="4578"/>
                </a:cubicBezTo>
                <a:cubicBezTo>
                  <a:pt x="99033" y="3315"/>
                  <a:pt x="99033" y="3315"/>
                  <a:pt x="99033" y="3315"/>
                </a:cubicBezTo>
                <a:cubicBezTo>
                  <a:pt x="98141" y="2052"/>
                  <a:pt x="98141" y="2052"/>
                  <a:pt x="98141" y="2052"/>
                </a:cubicBezTo>
                <a:cubicBezTo>
                  <a:pt x="96356" y="3157"/>
                  <a:pt x="96356" y="3157"/>
                  <a:pt x="96356" y="3157"/>
                </a:cubicBezTo>
                <a:cubicBezTo>
                  <a:pt x="96356" y="4736"/>
                  <a:pt x="96356" y="4736"/>
                  <a:pt x="96356" y="4736"/>
                </a:cubicBezTo>
                <a:cubicBezTo>
                  <a:pt x="95464" y="5842"/>
                  <a:pt x="95464" y="5842"/>
                  <a:pt x="95464" y="5842"/>
                </a:cubicBezTo>
                <a:cubicBezTo>
                  <a:pt x="95464" y="7263"/>
                  <a:pt x="95464" y="7263"/>
                  <a:pt x="95464" y="7263"/>
                </a:cubicBezTo>
                <a:cubicBezTo>
                  <a:pt x="95018" y="8368"/>
                  <a:pt x="95018" y="8368"/>
                  <a:pt x="95018" y="8368"/>
                </a:cubicBezTo>
                <a:cubicBezTo>
                  <a:pt x="94795" y="9789"/>
                  <a:pt x="94795" y="9789"/>
                  <a:pt x="94795" y="9789"/>
                </a:cubicBezTo>
                <a:cubicBezTo>
                  <a:pt x="94795" y="9789"/>
                  <a:pt x="94795" y="10105"/>
                  <a:pt x="94349" y="10105"/>
                </a:cubicBezTo>
                <a:cubicBezTo>
                  <a:pt x="93903" y="10263"/>
                  <a:pt x="93011" y="9947"/>
                  <a:pt x="93011" y="9947"/>
                </a:cubicBezTo>
                <a:cubicBezTo>
                  <a:pt x="93011" y="7894"/>
                  <a:pt x="93011" y="7894"/>
                  <a:pt x="93011" y="7894"/>
                </a:cubicBezTo>
                <a:cubicBezTo>
                  <a:pt x="93457" y="6789"/>
                  <a:pt x="93457" y="6789"/>
                  <a:pt x="93457" y="6789"/>
                </a:cubicBezTo>
                <a:cubicBezTo>
                  <a:pt x="94126" y="5842"/>
                  <a:pt x="94126" y="5842"/>
                  <a:pt x="94126" y="5842"/>
                </a:cubicBezTo>
                <a:cubicBezTo>
                  <a:pt x="95018" y="4578"/>
                  <a:pt x="95018" y="4578"/>
                  <a:pt x="95018" y="4578"/>
                </a:cubicBezTo>
                <a:cubicBezTo>
                  <a:pt x="95018" y="4578"/>
                  <a:pt x="95018" y="3789"/>
                  <a:pt x="94795" y="3631"/>
                </a:cubicBezTo>
                <a:cubicBezTo>
                  <a:pt x="94795" y="3631"/>
                  <a:pt x="94349" y="3473"/>
                  <a:pt x="94572" y="3473"/>
                </a:cubicBezTo>
                <a:cubicBezTo>
                  <a:pt x="94572" y="3315"/>
                  <a:pt x="95464" y="2684"/>
                  <a:pt x="95464" y="2684"/>
                </a:cubicBezTo>
                <a:cubicBezTo>
                  <a:pt x="95464" y="2684"/>
                  <a:pt x="95464" y="2210"/>
                  <a:pt x="94795" y="1894"/>
                </a:cubicBezTo>
                <a:cubicBezTo>
                  <a:pt x="94349" y="1736"/>
                  <a:pt x="93903" y="1421"/>
                  <a:pt x="93457" y="1578"/>
                </a:cubicBezTo>
                <a:cubicBezTo>
                  <a:pt x="93234" y="1736"/>
                  <a:pt x="92118" y="2052"/>
                  <a:pt x="92118" y="2210"/>
                </a:cubicBezTo>
                <a:cubicBezTo>
                  <a:pt x="91895" y="2368"/>
                  <a:pt x="92118" y="2684"/>
                  <a:pt x="92342" y="2842"/>
                </a:cubicBezTo>
                <a:cubicBezTo>
                  <a:pt x="92565" y="2842"/>
                  <a:pt x="92788" y="3000"/>
                  <a:pt x="93011" y="3000"/>
                </a:cubicBezTo>
                <a:cubicBezTo>
                  <a:pt x="93011" y="3157"/>
                  <a:pt x="93234" y="3631"/>
                  <a:pt x="93011" y="3789"/>
                </a:cubicBezTo>
                <a:cubicBezTo>
                  <a:pt x="92788" y="3947"/>
                  <a:pt x="93011" y="4421"/>
                  <a:pt x="92342" y="4263"/>
                </a:cubicBezTo>
                <a:cubicBezTo>
                  <a:pt x="91895" y="4105"/>
                  <a:pt x="90557" y="3473"/>
                  <a:pt x="90557" y="3473"/>
                </a:cubicBezTo>
                <a:cubicBezTo>
                  <a:pt x="90334" y="3473"/>
                  <a:pt x="90557" y="2842"/>
                  <a:pt x="90111" y="3473"/>
                </a:cubicBezTo>
                <a:cubicBezTo>
                  <a:pt x="89665" y="3947"/>
                  <a:pt x="89442" y="4105"/>
                  <a:pt x="89665" y="4421"/>
                </a:cubicBezTo>
                <a:cubicBezTo>
                  <a:pt x="89888" y="4736"/>
                  <a:pt x="90111" y="4736"/>
                  <a:pt x="90111" y="4894"/>
                </a:cubicBezTo>
                <a:cubicBezTo>
                  <a:pt x="90111" y="5052"/>
                  <a:pt x="89219" y="5052"/>
                  <a:pt x="89219" y="5210"/>
                </a:cubicBezTo>
                <a:cubicBezTo>
                  <a:pt x="89219" y="5368"/>
                  <a:pt x="88996" y="5526"/>
                  <a:pt x="89442" y="5842"/>
                </a:cubicBezTo>
                <a:cubicBezTo>
                  <a:pt x="89888" y="6000"/>
                  <a:pt x="90334" y="6157"/>
                  <a:pt x="90334" y="6157"/>
                </a:cubicBezTo>
                <a:cubicBezTo>
                  <a:pt x="90334" y="6157"/>
                  <a:pt x="90780" y="6631"/>
                  <a:pt x="90557" y="6631"/>
                </a:cubicBezTo>
                <a:cubicBezTo>
                  <a:pt x="90557" y="6789"/>
                  <a:pt x="89219" y="6631"/>
                  <a:pt x="89219" y="6789"/>
                </a:cubicBezTo>
                <a:cubicBezTo>
                  <a:pt x="89219" y="6947"/>
                  <a:pt x="89219" y="7263"/>
                  <a:pt x="89219" y="7421"/>
                </a:cubicBezTo>
                <a:cubicBezTo>
                  <a:pt x="89219" y="7578"/>
                  <a:pt x="89219" y="7894"/>
                  <a:pt x="89219" y="7894"/>
                </a:cubicBezTo>
                <a:cubicBezTo>
                  <a:pt x="89219" y="8052"/>
                  <a:pt x="88327" y="8052"/>
                  <a:pt x="88104" y="8210"/>
                </a:cubicBezTo>
                <a:cubicBezTo>
                  <a:pt x="87657" y="8368"/>
                  <a:pt x="87434" y="8842"/>
                  <a:pt x="87434" y="9157"/>
                </a:cubicBezTo>
                <a:cubicBezTo>
                  <a:pt x="87211" y="9473"/>
                  <a:pt x="87211" y="9789"/>
                  <a:pt x="87211" y="9947"/>
                </a:cubicBezTo>
                <a:cubicBezTo>
                  <a:pt x="87211" y="10105"/>
                  <a:pt x="86765" y="10421"/>
                  <a:pt x="86765" y="10421"/>
                </a:cubicBezTo>
                <a:cubicBezTo>
                  <a:pt x="86765" y="10421"/>
                  <a:pt x="86765" y="10578"/>
                  <a:pt x="86319" y="10421"/>
                </a:cubicBezTo>
                <a:cubicBezTo>
                  <a:pt x="85873" y="10421"/>
                  <a:pt x="84312" y="9789"/>
                  <a:pt x="84089" y="9789"/>
                </a:cubicBezTo>
                <a:cubicBezTo>
                  <a:pt x="83643" y="9789"/>
                  <a:pt x="83197" y="9947"/>
                  <a:pt x="83197" y="10263"/>
                </a:cubicBezTo>
                <a:cubicBezTo>
                  <a:pt x="83197" y="10421"/>
                  <a:pt x="83866" y="10894"/>
                  <a:pt x="84089" y="10894"/>
                </a:cubicBezTo>
                <a:cubicBezTo>
                  <a:pt x="84089" y="10894"/>
                  <a:pt x="85204" y="11052"/>
                  <a:pt x="85427" y="11210"/>
                </a:cubicBezTo>
                <a:cubicBezTo>
                  <a:pt x="85427" y="11368"/>
                  <a:pt x="85427" y="12473"/>
                  <a:pt x="85427" y="12473"/>
                </a:cubicBezTo>
                <a:cubicBezTo>
                  <a:pt x="85427" y="12473"/>
                  <a:pt x="86319" y="13736"/>
                  <a:pt x="84758" y="12631"/>
                </a:cubicBezTo>
                <a:cubicBezTo>
                  <a:pt x="82973" y="11526"/>
                  <a:pt x="82973" y="11368"/>
                  <a:pt x="82750" y="11210"/>
                </a:cubicBezTo>
                <a:cubicBezTo>
                  <a:pt x="82527" y="11210"/>
                  <a:pt x="80966" y="10894"/>
                  <a:pt x="80966" y="10894"/>
                </a:cubicBezTo>
                <a:cubicBezTo>
                  <a:pt x="80966" y="10894"/>
                  <a:pt x="80743" y="10421"/>
                  <a:pt x="80520" y="10894"/>
                </a:cubicBezTo>
                <a:cubicBezTo>
                  <a:pt x="80297" y="11210"/>
                  <a:pt x="80966" y="12000"/>
                  <a:pt x="80966" y="12000"/>
                </a:cubicBezTo>
                <a:cubicBezTo>
                  <a:pt x="80743" y="11842"/>
                  <a:pt x="80743" y="11842"/>
                  <a:pt x="80743" y="11842"/>
                </a:cubicBezTo>
                <a:cubicBezTo>
                  <a:pt x="80743" y="11842"/>
                  <a:pt x="80074" y="11526"/>
                  <a:pt x="79628" y="11368"/>
                </a:cubicBezTo>
                <a:cubicBezTo>
                  <a:pt x="79405" y="11052"/>
                  <a:pt x="78736" y="11368"/>
                  <a:pt x="78736" y="11368"/>
                </a:cubicBezTo>
                <a:cubicBezTo>
                  <a:pt x="78736" y="11368"/>
                  <a:pt x="78513" y="11526"/>
                  <a:pt x="78066" y="11842"/>
                </a:cubicBezTo>
                <a:cubicBezTo>
                  <a:pt x="77843" y="12000"/>
                  <a:pt x="76951" y="11368"/>
                  <a:pt x="77843" y="12157"/>
                </a:cubicBezTo>
                <a:cubicBezTo>
                  <a:pt x="78513" y="12789"/>
                  <a:pt x="79182" y="12947"/>
                  <a:pt x="79405" y="13105"/>
                </a:cubicBezTo>
                <a:cubicBezTo>
                  <a:pt x="79405" y="13105"/>
                  <a:pt x="80297" y="13263"/>
                  <a:pt x="80520" y="13421"/>
                </a:cubicBezTo>
                <a:cubicBezTo>
                  <a:pt x="80743" y="13578"/>
                  <a:pt x="80743" y="14052"/>
                  <a:pt x="80743" y="14210"/>
                </a:cubicBezTo>
                <a:cubicBezTo>
                  <a:pt x="80743" y="14210"/>
                  <a:pt x="81412" y="14842"/>
                  <a:pt x="80297" y="14368"/>
                </a:cubicBezTo>
                <a:cubicBezTo>
                  <a:pt x="79182" y="13736"/>
                  <a:pt x="79182" y="13578"/>
                  <a:pt x="78736" y="13578"/>
                </a:cubicBezTo>
                <a:cubicBezTo>
                  <a:pt x="78513" y="13578"/>
                  <a:pt x="78066" y="13894"/>
                  <a:pt x="78066" y="13894"/>
                </a:cubicBezTo>
                <a:cubicBezTo>
                  <a:pt x="78066" y="13894"/>
                  <a:pt x="76728" y="13736"/>
                  <a:pt x="76728" y="13263"/>
                </a:cubicBezTo>
                <a:cubicBezTo>
                  <a:pt x="76505" y="12789"/>
                  <a:pt x="76951" y="12000"/>
                  <a:pt x="76059" y="12157"/>
                </a:cubicBezTo>
                <a:cubicBezTo>
                  <a:pt x="74944" y="12157"/>
                  <a:pt x="74721" y="12473"/>
                  <a:pt x="74721" y="12631"/>
                </a:cubicBezTo>
                <a:cubicBezTo>
                  <a:pt x="74721" y="12789"/>
                  <a:pt x="74052" y="12947"/>
                  <a:pt x="74721" y="13421"/>
                </a:cubicBezTo>
                <a:cubicBezTo>
                  <a:pt x="75390" y="13894"/>
                  <a:pt x="75836" y="14210"/>
                  <a:pt x="76059" y="14210"/>
                </a:cubicBezTo>
                <a:cubicBezTo>
                  <a:pt x="76059" y="14210"/>
                  <a:pt x="77397" y="14210"/>
                  <a:pt x="76728" y="14368"/>
                </a:cubicBezTo>
                <a:cubicBezTo>
                  <a:pt x="76282" y="14684"/>
                  <a:pt x="75390" y="14684"/>
                  <a:pt x="75167" y="14684"/>
                </a:cubicBezTo>
                <a:cubicBezTo>
                  <a:pt x="74944" y="14684"/>
                  <a:pt x="75167" y="14526"/>
                  <a:pt x="74944" y="14684"/>
                </a:cubicBezTo>
                <a:cubicBezTo>
                  <a:pt x="74498" y="14842"/>
                  <a:pt x="73382" y="15631"/>
                  <a:pt x="73382" y="15631"/>
                </a:cubicBezTo>
                <a:cubicBezTo>
                  <a:pt x="73382" y="15631"/>
                  <a:pt x="73159" y="15315"/>
                  <a:pt x="73159" y="15157"/>
                </a:cubicBezTo>
                <a:cubicBezTo>
                  <a:pt x="73159" y="15000"/>
                  <a:pt x="74052" y="14684"/>
                  <a:pt x="74052" y="14368"/>
                </a:cubicBezTo>
                <a:cubicBezTo>
                  <a:pt x="74052" y="14052"/>
                  <a:pt x="73605" y="12947"/>
                  <a:pt x="73605" y="12947"/>
                </a:cubicBezTo>
                <a:cubicBezTo>
                  <a:pt x="73605" y="12947"/>
                  <a:pt x="72713" y="12631"/>
                  <a:pt x="72713" y="12631"/>
                </a:cubicBezTo>
                <a:cubicBezTo>
                  <a:pt x="72490" y="12473"/>
                  <a:pt x="71821" y="12157"/>
                  <a:pt x="71598" y="12315"/>
                </a:cubicBezTo>
                <a:cubicBezTo>
                  <a:pt x="71375" y="12473"/>
                  <a:pt x="70929" y="12947"/>
                  <a:pt x="71375" y="13263"/>
                </a:cubicBezTo>
                <a:cubicBezTo>
                  <a:pt x="71821" y="13736"/>
                  <a:pt x="72267" y="14052"/>
                  <a:pt x="72044" y="14052"/>
                </a:cubicBezTo>
                <a:cubicBezTo>
                  <a:pt x="71598" y="14210"/>
                  <a:pt x="71375" y="14368"/>
                  <a:pt x="71152" y="14210"/>
                </a:cubicBezTo>
                <a:cubicBezTo>
                  <a:pt x="70929" y="14210"/>
                  <a:pt x="70483" y="13894"/>
                  <a:pt x="69814" y="14052"/>
                </a:cubicBezTo>
                <a:cubicBezTo>
                  <a:pt x="69144" y="14210"/>
                  <a:pt x="68475" y="15157"/>
                  <a:pt x="68475" y="15157"/>
                </a:cubicBezTo>
                <a:cubicBezTo>
                  <a:pt x="68475" y="15157"/>
                  <a:pt x="69144" y="16105"/>
                  <a:pt x="69368" y="16263"/>
                </a:cubicBezTo>
                <a:cubicBezTo>
                  <a:pt x="69591" y="16263"/>
                  <a:pt x="69814" y="16578"/>
                  <a:pt x="69814" y="16894"/>
                </a:cubicBezTo>
                <a:cubicBezTo>
                  <a:pt x="69591" y="17210"/>
                  <a:pt x="69814" y="16736"/>
                  <a:pt x="69368" y="16894"/>
                </a:cubicBezTo>
                <a:cubicBezTo>
                  <a:pt x="68698" y="17052"/>
                  <a:pt x="68475" y="17210"/>
                  <a:pt x="68029" y="17210"/>
                </a:cubicBezTo>
                <a:cubicBezTo>
                  <a:pt x="67583" y="17210"/>
                  <a:pt x="66468" y="18157"/>
                  <a:pt x="66468" y="18157"/>
                </a:cubicBezTo>
                <a:cubicBezTo>
                  <a:pt x="67137" y="18789"/>
                  <a:pt x="67137" y="18789"/>
                  <a:pt x="67137" y="18789"/>
                </a:cubicBezTo>
                <a:cubicBezTo>
                  <a:pt x="67137" y="18789"/>
                  <a:pt x="65353" y="19263"/>
                  <a:pt x="64907" y="19421"/>
                </a:cubicBezTo>
                <a:cubicBezTo>
                  <a:pt x="64684" y="19421"/>
                  <a:pt x="65576" y="19263"/>
                  <a:pt x="64460" y="19421"/>
                </a:cubicBezTo>
                <a:cubicBezTo>
                  <a:pt x="63568" y="19736"/>
                  <a:pt x="62899" y="20368"/>
                  <a:pt x="62676" y="20684"/>
                </a:cubicBezTo>
                <a:cubicBezTo>
                  <a:pt x="62676" y="20842"/>
                  <a:pt x="61784" y="20842"/>
                  <a:pt x="61784" y="21315"/>
                </a:cubicBezTo>
                <a:cubicBezTo>
                  <a:pt x="61784" y="21631"/>
                  <a:pt x="62007" y="22263"/>
                  <a:pt x="61784" y="22421"/>
                </a:cubicBezTo>
                <a:cubicBezTo>
                  <a:pt x="61784" y="22578"/>
                  <a:pt x="61784" y="22578"/>
                  <a:pt x="61784" y="22894"/>
                </a:cubicBezTo>
                <a:cubicBezTo>
                  <a:pt x="61784" y="23210"/>
                  <a:pt x="61561" y="23526"/>
                  <a:pt x="62230" y="23526"/>
                </a:cubicBezTo>
                <a:cubicBezTo>
                  <a:pt x="62899" y="23526"/>
                  <a:pt x="63791" y="23210"/>
                  <a:pt x="64014" y="23052"/>
                </a:cubicBezTo>
                <a:cubicBezTo>
                  <a:pt x="64014" y="22894"/>
                  <a:pt x="64237" y="22263"/>
                  <a:pt x="64460" y="22578"/>
                </a:cubicBezTo>
                <a:cubicBezTo>
                  <a:pt x="64907" y="22736"/>
                  <a:pt x="64907" y="23368"/>
                  <a:pt x="64907" y="23368"/>
                </a:cubicBezTo>
                <a:cubicBezTo>
                  <a:pt x="64907" y="23368"/>
                  <a:pt x="64907" y="24000"/>
                  <a:pt x="64907" y="24157"/>
                </a:cubicBezTo>
                <a:cubicBezTo>
                  <a:pt x="64684" y="24473"/>
                  <a:pt x="66245" y="24157"/>
                  <a:pt x="64684" y="24631"/>
                </a:cubicBezTo>
                <a:cubicBezTo>
                  <a:pt x="63122" y="25263"/>
                  <a:pt x="62676" y="25263"/>
                  <a:pt x="62676" y="25421"/>
                </a:cubicBezTo>
                <a:cubicBezTo>
                  <a:pt x="62676" y="25736"/>
                  <a:pt x="63568" y="26526"/>
                  <a:pt x="62453" y="26210"/>
                </a:cubicBezTo>
                <a:cubicBezTo>
                  <a:pt x="61338" y="26052"/>
                  <a:pt x="61338" y="26210"/>
                  <a:pt x="61338" y="26052"/>
                </a:cubicBezTo>
                <a:cubicBezTo>
                  <a:pt x="61115" y="25894"/>
                  <a:pt x="61561" y="26842"/>
                  <a:pt x="60223" y="25421"/>
                </a:cubicBezTo>
                <a:cubicBezTo>
                  <a:pt x="58884" y="24000"/>
                  <a:pt x="58884" y="24157"/>
                  <a:pt x="58884" y="23842"/>
                </a:cubicBezTo>
                <a:cubicBezTo>
                  <a:pt x="58884" y="23526"/>
                  <a:pt x="58661" y="22421"/>
                  <a:pt x="58661" y="22421"/>
                </a:cubicBezTo>
                <a:cubicBezTo>
                  <a:pt x="58661" y="22421"/>
                  <a:pt x="58438" y="21315"/>
                  <a:pt x="57769" y="21789"/>
                </a:cubicBezTo>
                <a:cubicBezTo>
                  <a:pt x="56877" y="22263"/>
                  <a:pt x="56877" y="23052"/>
                  <a:pt x="56877" y="23052"/>
                </a:cubicBezTo>
                <a:cubicBezTo>
                  <a:pt x="56877" y="23052"/>
                  <a:pt x="55762" y="23842"/>
                  <a:pt x="55539" y="24000"/>
                </a:cubicBezTo>
                <a:cubicBezTo>
                  <a:pt x="55315" y="24000"/>
                  <a:pt x="54869" y="24000"/>
                  <a:pt x="54200" y="24315"/>
                </a:cubicBezTo>
                <a:cubicBezTo>
                  <a:pt x="53754" y="24789"/>
                  <a:pt x="52193" y="26368"/>
                  <a:pt x="52193" y="26368"/>
                </a:cubicBezTo>
                <a:cubicBezTo>
                  <a:pt x="52193" y="26368"/>
                  <a:pt x="51301" y="27473"/>
                  <a:pt x="51524" y="27789"/>
                </a:cubicBezTo>
                <a:cubicBezTo>
                  <a:pt x="51747" y="28105"/>
                  <a:pt x="52416" y="28578"/>
                  <a:pt x="52416" y="28578"/>
                </a:cubicBezTo>
                <a:cubicBezTo>
                  <a:pt x="52416" y="28578"/>
                  <a:pt x="52639" y="28421"/>
                  <a:pt x="52639" y="28894"/>
                </a:cubicBezTo>
                <a:cubicBezTo>
                  <a:pt x="52639" y="29368"/>
                  <a:pt x="53754" y="29526"/>
                  <a:pt x="53754" y="29526"/>
                </a:cubicBezTo>
                <a:cubicBezTo>
                  <a:pt x="53754" y="29526"/>
                  <a:pt x="54200" y="29684"/>
                  <a:pt x="53754" y="30000"/>
                </a:cubicBezTo>
                <a:cubicBezTo>
                  <a:pt x="53085" y="30315"/>
                  <a:pt x="51301" y="30473"/>
                  <a:pt x="51301" y="30473"/>
                </a:cubicBezTo>
                <a:cubicBezTo>
                  <a:pt x="49516" y="30473"/>
                  <a:pt x="49516" y="30473"/>
                  <a:pt x="49516" y="30473"/>
                </a:cubicBezTo>
                <a:cubicBezTo>
                  <a:pt x="49516" y="30473"/>
                  <a:pt x="48624" y="31263"/>
                  <a:pt x="48401" y="31263"/>
                </a:cubicBezTo>
                <a:cubicBezTo>
                  <a:pt x="47955" y="31421"/>
                  <a:pt x="47286" y="31736"/>
                  <a:pt x="47063" y="32210"/>
                </a:cubicBezTo>
                <a:cubicBezTo>
                  <a:pt x="47063" y="32526"/>
                  <a:pt x="45055" y="33789"/>
                  <a:pt x="45055" y="33789"/>
                </a:cubicBezTo>
                <a:cubicBezTo>
                  <a:pt x="45055" y="33789"/>
                  <a:pt x="45055" y="34263"/>
                  <a:pt x="45055" y="34421"/>
                </a:cubicBezTo>
                <a:cubicBezTo>
                  <a:pt x="45055" y="34578"/>
                  <a:pt x="44163" y="34894"/>
                  <a:pt x="44609" y="35052"/>
                </a:cubicBezTo>
                <a:cubicBezTo>
                  <a:pt x="45055" y="35210"/>
                  <a:pt x="45724" y="35368"/>
                  <a:pt x="46171" y="34736"/>
                </a:cubicBezTo>
                <a:cubicBezTo>
                  <a:pt x="46617" y="34263"/>
                  <a:pt x="46617" y="33473"/>
                  <a:pt x="46617" y="33473"/>
                </a:cubicBezTo>
                <a:cubicBezTo>
                  <a:pt x="46617" y="33473"/>
                  <a:pt x="47063" y="33157"/>
                  <a:pt x="47509" y="33157"/>
                </a:cubicBezTo>
                <a:cubicBezTo>
                  <a:pt x="48178" y="33157"/>
                  <a:pt x="48847" y="32684"/>
                  <a:pt x="49516" y="32526"/>
                </a:cubicBezTo>
                <a:cubicBezTo>
                  <a:pt x="50185" y="32526"/>
                  <a:pt x="51078" y="31736"/>
                  <a:pt x="51301" y="31736"/>
                </a:cubicBezTo>
                <a:cubicBezTo>
                  <a:pt x="51747" y="31736"/>
                  <a:pt x="51524" y="31894"/>
                  <a:pt x="52416" y="31736"/>
                </a:cubicBezTo>
                <a:cubicBezTo>
                  <a:pt x="53308" y="31736"/>
                  <a:pt x="54200" y="31736"/>
                  <a:pt x="54423" y="31578"/>
                </a:cubicBezTo>
                <a:cubicBezTo>
                  <a:pt x="54869" y="31421"/>
                  <a:pt x="56654" y="32210"/>
                  <a:pt x="56877" y="32368"/>
                </a:cubicBezTo>
                <a:cubicBezTo>
                  <a:pt x="56877" y="32526"/>
                  <a:pt x="55315" y="32684"/>
                  <a:pt x="55985" y="33000"/>
                </a:cubicBezTo>
                <a:cubicBezTo>
                  <a:pt x="56877" y="33315"/>
                  <a:pt x="56877" y="33473"/>
                  <a:pt x="57100" y="33473"/>
                </a:cubicBezTo>
                <a:cubicBezTo>
                  <a:pt x="57323" y="33473"/>
                  <a:pt x="57769" y="33315"/>
                  <a:pt x="58438" y="33157"/>
                </a:cubicBezTo>
                <a:cubicBezTo>
                  <a:pt x="58884" y="32842"/>
                  <a:pt x="57992" y="32368"/>
                  <a:pt x="59330" y="32684"/>
                </a:cubicBezTo>
                <a:cubicBezTo>
                  <a:pt x="60446" y="33000"/>
                  <a:pt x="60446" y="33315"/>
                  <a:pt x="60446" y="33315"/>
                </a:cubicBezTo>
                <a:cubicBezTo>
                  <a:pt x="60223" y="33631"/>
                  <a:pt x="60223" y="33631"/>
                  <a:pt x="60223" y="33631"/>
                </a:cubicBezTo>
                <a:cubicBezTo>
                  <a:pt x="59330" y="33789"/>
                  <a:pt x="59330" y="33789"/>
                  <a:pt x="59330" y="33789"/>
                </a:cubicBezTo>
                <a:cubicBezTo>
                  <a:pt x="57992" y="33631"/>
                  <a:pt x="57992" y="33631"/>
                  <a:pt x="57992" y="33631"/>
                </a:cubicBezTo>
                <a:cubicBezTo>
                  <a:pt x="57100" y="33947"/>
                  <a:pt x="57100" y="33947"/>
                  <a:pt x="57100" y="33947"/>
                </a:cubicBezTo>
                <a:cubicBezTo>
                  <a:pt x="57100" y="33947"/>
                  <a:pt x="56877" y="34105"/>
                  <a:pt x="56654" y="34105"/>
                </a:cubicBezTo>
                <a:cubicBezTo>
                  <a:pt x="56654" y="34105"/>
                  <a:pt x="54646" y="34263"/>
                  <a:pt x="54646" y="34263"/>
                </a:cubicBezTo>
                <a:cubicBezTo>
                  <a:pt x="53754" y="35210"/>
                  <a:pt x="53754" y="35210"/>
                  <a:pt x="53754" y="35210"/>
                </a:cubicBezTo>
                <a:cubicBezTo>
                  <a:pt x="53754" y="35210"/>
                  <a:pt x="54423" y="35842"/>
                  <a:pt x="54423" y="35842"/>
                </a:cubicBezTo>
                <a:cubicBezTo>
                  <a:pt x="54646" y="35842"/>
                  <a:pt x="55985" y="35526"/>
                  <a:pt x="55985" y="35684"/>
                </a:cubicBezTo>
                <a:cubicBezTo>
                  <a:pt x="56208" y="35684"/>
                  <a:pt x="56431" y="36000"/>
                  <a:pt x="56208" y="36157"/>
                </a:cubicBezTo>
                <a:cubicBezTo>
                  <a:pt x="56208" y="36315"/>
                  <a:pt x="55315" y="36789"/>
                  <a:pt x="55315" y="36789"/>
                </a:cubicBezTo>
                <a:cubicBezTo>
                  <a:pt x="54869" y="37421"/>
                  <a:pt x="54869" y="37421"/>
                  <a:pt x="54869" y="37421"/>
                </a:cubicBezTo>
                <a:cubicBezTo>
                  <a:pt x="54869" y="37421"/>
                  <a:pt x="55762" y="37578"/>
                  <a:pt x="55985" y="37578"/>
                </a:cubicBezTo>
                <a:cubicBezTo>
                  <a:pt x="55985" y="37578"/>
                  <a:pt x="57323" y="37578"/>
                  <a:pt x="57100" y="37736"/>
                </a:cubicBezTo>
                <a:cubicBezTo>
                  <a:pt x="57100" y="37736"/>
                  <a:pt x="55092" y="37894"/>
                  <a:pt x="55092" y="37894"/>
                </a:cubicBezTo>
                <a:cubicBezTo>
                  <a:pt x="55092" y="37894"/>
                  <a:pt x="53308" y="37736"/>
                  <a:pt x="53531" y="37736"/>
                </a:cubicBezTo>
                <a:cubicBezTo>
                  <a:pt x="53531" y="37894"/>
                  <a:pt x="53308" y="38210"/>
                  <a:pt x="53308" y="38368"/>
                </a:cubicBezTo>
                <a:cubicBezTo>
                  <a:pt x="53308" y="38368"/>
                  <a:pt x="52862" y="38842"/>
                  <a:pt x="52862" y="38842"/>
                </a:cubicBezTo>
                <a:cubicBezTo>
                  <a:pt x="52639" y="38842"/>
                  <a:pt x="52193" y="38842"/>
                  <a:pt x="51970" y="39000"/>
                </a:cubicBezTo>
                <a:cubicBezTo>
                  <a:pt x="51970" y="39157"/>
                  <a:pt x="51747" y="39473"/>
                  <a:pt x="51747" y="39789"/>
                </a:cubicBezTo>
                <a:cubicBezTo>
                  <a:pt x="51747" y="39947"/>
                  <a:pt x="52416" y="40421"/>
                  <a:pt x="52416" y="40421"/>
                </a:cubicBezTo>
                <a:cubicBezTo>
                  <a:pt x="52193" y="40736"/>
                  <a:pt x="52193" y="40736"/>
                  <a:pt x="52193" y="40736"/>
                </a:cubicBezTo>
                <a:cubicBezTo>
                  <a:pt x="51301" y="41368"/>
                  <a:pt x="51301" y="41368"/>
                  <a:pt x="51301" y="41368"/>
                </a:cubicBezTo>
                <a:cubicBezTo>
                  <a:pt x="51301" y="41368"/>
                  <a:pt x="50855" y="41526"/>
                  <a:pt x="50855" y="41684"/>
                </a:cubicBezTo>
                <a:cubicBezTo>
                  <a:pt x="51078" y="41684"/>
                  <a:pt x="50185" y="42000"/>
                  <a:pt x="50185" y="42000"/>
                </a:cubicBezTo>
                <a:cubicBezTo>
                  <a:pt x="48624" y="42631"/>
                  <a:pt x="48624" y="42631"/>
                  <a:pt x="48624" y="42631"/>
                </a:cubicBezTo>
                <a:cubicBezTo>
                  <a:pt x="48624" y="42631"/>
                  <a:pt x="48847" y="43105"/>
                  <a:pt x="48847" y="43263"/>
                </a:cubicBezTo>
                <a:cubicBezTo>
                  <a:pt x="48847" y="43263"/>
                  <a:pt x="49516" y="43578"/>
                  <a:pt x="49070" y="43894"/>
                </a:cubicBezTo>
                <a:cubicBezTo>
                  <a:pt x="48624" y="44052"/>
                  <a:pt x="48178" y="44210"/>
                  <a:pt x="47955" y="44368"/>
                </a:cubicBezTo>
                <a:cubicBezTo>
                  <a:pt x="47955" y="44368"/>
                  <a:pt x="47509" y="44526"/>
                  <a:pt x="47509" y="45000"/>
                </a:cubicBezTo>
                <a:cubicBezTo>
                  <a:pt x="47732" y="45315"/>
                  <a:pt x="47286" y="45789"/>
                  <a:pt x="47063" y="45789"/>
                </a:cubicBezTo>
                <a:cubicBezTo>
                  <a:pt x="47063" y="45789"/>
                  <a:pt x="46617" y="45947"/>
                  <a:pt x="46617" y="46421"/>
                </a:cubicBezTo>
                <a:cubicBezTo>
                  <a:pt x="46840" y="46736"/>
                  <a:pt x="46617" y="47842"/>
                  <a:pt x="46617" y="47842"/>
                </a:cubicBezTo>
                <a:cubicBezTo>
                  <a:pt x="46617" y="47842"/>
                  <a:pt x="47286" y="48473"/>
                  <a:pt x="47509" y="48473"/>
                </a:cubicBezTo>
                <a:cubicBezTo>
                  <a:pt x="47509" y="48473"/>
                  <a:pt x="48624" y="48157"/>
                  <a:pt x="48847" y="48315"/>
                </a:cubicBezTo>
                <a:cubicBezTo>
                  <a:pt x="49293" y="48315"/>
                  <a:pt x="49962" y="48631"/>
                  <a:pt x="49962" y="48631"/>
                </a:cubicBezTo>
                <a:cubicBezTo>
                  <a:pt x="49962" y="48631"/>
                  <a:pt x="49739" y="49421"/>
                  <a:pt x="49516" y="49578"/>
                </a:cubicBezTo>
                <a:cubicBezTo>
                  <a:pt x="49293" y="49578"/>
                  <a:pt x="47955" y="49736"/>
                  <a:pt x="47955" y="49736"/>
                </a:cubicBezTo>
                <a:cubicBezTo>
                  <a:pt x="47955" y="49736"/>
                  <a:pt x="47286" y="49421"/>
                  <a:pt x="47063" y="49421"/>
                </a:cubicBezTo>
                <a:cubicBezTo>
                  <a:pt x="46840" y="49578"/>
                  <a:pt x="45724" y="50368"/>
                  <a:pt x="45724" y="50368"/>
                </a:cubicBezTo>
                <a:cubicBezTo>
                  <a:pt x="45724" y="50368"/>
                  <a:pt x="45724" y="50842"/>
                  <a:pt x="45501" y="50842"/>
                </a:cubicBezTo>
                <a:cubicBezTo>
                  <a:pt x="45055" y="51000"/>
                  <a:pt x="44832" y="50684"/>
                  <a:pt x="44832" y="51000"/>
                </a:cubicBezTo>
                <a:cubicBezTo>
                  <a:pt x="44832" y="51157"/>
                  <a:pt x="44832" y="51631"/>
                  <a:pt x="44832" y="51789"/>
                </a:cubicBezTo>
                <a:cubicBezTo>
                  <a:pt x="44832" y="52105"/>
                  <a:pt x="44832" y="52578"/>
                  <a:pt x="44832" y="52578"/>
                </a:cubicBezTo>
                <a:cubicBezTo>
                  <a:pt x="44832" y="52578"/>
                  <a:pt x="44386" y="53210"/>
                  <a:pt x="44163" y="53526"/>
                </a:cubicBezTo>
                <a:cubicBezTo>
                  <a:pt x="43940" y="53842"/>
                  <a:pt x="43494" y="54631"/>
                  <a:pt x="43494" y="54789"/>
                </a:cubicBezTo>
                <a:cubicBezTo>
                  <a:pt x="43717" y="54947"/>
                  <a:pt x="44163" y="55736"/>
                  <a:pt x="44163" y="55736"/>
                </a:cubicBezTo>
                <a:cubicBezTo>
                  <a:pt x="42602" y="56368"/>
                  <a:pt x="42602" y="56368"/>
                  <a:pt x="42602" y="56368"/>
                </a:cubicBezTo>
                <a:cubicBezTo>
                  <a:pt x="43048" y="57157"/>
                  <a:pt x="43048" y="57157"/>
                  <a:pt x="43048" y="57157"/>
                </a:cubicBezTo>
                <a:cubicBezTo>
                  <a:pt x="43048" y="57157"/>
                  <a:pt x="43271" y="57157"/>
                  <a:pt x="43271" y="57315"/>
                </a:cubicBezTo>
                <a:cubicBezTo>
                  <a:pt x="43271" y="57631"/>
                  <a:pt x="42156" y="58105"/>
                  <a:pt x="42156" y="58105"/>
                </a:cubicBezTo>
                <a:cubicBezTo>
                  <a:pt x="42156" y="58105"/>
                  <a:pt x="42156" y="58894"/>
                  <a:pt x="42156" y="59052"/>
                </a:cubicBezTo>
                <a:cubicBezTo>
                  <a:pt x="42156" y="59210"/>
                  <a:pt x="41040" y="58578"/>
                  <a:pt x="41040" y="58578"/>
                </a:cubicBezTo>
                <a:cubicBezTo>
                  <a:pt x="40148" y="58736"/>
                  <a:pt x="40148" y="58736"/>
                  <a:pt x="40148" y="58736"/>
                </a:cubicBezTo>
                <a:cubicBezTo>
                  <a:pt x="40148" y="59368"/>
                  <a:pt x="40148" y="59368"/>
                  <a:pt x="40148" y="59368"/>
                </a:cubicBezTo>
                <a:cubicBezTo>
                  <a:pt x="39702" y="60000"/>
                  <a:pt x="39702" y="60000"/>
                  <a:pt x="39702" y="60000"/>
                </a:cubicBezTo>
                <a:cubicBezTo>
                  <a:pt x="38141" y="60000"/>
                  <a:pt x="38141" y="60000"/>
                  <a:pt x="38141" y="60000"/>
                </a:cubicBezTo>
                <a:cubicBezTo>
                  <a:pt x="38141" y="60000"/>
                  <a:pt x="36802" y="60631"/>
                  <a:pt x="36802" y="60631"/>
                </a:cubicBezTo>
                <a:cubicBezTo>
                  <a:pt x="37026" y="60789"/>
                  <a:pt x="36356" y="61263"/>
                  <a:pt x="37026" y="61263"/>
                </a:cubicBezTo>
                <a:cubicBezTo>
                  <a:pt x="37472" y="61263"/>
                  <a:pt x="37695" y="61263"/>
                  <a:pt x="37918" y="61263"/>
                </a:cubicBezTo>
                <a:cubicBezTo>
                  <a:pt x="38364" y="61105"/>
                  <a:pt x="39256" y="60789"/>
                  <a:pt x="39479" y="60789"/>
                </a:cubicBezTo>
                <a:cubicBezTo>
                  <a:pt x="39702" y="60789"/>
                  <a:pt x="40371" y="60789"/>
                  <a:pt x="39925" y="61105"/>
                </a:cubicBezTo>
                <a:cubicBezTo>
                  <a:pt x="39479" y="61421"/>
                  <a:pt x="39033" y="61421"/>
                  <a:pt x="38810" y="61578"/>
                </a:cubicBezTo>
                <a:cubicBezTo>
                  <a:pt x="38364" y="61736"/>
                  <a:pt x="37695" y="61736"/>
                  <a:pt x="37695" y="62210"/>
                </a:cubicBezTo>
                <a:cubicBezTo>
                  <a:pt x="37695" y="62684"/>
                  <a:pt x="37472" y="63157"/>
                  <a:pt x="37472" y="63157"/>
                </a:cubicBezTo>
                <a:cubicBezTo>
                  <a:pt x="39033" y="62842"/>
                  <a:pt x="39033" y="62842"/>
                  <a:pt x="39033" y="62842"/>
                </a:cubicBezTo>
                <a:cubicBezTo>
                  <a:pt x="39033" y="62842"/>
                  <a:pt x="39479" y="62684"/>
                  <a:pt x="39479" y="63157"/>
                </a:cubicBezTo>
                <a:cubicBezTo>
                  <a:pt x="39702" y="63789"/>
                  <a:pt x="39033" y="63947"/>
                  <a:pt x="38587" y="63947"/>
                </a:cubicBezTo>
                <a:cubicBezTo>
                  <a:pt x="38364" y="63947"/>
                  <a:pt x="37249" y="63315"/>
                  <a:pt x="37249" y="63315"/>
                </a:cubicBezTo>
                <a:cubicBezTo>
                  <a:pt x="36356" y="63789"/>
                  <a:pt x="36356" y="63789"/>
                  <a:pt x="36356" y="63789"/>
                </a:cubicBezTo>
                <a:cubicBezTo>
                  <a:pt x="36356" y="63789"/>
                  <a:pt x="36133" y="63631"/>
                  <a:pt x="35241" y="64105"/>
                </a:cubicBezTo>
                <a:cubicBezTo>
                  <a:pt x="34349" y="64736"/>
                  <a:pt x="33903" y="65526"/>
                  <a:pt x="33903" y="65684"/>
                </a:cubicBezTo>
                <a:cubicBezTo>
                  <a:pt x="33903" y="65842"/>
                  <a:pt x="33903" y="66157"/>
                  <a:pt x="33234" y="66473"/>
                </a:cubicBezTo>
                <a:cubicBezTo>
                  <a:pt x="32788" y="66631"/>
                  <a:pt x="32118" y="67105"/>
                  <a:pt x="32118" y="67105"/>
                </a:cubicBezTo>
                <a:cubicBezTo>
                  <a:pt x="32118" y="67105"/>
                  <a:pt x="31895" y="67578"/>
                  <a:pt x="31672" y="67894"/>
                </a:cubicBezTo>
                <a:cubicBezTo>
                  <a:pt x="31449" y="68210"/>
                  <a:pt x="31449" y="68210"/>
                  <a:pt x="31449" y="68210"/>
                </a:cubicBezTo>
                <a:cubicBezTo>
                  <a:pt x="32342" y="68842"/>
                  <a:pt x="32342" y="68842"/>
                  <a:pt x="32342" y="68842"/>
                </a:cubicBezTo>
                <a:cubicBezTo>
                  <a:pt x="30780" y="69473"/>
                  <a:pt x="30780" y="69473"/>
                  <a:pt x="30780" y="69473"/>
                </a:cubicBezTo>
                <a:cubicBezTo>
                  <a:pt x="30111" y="69789"/>
                  <a:pt x="30111" y="69789"/>
                  <a:pt x="30111" y="69789"/>
                </a:cubicBezTo>
                <a:cubicBezTo>
                  <a:pt x="30111" y="69789"/>
                  <a:pt x="28773" y="70736"/>
                  <a:pt x="29665" y="70894"/>
                </a:cubicBezTo>
                <a:cubicBezTo>
                  <a:pt x="30780" y="71052"/>
                  <a:pt x="31449" y="71052"/>
                  <a:pt x="31449" y="71052"/>
                </a:cubicBezTo>
                <a:cubicBezTo>
                  <a:pt x="31449" y="71052"/>
                  <a:pt x="31226" y="72000"/>
                  <a:pt x="31449" y="72000"/>
                </a:cubicBezTo>
                <a:cubicBezTo>
                  <a:pt x="31672" y="72000"/>
                  <a:pt x="33680" y="72000"/>
                  <a:pt x="33680" y="72000"/>
                </a:cubicBezTo>
                <a:cubicBezTo>
                  <a:pt x="34795" y="71368"/>
                  <a:pt x="34795" y="71368"/>
                  <a:pt x="34795" y="71368"/>
                </a:cubicBezTo>
                <a:cubicBezTo>
                  <a:pt x="35464" y="71052"/>
                  <a:pt x="35464" y="71052"/>
                  <a:pt x="35464" y="71052"/>
                </a:cubicBezTo>
                <a:cubicBezTo>
                  <a:pt x="35910" y="71684"/>
                  <a:pt x="35910" y="71684"/>
                  <a:pt x="35910" y="71684"/>
                </a:cubicBezTo>
                <a:cubicBezTo>
                  <a:pt x="35910" y="71684"/>
                  <a:pt x="35464" y="72157"/>
                  <a:pt x="35018" y="72157"/>
                </a:cubicBezTo>
                <a:cubicBezTo>
                  <a:pt x="34349" y="72157"/>
                  <a:pt x="34572" y="72157"/>
                  <a:pt x="34126" y="72473"/>
                </a:cubicBezTo>
                <a:cubicBezTo>
                  <a:pt x="33457" y="72947"/>
                  <a:pt x="33234" y="73105"/>
                  <a:pt x="32788" y="73105"/>
                </a:cubicBezTo>
                <a:cubicBezTo>
                  <a:pt x="32565" y="73105"/>
                  <a:pt x="32118" y="73578"/>
                  <a:pt x="31672" y="72947"/>
                </a:cubicBezTo>
                <a:cubicBezTo>
                  <a:pt x="31449" y="72473"/>
                  <a:pt x="31003" y="72000"/>
                  <a:pt x="31003" y="72000"/>
                </a:cubicBezTo>
                <a:cubicBezTo>
                  <a:pt x="28996" y="71368"/>
                  <a:pt x="28996" y="71368"/>
                  <a:pt x="28996" y="71368"/>
                </a:cubicBezTo>
                <a:cubicBezTo>
                  <a:pt x="28550" y="71526"/>
                  <a:pt x="28550" y="71526"/>
                  <a:pt x="28550" y="71526"/>
                </a:cubicBezTo>
                <a:cubicBezTo>
                  <a:pt x="28550" y="71526"/>
                  <a:pt x="28327" y="72157"/>
                  <a:pt x="28104" y="72157"/>
                </a:cubicBezTo>
                <a:cubicBezTo>
                  <a:pt x="27881" y="72157"/>
                  <a:pt x="26542" y="72157"/>
                  <a:pt x="26096" y="72157"/>
                </a:cubicBezTo>
                <a:cubicBezTo>
                  <a:pt x="25873" y="72157"/>
                  <a:pt x="25427" y="72157"/>
                  <a:pt x="25427" y="72000"/>
                </a:cubicBezTo>
                <a:cubicBezTo>
                  <a:pt x="25204" y="71684"/>
                  <a:pt x="25427" y="71684"/>
                  <a:pt x="25204" y="71526"/>
                </a:cubicBezTo>
                <a:cubicBezTo>
                  <a:pt x="24981" y="71368"/>
                  <a:pt x="24535" y="70736"/>
                  <a:pt x="24089" y="70894"/>
                </a:cubicBezTo>
                <a:cubicBezTo>
                  <a:pt x="23866" y="70894"/>
                  <a:pt x="22750" y="71210"/>
                  <a:pt x="22750" y="71210"/>
                </a:cubicBezTo>
                <a:cubicBezTo>
                  <a:pt x="22527" y="72473"/>
                  <a:pt x="22527" y="72473"/>
                  <a:pt x="22527" y="72473"/>
                </a:cubicBezTo>
                <a:cubicBezTo>
                  <a:pt x="22527" y="72473"/>
                  <a:pt x="21858" y="72473"/>
                  <a:pt x="22081" y="72789"/>
                </a:cubicBezTo>
                <a:cubicBezTo>
                  <a:pt x="22081" y="73105"/>
                  <a:pt x="22973" y="73421"/>
                  <a:pt x="22973" y="73421"/>
                </a:cubicBezTo>
                <a:cubicBezTo>
                  <a:pt x="22973" y="73421"/>
                  <a:pt x="23420" y="73736"/>
                  <a:pt x="23420" y="73894"/>
                </a:cubicBezTo>
                <a:cubicBezTo>
                  <a:pt x="23643" y="74210"/>
                  <a:pt x="22973" y="74526"/>
                  <a:pt x="22973" y="74526"/>
                </a:cubicBezTo>
                <a:cubicBezTo>
                  <a:pt x="22973" y="74526"/>
                  <a:pt x="21858" y="74526"/>
                  <a:pt x="21635" y="74842"/>
                </a:cubicBezTo>
                <a:cubicBezTo>
                  <a:pt x="21635" y="75000"/>
                  <a:pt x="21858" y="75473"/>
                  <a:pt x="21635" y="75473"/>
                </a:cubicBezTo>
                <a:cubicBezTo>
                  <a:pt x="21412" y="75631"/>
                  <a:pt x="21189" y="75947"/>
                  <a:pt x="21189" y="76105"/>
                </a:cubicBezTo>
                <a:cubicBezTo>
                  <a:pt x="21189" y="76105"/>
                  <a:pt x="21635" y="76894"/>
                  <a:pt x="21635" y="76894"/>
                </a:cubicBezTo>
                <a:cubicBezTo>
                  <a:pt x="21635" y="76894"/>
                  <a:pt x="21635" y="77526"/>
                  <a:pt x="21189" y="77210"/>
                </a:cubicBezTo>
                <a:cubicBezTo>
                  <a:pt x="20743" y="76894"/>
                  <a:pt x="19405" y="76421"/>
                  <a:pt x="19405" y="76421"/>
                </a:cubicBezTo>
                <a:cubicBezTo>
                  <a:pt x="18513" y="75947"/>
                  <a:pt x="18513" y="75947"/>
                  <a:pt x="18513" y="75947"/>
                </a:cubicBezTo>
                <a:cubicBezTo>
                  <a:pt x="18513" y="75947"/>
                  <a:pt x="17620" y="76421"/>
                  <a:pt x="17397" y="76421"/>
                </a:cubicBezTo>
                <a:cubicBezTo>
                  <a:pt x="17397" y="76578"/>
                  <a:pt x="15836" y="76421"/>
                  <a:pt x="15390" y="76578"/>
                </a:cubicBezTo>
                <a:cubicBezTo>
                  <a:pt x="15167" y="76736"/>
                  <a:pt x="15167" y="76894"/>
                  <a:pt x="14944" y="77210"/>
                </a:cubicBezTo>
                <a:cubicBezTo>
                  <a:pt x="14498" y="77526"/>
                  <a:pt x="13828" y="77526"/>
                  <a:pt x="14498" y="78000"/>
                </a:cubicBezTo>
                <a:cubicBezTo>
                  <a:pt x="14944" y="78473"/>
                  <a:pt x="16059" y="78631"/>
                  <a:pt x="16059" y="78631"/>
                </a:cubicBezTo>
                <a:cubicBezTo>
                  <a:pt x="16059" y="78631"/>
                  <a:pt x="16505" y="78789"/>
                  <a:pt x="16059" y="79263"/>
                </a:cubicBezTo>
                <a:cubicBezTo>
                  <a:pt x="15613" y="79894"/>
                  <a:pt x="14721" y="79421"/>
                  <a:pt x="14498" y="79421"/>
                </a:cubicBezTo>
                <a:cubicBezTo>
                  <a:pt x="14275" y="79263"/>
                  <a:pt x="13382" y="78789"/>
                  <a:pt x="13159" y="78947"/>
                </a:cubicBezTo>
                <a:cubicBezTo>
                  <a:pt x="12936" y="79105"/>
                  <a:pt x="12267" y="79894"/>
                  <a:pt x="12267" y="79894"/>
                </a:cubicBezTo>
                <a:cubicBezTo>
                  <a:pt x="12267" y="79894"/>
                  <a:pt x="11598" y="80052"/>
                  <a:pt x="11375" y="79894"/>
                </a:cubicBezTo>
                <a:cubicBezTo>
                  <a:pt x="11152" y="79894"/>
                  <a:pt x="10483" y="79105"/>
                  <a:pt x="10260" y="79263"/>
                </a:cubicBezTo>
                <a:cubicBezTo>
                  <a:pt x="10037" y="79421"/>
                  <a:pt x="9814" y="79736"/>
                  <a:pt x="9814" y="79894"/>
                </a:cubicBezTo>
                <a:cubicBezTo>
                  <a:pt x="9814" y="80052"/>
                  <a:pt x="10260" y="80368"/>
                  <a:pt x="10037" y="80526"/>
                </a:cubicBezTo>
                <a:cubicBezTo>
                  <a:pt x="10037" y="80684"/>
                  <a:pt x="8921" y="80842"/>
                  <a:pt x="8698" y="81000"/>
                </a:cubicBezTo>
                <a:cubicBezTo>
                  <a:pt x="8698" y="81157"/>
                  <a:pt x="8698" y="80842"/>
                  <a:pt x="8252" y="81473"/>
                </a:cubicBezTo>
                <a:cubicBezTo>
                  <a:pt x="8029" y="82105"/>
                  <a:pt x="8252" y="82105"/>
                  <a:pt x="8029" y="82105"/>
                </a:cubicBezTo>
                <a:cubicBezTo>
                  <a:pt x="7583" y="82263"/>
                  <a:pt x="6691" y="81789"/>
                  <a:pt x="6691" y="81789"/>
                </a:cubicBezTo>
                <a:cubicBezTo>
                  <a:pt x="6691" y="81789"/>
                  <a:pt x="6022" y="81315"/>
                  <a:pt x="6022" y="81789"/>
                </a:cubicBezTo>
                <a:cubicBezTo>
                  <a:pt x="6022" y="82421"/>
                  <a:pt x="5799" y="83052"/>
                  <a:pt x="5799" y="83052"/>
                </a:cubicBezTo>
                <a:cubicBezTo>
                  <a:pt x="6468" y="83368"/>
                  <a:pt x="6468" y="83368"/>
                  <a:pt x="6468" y="83368"/>
                </a:cubicBezTo>
                <a:cubicBezTo>
                  <a:pt x="6468" y="83368"/>
                  <a:pt x="6245" y="83684"/>
                  <a:pt x="6022" y="83684"/>
                </a:cubicBezTo>
                <a:cubicBezTo>
                  <a:pt x="6022" y="83684"/>
                  <a:pt x="5576" y="83526"/>
                  <a:pt x="5353" y="83210"/>
                </a:cubicBezTo>
                <a:cubicBezTo>
                  <a:pt x="5130" y="83052"/>
                  <a:pt x="5353" y="83052"/>
                  <a:pt x="4684" y="82894"/>
                </a:cubicBezTo>
                <a:cubicBezTo>
                  <a:pt x="4014" y="82736"/>
                  <a:pt x="3568" y="82421"/>
                  <a:pt x="3568" y="82736"/>
                </a:cubicBezTo>
                <a:cubicBezTo>
                  <a:pt x="3568" y="82894"/>
                  <a:pt x="3345" y="83210"/>
                  <a:pt x="3568" y="83368"/>
                </a:cubicBezTo>
                <a:cubicBezTo>
                  <a:pt x="3791" y="83684"/>
                  <a:pt x="4237" y="84000"/>
                  <a:pt x="4237" y="84000"/>
                </a:cubicBezTo>
                <a:cubicBezTo>
                  <a:pt x="4460" y="84000"/>
                  <a:pt x="4460" y="84000"/>
                  <a:pt x="4460" y="84000"/>
                </a:cubicBezTo>
                <a:cubicBezTo>
                  <a:pt x="4460" y="84000"/>
                  <a:pt x="4237" y="84473"/>
                  <a:pt x="4014" y="84473"/>
                </a:cubicBezTo>
                <a:cubicBezTo>
                  <a:pt x="3791" y="84631"/>
                  <a:pt x="3568" y="84315"/>
                  <a:pt x="3345" y="84315"/>
                </a:cubicBezTo>
                <a:cubicBezTo>
                  <a:pt x="3345" y="84315"/>
                  <a:pt x="2676" y="84631"/>
                  <a:pt x="2676" y="84631"/>
                </a:cubicBezTo>
                <a:cubicBezTo>
                  <a:pt x="2676" y="84631"/>
                  <a:pt x="2899" y="84947"/>
                  <a:pt x="2899" y="85105"/>
                </a:cubicBezTo>
                <a:cubicBezTo>
                  <a:pt x="2899" y="85263"/>
                  <a:pt x="2230" y="85421"/>
                  <a:pt x="2230" y="85578"/>
                </a:cubicBezTo>
                <a:cubicBezTo>
                  <a:pt x="2007" y="85578"/>
                  <a:pt x="1784" y="85736"/>
                  <a:pt x="1784" y="85894"/>
                </a:cubicBezTo>
                <a:cubicBezTo>
                  <a:pt x="1784" y="86052"/>
                  <a:pt x="2007" y="86526"/>
                  <a:pt x="2230" y="86368"/>
                </a:cubicBezTo>
                <a:cubicBezTo>
                  <a:pt x="2453" y="86368"/>
                  <a:pt x="3568" y="86526"/>
                  <a:pt x="3568" y="86526"/>
                </a:cubicBezTo>
                <a:cubicBezTo>
                  <a:pt x="3568" y="86526"/>
                  <a:pt x="3345" y="86842"/>
                  <a:pt x="3122" y="87000"/>
                </a:cubicBezTo>
                <a:cubicBezTo>
                  <a:pt x="2899" y="87000"/>
                  <a:pt x="2676" y="87315"/>
                  <a:pt x="2453" y="87473"/>
                </a:cubicBezTo>
                <a:cubicBezTo>
                  <a:pt x="2230" y="87789"/>
                  <a:pt x="2676" y="88421"/>
                  <a:pt x="3122" y="88578"/>
                </a:cubicBezTo>
                <a:cubicBezTo>
                  <a:pt x="3791" y="88736"/>
                  <a:pt x="4460" y="88736"/>
                  <a:pt x="4460" y="89052"/>
                </a:cubicBezTo>
                <a:cubicBezTo>
                  <a:pt x="4237" y="89210"/>
                  <a:pt x="3122" y="89842"/>
                  <a:pt x="2899" y="90000"/>
                </a:cubicBezTo>
                <a:cubicBezTo>
                  <a:pt x="2676" y="90000"/>
                  <a:pt x="2230" y="90157"/>
                  <a:pt x="2230" y="90473"/>
                </a:cubicBezTo>
                <a:cubicBezTo>
                  <a:pt x="2230" y="90789"/>
                  <a:pt x="2230" y="90947"/>
                  <a:pt x="1784" y="91105"/>
                </a:cubicBezTo>
                <a:cubicBezTo>
                  <a:pt x="1338" y="91263"/>
                  <a:pt x="1115" y="91105"/>
                  <a:pt x="1115" y="91578"/>
                </a:cubicBezTo>
                <a:cubicBezTo>
                  <a:pt x="1115" y="91894"/>
                  <a:pt x="1338" y="92052"/>
                  <a:pt x="1561" y="92052"/>
                </a:cubicBezTo>
                <a:cubicBezTo>
                  <a:pt x="1784" y="92052"/>
                  <a:pt x="1784" y="92052"/>
                  <a:pt x="1784" y="92052"/>
                </a:cubicBezTo>
                <a:cubicBezTo>
                  <a:pt x="3568" y="91894"/>
                  <a:pt x="3568" y="91894"/>
                  <a:pt x="3568" y="91894"/>
                </a:cubicBezTo>
                <a:cubicBezTo>
                  <a:pt x="3568" y="91894"/>
                  <a:pt x="3345" y="92368"/>
                  <a:pt x="3345" y="92526"/>
                </a:cubicBezTo>
                <a:cubicBezTo>
                  <a:pt x="3345" y="92684"/>
                  <a:pt x="2007" y="93631"/>
                  <a:pt x="2007" y="93631"/>
                </a:cubicBezTo>
                <a:cubicBezTo>
                  <a:pt x="2007" y="93631"/>
                  <a:pt x="2230" y="94105"/>
                  <a:pt x="2007" y="94105"/>
                </a:cubicBezTo>
                <a:cubicBezTo>
                  <a:pt x="1561" y="94263"/>
                  <a:pt x="1115" y="94421"/>
                  <a:pt x="892" y="94578"/>
                </a:cubicBezTo>
                <a:cubicBezTo>
                  <a:pt x="892" y="94736"/>
                  <a:pt x="892" y="95052"/>
                  <a:pt x="892" y="95210"/>
                </a:cubicBezTo>
                <a:cubicBezTo>
                  <a:pt x="1115" y="95526"/>
                  <a:pt x="1561" y="96000"/>
                  <a:pt x="1561" y="96157"/>
                </a:cubicBezTo>
                <a:cubicBezTo>
                  <a:pt x="1784" y="96315"/>
                  <a:pt x="1338" y="96631"/>
                  <a:pt x="1338" y="96631"/>
                </a:cubicBezTo>
                <a:cubicBezTo>
                  <a:pt x="892" y="97894"/>
                  <a:pt x="892" y="97894"/>
                  <a:pt x="892" y="97894"/>
                </a:cubicBezTo>
                <a:cubicBezTo>
                  <a:pt x="892" y="97894"/>
                  <a:pt x="892" y="98526"/>
                  <a:pt x="892" y="98684"/>
                </a:cubicBezTo>
                <a:cubicBezTo>
                  <a:pt x="892" y="98842"/>
                  <a:pt x="0" y="99000"/>
                  <a:pt x="446" y="99473"/>
                </a:cubicBezTo>
                <a:cubicBezTo>
                  <a:pt x="892" y="99789"/>
                  <a:pt x="1115" y="99947"/>
                  <a:pt x="1338" y="100105"/>
                </a:cubicBezTo>
                <a:cubicBezTo>
                  <a:pt x="1784" y="100105"/>
                  <a:pt x="2899" y="100105"/>
                  <a:pt x="2899" y="100263"/>
                </a:cubicBezTo>
                <a:cubicBezTo>
                  <a:pt x="2899" y="100263"/>
                  <a:pt x="2899" y="100421"/>
                  <a:pt x="2230" y="100578"/>
                </a:cubicBezTo>
                <a:cubicBezTo>
                  <a:pt x="1784" y="100578"/>
                  <a:pt x="1338" y="100421"/>
                  <a:pt x="1338" y="100736"/>
                </a:cubicBezTo>
                <a:cubicBezTo>
                  <a:pt x="1115" y="100894"/>
                  <a:pt x="223" y="101842"/>
                  <a:pt x="223" y="101842"/>
                </a:cubicBezTo>
                <a:cubicBezTo>
                  <a:pt x="1338" y="102789"/>
                  <a:pt x="1338" y="102789"/>
                  <a:pt x="1338" y="102789"/>
                </a:cubicBezTo>
                <a:cubicBezTo>
                  <a:pt x="1338" y="102789"/>
                  <a:pt x="1784" y="102473"/>
                  <a:pt x="2007" y="102473"/>
                </a:cubicBezTo>
                <a:cubicBezTo>
                  <a:pt x="2230" y="102315"/>
                  <a:pt x="2899" y="102473"/>
                  <a:pt x="2899" y="102631"/>
                </a:cubicBezTo>
                <a:cubicBezTo>
                  <a:pt x="2899" y="102631"/>
                  <a:pt x="2453" y="103105"/>
                  <a:pt x="2230" y="103105"/>
                </a:cubicBezTo>
                <a:cubicBezTo>
                  <a:pt x="2230" y="103263"/>
                  <a:pt x="1561" y="103421"/>
                  <a:pt x="1561" y="103578"/>
                </a:cubicBezTo>
                <a:cubicBezTo>
                  <a:pt x="1561" y="103578"/>
                  <a:pt x="2230" y="104210"/>
                  <a:pt x="2230" y="104210"/>
                </a:cubicBezTo>
                <a:cubicBezTo>
                  <a:pt x="2230" y="104210"/>
                  <a:pt x="2676" y="104210"/>
                  <a:pt x="2676" y="104526"/>
                </a:cubicBezTo>
                <a:cubicBezTo>
                  <a:pt x="2676" y="104684"/>
                  <a:pt x="1784" y="105000"/>
                  <a:pt x="1784" y="105000"/>
                </a:cubicBezTo>
                <a:cubicBezTo>
                  <a:pt x="2007" y="105473"/>
                  <a:pt x="2007" y="105473"/>
                  <a:pt x="2007" y="105473"/>
                </a:cubicBezTo>
                <a:cubicBezTo>
                  <a:pt x="1338" y="106421"/>
                  <a:pt x="1338" y="106421"/>
                  <a:pt x="1338" y="106421"/>
                </a:cubicBezTo>
                <a:cubicBezTo>
                  <a:pt x="2453" y="106894"/>
                  <a:pt x="2453" y="106894"/>
                  <a:pt x="2453" y="106894"/>
                </a:cubicBezTo>
                <a:cubicBezTo>
                  <a:pt x="2453" y="106894"/>
                  <a:pt x="3345" y="106894"/>
                  <a:pt x="3122" y="107368"/>
                </a:cubicBezTo>
                <a:cubicBezTo>
                  <a:pt x="2676" y="107684"/>
                  <a:pt x="2007" y="108000"/>
                  <a:pt x="2007" y="108157"/>
                </a:cubicBezTo>
                <a:cubicBezTo>
                  <a:pt x="2007" y="108473"/>
                  <a:pt x="1784" y="108789"/>
                  <a:pt x="2230" y="108947"/>
                </a:cubicBezTo>
                <a:cubicBezTo>
                  <a:pt x="2676" y="108947"/>
                  <a:pt x="2676" y="109105"/>
                  <a:pt x="2899" y="108947"/>
                </a:cubicBezTo>
                <a:cubicBezTo>
                  <a:pt x="3345" y="108789"/>
                  <a:pt x="3791" y="108631"/>
                  <a:pt x="3791" y="108631"/>
                </a:cubicBezTo>
                <a:cubicBezTo>
                  <a:pt x="3791" y="108631"/>
                  <a:pt x="4460" y="108315"/>
                  <a:pt x="4907" y="108315"/>
                </a:cubicBezTo>
                <a:cubicBezTo>
                  <a:pt x="5130" y="108315"/>
                  <a:pt x="5576" y="108473"/>
                  <a:pt x="5799" y="108631"/>
                </a:cubicBezTo>
                <a:cubicBezTo>
                  <a:pt x="5799" y="108789"/>
                  <a:pt x="5799" y="108947"/>
                  <a:pt x="6022" y="109105"/>
                </a:cubicBezTo>
                <a:cubicBezTo>
                  <a:pt x="6245" y="109105"/>
                  <a:pt x="5799" y="109894"/>
                  <a:pt x="5799" y="109894"/>
                </a:cubicBezTo>
                <a:cubicBezTo>
                  <a:pt x="5130" y="110526"/>
                  <a:pt x="5130" y="110526"/>
                  <a:pt x="5130" y="110526"/>
                </a:cubicBezTo>
                <a:cubicBezTo>
                  <a:pt x="5130" y="110526"/>
                  <a:pt x="5799" y="111157"/>
                  <a:pt x="5576" y="111157"/>
                </a:cubicBezTo>
                <a:cubicBezTo>
                  <a:pt x="5576" y="111157"/>
                  <a:pt x="4460" y="111315"/>
                  <a:pt x="4237" y="111315"/>
                </a:cubicBezTo>
                <a:cubicBezTo>
                  <a:pt x="4014" y="111315"/>
                  <a:pt x="3791" y="111157"/>
                  <a:pt x="3791" y="111473"/>
                </a:cubicBezTo>
                <a:cubicBezTo>
                  <a:pt x="3568" y="111789"/>
                  <a:pt x="2899" y="112578"/>
                  <a:pt x="2899" y="112578"/>
                </a:cubicBezTo>
                <a:cubicBezTo>
                  <a:pt x="2899" y="112578"/>
                  <a:pt x="2676" y="112894"/>
                  <a:pt x="2899" y="113210"/>
                </a:cubicBezTo>
                <a:cubicBezTo>
                  <a:pt x="3122" y="113526"/>
                  <a:pt x="4014" y="114631"/>
                  <a:pt x="4014" y="114631"/>
                </a:cubicBezTo>
                <a:cubicBezTo>
                  <a:pt x="4014" y="114789"/>
                  <a:pt x="4460" y="115263"/>
                  <a:pt x="5130" y="115578"/>
                </a:cubicBezTo>
                <a:cubicBezTo>
                  <a:pt x="5799" y="115894"/>
                  <a:pt x="6245" y="115894"/>
                  <a:pt x="6245" y="116210"/>
                </a:cubicBezTo>
                <a:cubicBezTo>
                  <a:pt x="6468" y="116526"/>
                  <a:pt x="6468" y="116526"/>
                  <a:pt x="6468" y="116526"/>
                </a:cubicBezTo>
                <a:cubicBezTo>
                  <a:pt x="7360" y="117157"/>
                  <a:pt x="7360" y="117157"/>
                  <a:pt x="7360" y="117157"/>
                </a:cubicBezTo>
                <a:cubicBezTo>
                  <a:pt x="7360" y="117157"/>
                  <a:pt x="7806" y="117315"/>
                  <a:pt x="8475" y="117315"/>
                </a:cubicBezTo>
                <a:cubicBezTo>
                  <a:pt x="9144" y="117473"/>
                  <a:pt x="10037" y="117473"/>
                  <a:pt x="10037" y="117631"/>
                </a:cubicBezTo>
                <a:cubicBezTo>
                  <a:pt x="10260" y="117631"/>
                  <a:pt x="9368" y="118105"/>
                  <a:pt x="9368" y="118105"/>
                </a:cubicBezTo>
                <a:cubicBezTo>
                  <a:pt x="9368" y="118105"/>
                  <a:pt x="8252" y="118736"/>
                  <a:pt x="8698" y="118894"/>
                </a:cubicBezTo>
                <a:cubicBezTo>
                  <a:pt x="9144" y="119052"/>
                  <a:pt x="12267" y="119526"/>
                  <a:pt x="12267" y="119526"/>
                </a:cubicBezTo>
                <a:cubicBezTo>
                  <a:pt x="12267" y="119526"/>
                  <a:pt x="12713" y="119684"/>
                  <a:pt x="12713" y="119842"/>
                </a:cubicBezTo>
                <a:cubicBezTo>
                  <a:pt x="12713" y="120000"/>
                  <a:pt x="13382" y="119684"/>
                  <a:pt x="13382" y="119684"/>
                </a:cubicBezTo>
                <a:cubicBezTo>
                  <a:pt x="13605" y="119526"/>
                  <a:pt x="14498" y="119842"/>
                  <a:pt x="14721" y="119842"/>
                </a:cubicBezTo>
                <a:cubicBezTo>
                  <a:pt x="14721" y="119842"/>
                  <a:pt x="16059" y="119684"/>
                  <a:pt x="16059" y="119684"/>
                </a:cubicBezTo>
                <a:cubicBezTo>
                  <a:pt x="17174" y="119368"/>
                  <a:pt x="17174" y="119368"/>
                  <a:pt x="17174" y="119368"/>
                </a:cubicBezTo>
                <a:cubicBezTo>
                  <a:pt x="17174" y="119368"/>
                  <a:pt x="17843" y="118578"/>
                  <a:pt x="18289" y="118736"/>
                </a:cubicBezTo>
                <a:cubicBezTo>
                  <a:pt x="18959" y="118894"/>
                  <a:pt x="18736" y="119210"/>
                  <a:pt x="19182" y="119210"/>
                </a:cubicBezTo>
                <a:cubicBezTo>
                  <a:pt x="19405" y="119210"/>
                  <a:pt x="19851" y="119210"/>
                  <a:pt x="20297" y="118736"/>
                </a:cubicBezTo>
                <a:cubicBezTo>
                  <a:pt x="20743" y="118421"/>
                  <a:pt x="21189" y="118105"/>
                  <a:pt x="21412" y="117947"/>
                </a:cubicBezTo>
                <a:cubicBezTo>
                  <a:pt x="21635" y="117947"/>
                  <a:pt x="24312" y="116842"/>
                  <a:pt x="24312" y="116842"/>
                </a:cubicBezTo>
                <a:cubicBezTo>
                  <a:pt x="26096" y="114631"/>
                  <a:pt x="26096" y="114631"/>
                  <a:pt x="26096" y="114631"/>
                </a:cubicBezTo>
                <a:cubicBezTo>
                  <a:pt x="26765" y="113052"/>
                  <a:pt x="26765" y="113052"/>
                  <a:pt x="26765" y="113052"/>
                </a:cubicBezTo>
                <a:cubicBezTo>
                  <a:pt x="26765" y="113052"/>
                  <a:pt x="27657" y="112263"/>
                  <a:pt x="28327" y="112263"/>
                </a:cubicBezTo>
                <a:cubicBezTo>
                  <a:pt x="28773" y="112263"/>
                  <a:pt x="30334" y="111789"/>
                  <a:pt x="30111" y="111473"/>
                </a:cubicBezTo>
                <a:cubicBezTo>
                  <a:pt x="30111" y="111000"/>
                  <a:pt x="30780" y="110842"/>
                  <a:pt x="30780" y="111473"/>
                </a:cubicBezTo>
                <a:cubicBezTo>
                  <a:pt x="31003" y="112105"/>
                  <a:pt x="30780" y="112736"/>
                  <a:pt x="31226" y="112421"/>
                </a:cubicBezTo>
                <a:cubicBezTo>
                  <a:pt x="31895" y="112105"/>
                  <a:pt x="33011" y="111157"/>
                  <a:pt x="33011" y="111157"/>
                </a:cubicBezTo>
                <a:cubicBezTo>
                  <a:pt x="33011" y="111157"/>
                  <a:pt x="33680" y="110684"/>
                  <a:pt x="34126" y="110526"/>
                </a:cubicBezTo>
                <a:cubicBezTo>
                  <a:pt x="34572" y="110526"/>
                  <a:pt x="35241" y="109421"/>
                  <a:pt x="35241" y="109421"/>
                </a:cubicBezTo>
                <a:cubicBezTo>
                  <a:pt x="35241" y="109421"/>
                  <a:pt x="36133" y="108947"/>
                  <a:pt x="36579" y="109421"/>
                </a:cubicBezTo>
                <a:cubicBezTo>
                  <a:pt x="36802" y="110052"/>
                  <a:pt x="37695" y="110842"/>
                  <a:pt x="37695" y="111157"/>
                </a:cubicBezTo>
                <a:cubicBezTo>
                  <a:pt x="37695" y="111157"/>
                  <a:pt x="38141" y="111315"/>
                  <a:pt x="38587" y="111473"/>
                </a:cubicBezTo>
                <a:cubicBezTo>
                  <a:pt x="38587" y="111157"/>
                  <a:pt x="38587" y="111157"/>
                  <a:pt x="38587" y="111157"/>
                </a:cubicBezTo>
                <a:cubicBezTo>
                  <a:pt x="38587" y="110210"/>
                  <a:pt x="38587" y="110210"/>
                  <a:pt x="38587" y="110210"/>
                </a:cubicBezTo>
                <a:cubicBezTo>
                  <a:pt x="38587" y="110210"/>
                  <a:pt x="40148" y="111157"/>
                  <a:pt x="40148" y="111157"/>
                </a:cubicBezTo>
                <a:cubicBezTo>
                  <a:pt x="40371" y="111315"/>
                  <a:pt x="40371" y="112263"/>
                  <a:pt x="40371" y="112263"/>
                </a:cubicBezTo>
                <a:cubicBezTo>
                  <a:pt x="40817" y="112263"/>
                  <a:pt x="40817" y="112263"/>
                  <a:pt x="40817" y="112263"/>
                </a:cubicBezTo>
                <a:cubicBezTo>
                  <a:pt x="40817" y="112105"/>
                  <a:pt x="40817" y="112105"/>
                  <a:pt x="40817" y="112105"/>
                </a:cubicBezTo>
                <a:cubicBezTo>
                  <a:pt x="41263" y="112263"/>
                  <a:pt x="41263" y="112263"/>
                  <a:pt x="41263" y="112263"/>
                </a:cubicBezTo>
                <a:cubicBezTo>
                  <a:pt x="41486" y="112105"/>
                  <a:pt x="41486" y="112105"/>
                  <a:pt x="41486" y="112105"/>
                </a:cubicBezTo>
                <a:cubicBezTo>
                  <a:pt x="41710" y="111157"/>
                  <a:pt x="41710" y="111157"/>
                  <a:pt x="41710" y="111157"/>
                </a:cubicBezTo>
                <a:cubicBezTo>
                  <a:pt x="41933" y="110052"/>
                  <a:pt x="41933" y="110052"/>
                  <a:pt x="41933" y="110052"/>
                </a:cubicBezTo>
                <a:cubicBezTo>
                  <a:pt x="42602" y="109105"/>
                  <a:pt x="42602" y="109105"/>
                  <a:pt x="42602" y="109105"/>
                </a:cubicBezTo>
                <a:cubicBezTo>
                  <a:pt x="42602" y="108157"/>
                  <a:pt x="42602" y="108157"/>
                  <a:pt x="42602" y="108157"/>
                </a:cubicBezTo>
                <a:cubicBezTo>
                  <a:pt x="41710" y="107052"/>
                  <a:pt x="41710" y="107052"/>
                  <a:pt x="41710" y="107052"/>
                </a:cubicBezTo>
                <a:cubicBezTo>
                  <a:pt x="41263" y="106105"/>
                  <a:pt x="41263" y="106105"/>
                  <a:pt x="41263" y="106105"/>
                </a:cubicBezTo>
                <a:cubicBezTo>
                  <a:pt x="41933" y="105947"/>
                  <a:pt x="41933" y="105947"/>
                  <a:pt x="41933" y="105947"/>
                </a:cubicBezTo>
                <a:cubicBezTo>
                  <a:pt x="41933" y="105789"/>
                  <a:pt x="41933" y="105789"/>
                  <a:pt x="41933" y="105789"/>
                </a:cubicBezTo>
                <a:cubicBezTo>
                  <a:pt x="42156" y="105789"/>
                  <a:pt x="42156" y="105789"/>
                  <a:pt x="42156" y="105789"/>
                </a:cubicBezTo>
                <a:cubicBezTo>
                  <a:pt x="42602" y="105473"/>
                  <a:pt x="42602" y="105473"/>
                  <a:pt x="42602" y="105473"/>
                </a:cubicBezTo>
                <a:cubicBezTo>
                  <a:pt x="42825" y="104684"/>
                  <a:pt x="42825" y="104684"/>
                  <a:pt x="42825" y="104684"/>
                </a:cubicBezTo>
                <a:cubicBezTo>
                  <a:pt x="42379" y="104368"/>
                  <a:pt x="42379" y="104368"/>
                  <a:pt x="42379" y="104368"/>
                </a:cubicBezTo>
                <a:cubicBezTo>
                  <a:pt x="42379" y="103894"/>
                  <a:pt x="42379" y="103894"/>
                  <a:pt x="42379" y="103894"/>
                </a:cubicBezTo>
                <a:cubicBezTo>
                  <a:pt x="42379" y="103894"/>
                  <a:pt x="42825" y="103578"/>
                  <a:pt x="42825" y="103578"/>
                </a:cubicBezTo>
                <a:cubicBezTo>
                  <a:pt x="42825" y="103578"/>
                  <a:pt x="42825" y="103578"/>
                  <a:pt x="42825" y="103578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048" y="103421"/>
                  <a:pt x="43048" y="103421"/>
                  <a:pt x="43048" y="103421"/>
                </a:cubicBezTo>
                <a:cubicBezTo>
                  <a:pt x="43271" y="103421"/>
                  <a:pt x="43271" y="103421"/>
                  <a:pt x="43271" y="103421"/>
                </a:cubicBezTo>
                <a:cubicBezTo>
                  <a:pt x="43271" y="103421"/>
                  <a:pt x="43271" y="103421"/>
                  <a:pt x="43271" y="103421"/>
                </a:cubicBezTo>
                <a:cubicBezTo>
                  <a:pt x="43271" y="103421"/>
                  <a:pt x="43271" y="103421"/>
                  <a:pt x="43271" y="103421"/>
                </a:cubicBezTo>
                <a:cubicBezTo>
                  <a:pt x="43271" y="103421"/>
                  <a:pt x="43271" y="103421"/>
                  <a:pt x="43271" y="103421"/>
                </a:cubicBezTo>
                <a:cubicBezTo>
                  <a:pt x="43271" y="103421"/>
                  <a:pt x="43494" y="103263"/>
                  <a:pt x="43494" y="103263"/>
                </a:cubicBezTo>
                <a:cubicBezTo>
                  <a:pt x="43717" y="103263"/>
                  <a:pt x="44163" y="103263"/>
                  <a:pt x="44163" y="103263"/>
                </a:cubicBezTo>
                <a:cubicBezTo>
                  <a:pt x="44386" y="103263"/>
                  <a:pt x="44386" y="103263"/>
                  <a:pt x="44386" y="103263"/>
                </a:cubicBezTo>
                <a:cubicBezTo>
                  <a:pt x="44832" y="102947"/>
                  <a:pt x="44832" y="102947"/>
                  <a:pt x="44832" y="102947"/>
                </a:cubicBezTo>
                <a:cubicBezTo>
                  <a:pt x="44832" y="102947"/>
                  <a:pt x="45724" y="102473"/>
                  <a:pt x="45724" y="102315"/>
                </a:cubicBezTo>
                <a:cubicBezTo>
                  <a:pt x="45724" y="102157"/>
                  <a:pt x="46171" y="101684"/>
                  <a:pt x="46171" y="101684"/>
                </a:cubicBezTo>
                <a:cubicBezTo>
                  <a:pt x="46171" y="100894"/>
                  <a:pt x="46171" y="100894"/>
                  <a:pt x="46171" y="100894"/>
                </a:cubicBezTo>
                <a:cubicBezTo>
                  <a:pt x="45724" y="100105"/>
                  <a:pt x="45724" y="100105"/>
                  <a:pt x="45724" y="100105"/>
                </a:cubicBezTo>
                <a:cubicBezTo>
                  <a:pt x="46171" y="99631"/>
                  <a:pt x="46171" y="99631"/>
                  <a:pt x="46171" y="99631"/>
                </a:cubicBezTo>
                <a:cubicBezTo>
                  <a:pt x="46840" y="98684"/>
                  <a:pt x="46840" y="98684"/>
                  <a:pt x="46840" y="98684"/>
                </a:cubicBezTo>
                <a:cubicBezTo>
                  <a:pt x="46394" y="97736"/>
                  <a:pt x="46394" y="97736"/>
                  <a:pt x="46394" y="97736"/>
                </a:cubicBezTo>
                <a:cubicBezTo>
                  <a:pt x="45055" y="96631"/>
                  <a:pt x="45055" y="96631"/>
                  <a:pt x="45055" y="96631"/>
                </a:cubicBezTo>
                <a:cubicBezTo>
                  <a:pt x="44386" y="95210"/>
                  <a:pt x="44386" y="95210"/>
                  <a:pt x="44386" y="95210"/>
                </a:cubicBezTo>
                <a:cubicBezTo>
                  <a:pt x="43940" y="94263"/>
                  <a:pt x="43940" y="94263"/>
                  <a:pt x="43940" y="94263"/>
                </a:cubicBezTo>
                <a:cubicBezTo>
                  <a:pt x="45055" y="93473"/>
                  <a:pt x="45055" y="93473"/>
                  <a:pt x="45055" y="93473"/>
                </a:cubicBezTo>
                <a:cubicBezTo>
                  <a:pt x="45278" y="93315"/>
                  <a:pt x="45278" y="93315"/>
                  <a:pt x="45278" y="93315"/>
                </a:cubicBezTo>
                <a:cubicBezTo>
                  <a:pt x="45278" y="93315"/>
                  <a:pt x="45278" y="93315"/>
                  <a:pt x="45278" y="93315"/>
                </a:cubicBezTo>
                <a:cubicBezTo>
                  <a:pt x="45501" y="93315"/>
                  <a:pt x="45501" y="93315"/>
                  <a:pt x="45501" y="93315"/>
                </a:cubicBezTo>
                <a:cubicBezTo>
                  <a:pt x="46171" y="93315"/>
                  <a:pt x="46171" y="93315"/>
                  <a:pt x="46171" y="93315"/>
                </a:cubicBezTo>
                <a:cubicBezTo>
                  <a:pt x="46171" y="93315"/>
                  <a:pt x="47286" y="93315"/>
                  <a:pt x="47286" y="93157"/>
                </a:cubicBezTo>
                <a:cubicBezTo>
                  <a:pt x="47286" y="93157"/>
                  <a:pt x="47286" y="93157"/>
                  <a:pt x="47286" y="93157"/>
                </a:cubicBezTo>
                <a:cubicBezTo>
                  <a:pt x="47286" y="93157"/>
                  <a:pt x="47286" y="93157"/>
                  <a:pt x="47286" y="93157"/>
                </a:cubicBezTo>
                <a:cubicBezTo>
                  <a:pt x="47286" y="93157"/>
                  <a:pt x="47286" y="93157"/>
                  <a:pt x="47286" y="93157"/>
                </a:cubicBezTo>
                <a:cubicBezTo>
                  <a:pt x="47286" y="93157"/>
                  <a:pt x="47286" y="93157"/>
                  <a:pt x="47286" y="93157"/>
                </a:cubicBezTo>
                <a:cubicBezTo>
                  <a:pt x="47286" y="93157"/>
                  <a:pt x="47286" y="93157"/>
                  <a:pt x="47286" y="93157"/>
                </a:cubicBezTo>
                <a:cubicBezTo>
                  <a:pt x="47286" y="93000"/>
                  <a:pt x="47286" y="93000"/>
                  <a:pt x="47286" y="93000"/>
                </a:cubicBezTo>
                <a:cubicBezTo>
                  <a:pt x="47286" y="93000"/>
                  <a:pt x="47286" y="93000"/>
                  <a:pt x="47286" y="93000"/>
                </a:cubicBezTo>
                <a:cubicBezTo>
                  <a:pt x="47286" y="93000"/>
                  <a:pt x="47286" y="93000"/>
                  <a:pt x="47286" y="93000"/>
                </a:cubicBezTo>
                <a:cubicBezTo>
                  <a:pt x="47286" y="93000"/>
                  <a:pt x="47286" y="93000"/>
                  <a:pt x="47286" y="93000"/>
                </a:cubicBezTo>
                <a:cubicBezTo>
                  <a:pt x="47509" y="93000"/>
                  <a:pt x="47509" y="93000"/>
                  <a:pt x="47509" y="93000"/>
                </a:cubicBezTo>
                <a:cubicBezTo>
                  <a:pt x="47509" y="93000"/>
                  <a:pt x="47509" y="93000"/>
                  <a:pt x="47509" y="93000"/>
                </a:cubicBezTo>
                <a:cubicBezTo>
                  <a:pt x="47509" y="93000"/>
                  <a:pt x="47509" y="93000"/>
                  <a:pt x="47509" y="93000"/>
                </a:cubicBezTo>
                <a:cubicBezTo>
                  <a:pt x="47509" y="93000"/>
                  <a:pt x="47509" y="93000"/>
                  <a:pt x="47509" y="93000"/>
                </a:cubicBezTo>
                <a:cubicBezTo>
                  <a:pt x="47509" y="93000"/>
                  <a:pt x="47509" y="93000"/>
                  <a:pt x="47509" y="93000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842"/>
                  <a:pt x="47509" y="92842"/>
                  <a:pt x="47509" y="92842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684"/>
                  <a:pt x="47509" y="92684"/>
                  <a:pt x="47509" y="92684"/>
                </a:cubicBezTo>
                <a:cubicBezTo>
                  <a:pt x="47509" y="92526"/>
                  <a:pt x="47509" y="92526"/>
                  <a:pt x="47509" y="92526"/>
                </a:cubicBezTo>
                <a:cubicBezTo>
                  <a:pt x="47509" y="92526"/>
                  <a:pt x="47509" y="92526"/>
                  <a:pt x="47509" y="92526"/>
                </a:cubicBezTo>
                <a:cubicBezTo>
                  <a:pt x="47509" y="92526"/>
                  <a:pt x="47509" y="92526"/>
                  <a:pt x="47509" y="92526"/>
                </a:cubicBezTo>
                <a:cubicBezTo>
                  <a:pt x="47509" y="92526"/>
                  <a:pt x="47509" y="92526"/>
                  <a:pt x="47509" y="92526"/>
                </a:cubicBezTo>
                <a:cubicBezTo>
                  <a:pt x="47509" y="92526"/>
                  <a:pt x="47509" y="92526"/>
                  <a:pt x="47509" y="92526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368"/>
                  <a:pt x="47509" y="92368"/>
                  <a:pt x="47509" y="92368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210"/>
                  <a:pt x="47509" y="92210"/>
                  <a:pt x="47509" y="92210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509" y="92052"/>
                  <a:pt x="47509" y="92052"/>
                  <a:pt x="47509" y="92052"/>
                </a:cubicBezTo>
                <a:cubicBezTo>
                  <a:pt x="47732" y="92052"/>
                  <a:pt x="47732" y="92052"/>
                  <a:pt x="47732" y="92052"/>
                </a:cubicBezTo>
                <a:cubicBezTo>
                  <a:pt x="47732" y="92052"/>
                  <a:pt x="47732" y="92052"/>
                  <a:pt x="47732" y="92052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732" y="91894"/>
                  <a:pt x="47732" y="91894"/>
                  <a:pt x="47732" y="91894"/>
                </a:cubicBezTo>
                <a:cubicBezTo>
                  <a:pt x="47509" y="90473"/>
                  <a:pt x="47509" y="90473"/>
                  <a:pt x="47509" y="90473"/>
                </a:cubicBezTo>
                <a:cubicBezTo>
                  <a:pt x="46171" y="89684"/>
                  <a:pt x="46171" y="89684"/>
                  <a:pt x="46171" y="89684"/>
                </a:cubicBezTo>
                <a:cubicBezTo>
                  <a:pt x="44609" y="88894"/>
                  <a:pt x="44609" y="88894"/>
                  <a:pt x="44609" y="88894"/>
                </a:cubicBezTo>
                <a:cubicBezTo>
                  <a:pt x="43940" y="87631"/>
                  <a:pt x="43940" y="87631"/>
                  <a:pt x="43940" y="87631"/>
                </a:cubicBezTo>
                <a:cubicBezTo>
                  <a:pt x="43717" y="82736"/>
                  <a:pt x="43717" y="82736"/>
                  <a:pt x="43717" y="82736"/>
                </a:cubicBezTo>
                <a:cubicBezTo>
                  <a:pt x="43717" y="82736"/>
                  <a:pt x="42156" y="80684"/>
                  <a:pt x="42156" y="80526"/>
                </a:cubicBezTo>
                <a:cubicBezTo>
                  <a:pt x="41933" y="80210"/>
                  <a:pt x="41933" y="79894"/>
                  <a:pt x="42379" y="79578"/>
                </a:cubicBezTo>
                <a:cubicBezTo>
                  <a:pt x="42602" y="79421"/>
                  <a:pt x="42379" y="79105"/>
                  <a:pt x="42379" y="79105"/>
                </a:cubicBezTo>
                <a:cubicBezTo>
                  <a:pt x="42156" y="78000"/>
                  <a:pt x="42156" y="78000"/>
                  <a:pt x="42156" y="78000"/>
                </a:cubicBezTo>
                <a:cubicBezTo>
                  <a:pt x="42602" y="77526"/>
                  <a:pt x="42602" y="77526"/>
                  <a:pt x="42602" y="77526"/>
                </a:cubicBezTo>
                <a:cubicBezTo>
                  <a:pt x="42602" y="76578"/>
                  <a:pt x="42602" y="76578"/>
                  <a:pt x="42602" y="76578"/>
                </a:cubicBezTo>
                <a:cubicBezTo>
                  <a:pt x="41710" y="75315"/>
                  <a:pt x="41710" y="75315"/>
                  <a:pt x="41710" y="75315"/>
                </a:cubicBezTo>
                <a:cubicBezTo>
                  <a:pt x="41710" y="75315"/>
                  <a:pt x="41710" y="74368"/>
                  <a:pt x="41710" y="74210"/>
                </a:cubicBezTo>
                <a:cubicBezTo>
                  <a:pt x="41710" y="73894"/>
                  <a:pt x="42379" y="73263"/>
                  <a:pt x="42379" y="73263"/>
                </a:cubicBezTo>
                <a:cubicBezTo>
                  <a:pt x="42602" y="72157"/>
                  <a:pt x="42602" y="72157"/>
                  <a:pt x="42602" y="72157"/>
                </a:cubicBezTo>
                <a:cubicBezTo>
                  <a:pt x="43048" y="70578"/>
                  <a:pt x="43048" y="70578"/>
                  <a:pt x="43048" y="70578"/>
                </a:cubicBezTo>
                <a:cubicBezTo>
                  <a:pt x="45947" y="67894"/>
                  <a:pt x="45947" y="67894"/>
                  <a:pt x="45947" y="67894"/>
                </a:cubicBezTo>
                <a:cubicBezTo>
                  <a:pt x="46617" y="67894"/>
                  <a:pt x="46617" y="67894"/>
                  <a:pt x="46617" y="67894"/>
                </a:cubicBezTo>
                <a:cubicBezTo>
                  <a:pt x="51301" y="67736"/>
                  <a:pt x="51301" y="67736"/>
                  <a:pt x="51301" y="67736"/>
                </a:cubicBezTo>
                <a:cubicBezTo>
                  <a:pt x="51524" y="67421"/>
                  <a:pt x="51524" y="67421"/>
                  <a:pt x="51524" y="67421"/>
                </a:cubicBezTo>
                <a:cubicBezTo>
                  <a:pt x="51747" y="67263"/>
                  <a:pt x="51747" y="67263"/>
                  <a:pt x="51747" y="67263"/>
                </a:cubicBezTo>
                <a:cubicBezTo>
                  <a:pt x="52193" y="66315"/>
                  <a:pt x="52193" y="66315"/>
                  <a:pt x="52193" y="66315"/>
                </a:cubicBezTo>
                <a:cubicBezTo>
                  <a:pt x="51970" y="63789"/>
                  <a:pt x="51970" y="63789"/>
                  <a:pt x="51970" y="63789"/>
                </a:cubicBezTo>
                <a:cubicBezTo>
                  <a:pt x="49962" y="63473"/>
                  <a:pt x="49962" y="63473"/>
                  <a:pt x="49962" y="63473"/>
                </a:cubicBezTo>
                <a:cubicBezTo>
                  <a:pt x="49516" y="62684"/>
                  <a:pt x="49516" y="62684"/>
                  <a:pt x="49516" y="62684"/>
                </a:cubicBezTo>
                <a:cubicBezTo>
                  <a:pt x="52862" y="58578"/>
                  <a:pt x="52862" y="58578"/>
                  <a:pt x="52862" y="58578"/>
                </a:cubicBezTo>
                <a:cubicBezTo>
                  <a:pt x="52639" y="57631"/>
                  <a:pt x="52639" y="57631"/>
                  <a:pt x="52639" y="57631"/>
                </a:cubicBezTo>
                <a:cubicBezTo>
                  <a:pt x="53531" y="57157"/>
                  <a:pt x="53531" y="57157"/>
                  <a:pt x="53531" y="57157"/>
                </a:cubicBezTo>
                <a:cubicBezTo>
                  <a:pt x="53531" y="57157"/>
                  <a:pt x="53308" y="56526"/>
                  <a:pt x="53085" y="56210"/>
                </a:cubicBezTo>
                <a:cubicBezTo>
                  <a:pt x="52862" y="56052"/>
                  <a:pt x="53308" y="55105"/>
                  <a:pt x="53308" y="55105"/>
                </a:cubicBezTo>
                <a:cubicBezTo>
                  <a:pt x="53531" y="54000"/>
                  <a:pt x="53531" y="54000"/>
                  <a:pt x="53531" y="54000"/>
                </a:cubicBezTo>
                <a:cubicBezTo>
                  <a:pt x="53977" y="52736"/>
                  <a:pt x="53977" y="52736"/>
                  <a:pt x="53977" y="52736"/>
                </a:cubicBezTo>
                <a:cubicBezTo>
                  <a:pt x="52862" y="50052"/>
                  <a:pt x="52862" y="50052"/>
                  <a:pt x="52862" y="50052"/>
                </a:cubicBezTo>
                <a:cubicBezTo>
                  <a:pt x="53531" y="49578"/>
                  <a:pt x="53531" y="49578"/>
                  <a:pt x="53531" y="49578"/>
                </a:cubicBezTo>
                <a:cubicBezTo>
                  <a:pt x="54423" y="49578"/>
                  <a:pt x="54423" y="49578"/>
                  <a:pt x="54423" y="49578"/>
                </a:cubicBezTo>
                <a:cubicBezTo>
                  <a:pt x="54646" y="49578"/>
                  <a:pt x="55092" y="49421"/>
                  <a:pt x="55539" y="49421"/>
                </a:cubicBezTo>
                <a:cubicBezTo>
                  <a:pt x="55985" y="49263"/>
                  <a:pt x="56208" y="49105"/>
                  <a:pt x="56877" y="48631"/>
                </a:cubicBezTo>
                <a:cubicBezTo>
                  <a:pt x="57100" y="48315"/>
                  <a:pt x="57100" y="48315"/>
                  <a:pt x="57100" y="48315"/>
                </a:cubicBezTo>
                <a:cubicBezTo>
                  <a:pt x="57323" y="47526"/>
                  <a:pt x="57323" y="47526"/>
                  <a:pt x="57323" y="47526"/>
                </a:cubicBezTo>
                <a:cubicBezTo>
                  <a:pt x="57323" y="46105"/>
                  <a:pt x="57323" y="46105"/>
                  <a:pt x="57323" y="46105"/>
                </a:cubicBezTo>
                <a:cubicBezTo>
                  <a:pt x="58438" y="44052"/>
                  <a:pt x="58438" y="44052"/>
                  <a:pt x="58438" y="44052"/>
                </a:cubicBezTo>
                <a:cubicBezTo>
                  <a:pt x="58438" y="44052"/>
                  <a:pt x="60223" y="42473"/>
                  <a:pt x="60446" y="42157"/>
                </a:cubicBezTo>
                <a:cubicBezTo>
                  <a:pt x="60669" y="41842"/>
                  <a:pt x="61338" y="40736"/>
                  <a:pt x="61338" y="40736"/>
                </a:cubicBezTo>
                <a:cubicBezTo>
                  <a:pt x="61338" y="40736"/>
                  <a:pt x="60892" y="39473"/>
                  <a:pt x="60669" y="39157"/>
                </a:cubicBezTo>
                <a:cubicBezTo>
                  <a:pt x="60223" y="39000"/>
                  <a:pt x="59553" y="38052"/>
                  <a:pt x="59553" y="38052"/>
                </a:cubicBezTo>
                <a:cubicBezTo>
                  <a:pt x="59553" y="37263"/>
                  <a:pt x="59553" y="37263"/>
                  <a:pt x="59553" y="37263"/>
                </a:cubicBezTo>
                <a:cubicBezTo>
                  <a:pt x="60892" y="36631"/>
                  <a:pt x="60892" y="36631"/>
                  <a:pt x="60892" y="36631"/>
                </a:cubicBezTo>
                <a:cubicBezTo>
                  <a:pt x="61338" y="36000"/>
                  <a:pt x="61338" y="36000"/>
                  <a:pt x="61338" y="36000"/>
                </a:cubicBezTo>
                <a:cubicBezTo>
                  <a:pt x="61338" y="36000"/>
                  <a:pt x="61338" y="34894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736"/>
                  <a:pt x="61338" y="34736"/>
                  <a:pt x="61338" y="34736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578"/>
                  <a:pt x="61338" y="34578"/>
                  <a:pt x="61338" y="34578"/>
                </a:cubicBezTo>
                <a:cubicBezTo>
                  <a:pt x="61338" y="34421"/>
                  <a:pt x="61338" y="34421"/>
                  <a:pt x="61338" y="34421"/>
                </a:cubicBezTo>
                <a:cubicBezTo>
                  <a:pt x="61338" y="34421"/>
                  <a:pt x="61338" y="34421"/>
                  <a:pt x="61338" y="34421"/>
                </a:cubicBezTo>
                <a:cubicBezTo>
                  <a:pt x="61338" y="34421"/>
                  <a:pt x="61338" y="34421"/>
                  <a:pt x="61338" y="34421"/>
                </a:cubicBezTo>
                <a:cubicBezTo>
                  <a:pt x="61338" y="34421"/>
                  <a:pt x="61338" y="34421"/>
                  <a:pt x="61338" y="34421"/>
                </a:cubicBezTo>
                <a:cubicBezTo>
                  <a:pt x="61561" y="34421"/>
                  <a:pt x="61561" y="34421"/>
                  <a:pt x="61561" y="34421"/>
                </a:cubicBezTo>
                <a:cubicBezTo>
                  <a:pt x="61561" y="34421"/>
                  <a:pt x="61561" y="34421"/>
                  <a:pt x="61561" y="34421"/>
                </a:cubicBezTo>
                <a:cubicBezTo>
                  <a:pt x="61561" y="34421"/>
                  <a:pt x="61561" y="34421"/>
                  <a:pt x="61561" y="34421"/>
                </a:cubicBezTo>
                <a:cubicBezTo>
                  <a:pt x="61561" y="34421"/>
                  <a:pt x="61561" y="34421"/>
                  <a:pt x="61561" y="34421"/>
                </a:cubicBezTo>
                <a:cubicBezTo>
                  <a:pt x="61561" y="34421"/>
                  <a:pt x="61561" y="34421"/>
                  <a:pt x="61561" y="34421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263"/>
                  <a:pt x="61561" y="34263"/>
                  <a:pt x="61561" y="34263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561" y="34105"/>
                  <a:pt x="61561" y="34105"/>
                  <a:pt x="61561" y="34105"/>
                </a:cubicBezTo>
                <a:cubicBezTo>
                  <a:pt x="61784" y="34105"/>
                  <a:pt x="61784" y="34105"/>
                  <a:pt x="61784" y="34105"/>
                </a:cubicBezTo>
                <a:cubicBezTo>
                  <a:pt x="61784" y="34105"/>
                  <a:pt x="61784" y="34105"/>
                  <a:pt x="61784" y="34105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947"/>
                  <a:pt x="61784" y="33947"/>
                  <a:pt x="61784" y="33947"/>
                </a:cubicBezTo>
                <a:cubicBezTo>
                  <a:pt x="61784" y="33631"/>
                  <a:pt x="62676" y="33000"/>
                  <a:pt x="62676" y="33000"/>
                </a:cubicBezTo>
                <a:cubicBezTo>
                  <a:pt x="63568" y="31736"/>
                  <a:pt x="63568" y="31736"/>
                  <a:pt x="63568" y="31736"/>
                </a:cubicBezTo>
                <a:cubicBezTo>
                  <a:pt x="65799" y="32526"/>
                  <a:pt x="65799" y="32526"/>
                  <a:pt x="65799" y="32526"/>
                </a:cubicBezTo>
                <a:cubicBezTo>
                  <a:pt x="66914" y="32526"/>
                  <a:pt x="66914" y="32526"/>
                  <a:pt x="66914" y="32526"/>
                </a:cubicBezTo>
                <a:cubicBezTo>
                  <a:pt x="67360" y="31894"/>
                  <a:pt x="67360" y="31894"/>
                  <a:pt x="67360" y="31894"/>
                </a:cubicBezTo>
                <a:cubicBezTo>
                  <a:pt x="67137" y="31421"/>
                  <a:pt x="66914" y="28105"/>
                  <a:pt x="67583" y="27473"/>
                </a:cubicBezTo>
                <a:cubicBezTo>
                  <a:pt x="67583" y="27473"/>
                  <a:pt x="70706" y="27631"/>
                  <a:pt x="71152" y="27473"/>
                </a:cubicBezTo>
                <a:cubicBezTo>
                  <a:pt x="71375" y="27473"/>
                  <a:pt x="72490" y="27789"/>
                  <a:pt x="72713" y="27947"/>
                </a:cubicBezTo>
                <a:cubicBezTo>
                  <a:pt x="72713" y="27947"/>
                  <a:pt x="72713" y="27947"/>
                  <a:pt x="72713" y="27947"/>
                </a:cubicBezTo>
                <a:cubicBezTo>
                  <a:pt x="72713" y="27947"/>
                  <a:pt x="72713" y="27947"/>
                  <a:pt x="72713" y="27947"/>
                </a:cubicBezTo>
                <a:cubicBezTo>
                  <a:pt x="72936" y="28105"/>
                  <a:pt x="73159" y="28105"/>
                  <a:pt x="73382" y="28105"/>
                </a:cubicBezTo>
                <a:cubicBezTo>
                  <a:pt x="73828" y="28263"/>
                  <a:pt x="74275" y="28263"/>
                  <a:pt x="74275" y="28263"/>
                </a:cubicBezTo>
                <a:cubicBezTo>
                  <a:pt x="75613" y="28105"/>
                  <a:pt x="75613" y="28105"/>
                  <a:pt x="75613" y="28105"/>
                </a:cubicBezTo>
                <a:cubicBezTo>
                  <a:pt x="76505" y="27315"/>
                  <a:pt x="76505" y="27315"/>
                  <a:pt x="76505" y="27315"/>
                </a:cubicBezTo>
                <a:cubicBezTo>
                  <a:pt x="75613" y="26684"/>
                  <a:pt x="75613" y="26684"/>
                  <a:pt x="75613" y="26684"/>
                </a:cubicBezTo>
                <a:cubicBezTo>
                  <a:pt x="76505" y="25894"/>
                  <a:pt x="76505" y="24789"/>
                  <a:pt x="76282" y="24631"/>
                </a:cubicBezTo>
                <a:cubicBezTo>
                  <a:pt x="76059" y="24315"/>
                  <a:pt x="75613" y="22894"/>
                  <a:pt x="75390" y="22736"/>
                </a:cubicBezTo>
                <a:cubicBezTo>
                  <a:pt x="75390" y="22578"/>
                  <a:pt x="75836" y="22421"/>
                  <a:pt x="75836" y="22421"/>
                </a:cubicBezTo>
                <a:cubicBezTo>
                  <a:pt x="76282" y="22421"/>
                  <a:pt x="76282" y="22421"/>
                  <a:pt x="76282" y="22421"/>
                </a:cubicBezTo>
                <a:cubicBezTo>
                  <a:pt x="76282" y="22421"/>
                  <a:pt x="76505" y="22263"/>
                  <a:pt x="76728" y="22263"/>
                </a:cubicBezTo>
                <a:cubicBezTo>
                  <a:pt x="77843" y="21631"/>
                  <a:pt x="77843" y="21631"/>
                  <a:pt x="77843" y="21631"/>
                </a:cubicBezTo>
                <a:cubicBezTo>
                  <a:pt x="78959" y="21789"/>
                  <a:pt x="78959" y="21789"/>
                  <a:pt x="78959" y="21789"/>
                </a:cubicBezTo>
                <a:cubicBezTo>
                  <a:pt x="78959" y="21789"/>
                  <a:pt x="78959" y="21631"/>
                  <a:pt x="79182" y="21631"/>
                </a:cubicBezTo>
                <a:cubicBezTo>
                  <a:pt x="79405" y="21631"/>
                  <a:pt x="79405" y="21473"/>
                  <a:pt x="79405" y="21473"/>
                </a:cubicBezTo>
                <a:cubicBezTo>
                  <a:pt x="79405" y="21473"/>
                  <a:pt x="78736" y="20526"/>
                  <a:pt x="79182" y="20052"/>
                </a:cubicBezTo>
                <a:cubicBezTo>
                  <a:pt x="79405" y="19736"/>
                  <a:pt x="79628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074" y="19736"/>
                  <a:pt x="80074" y="19736"/>
                  <a:pt x="80074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297" y="19736"/>
                  <a:pt x="80297" y="19736"/>
                  <a:pt x="80297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520" y="19736"/>
                  <a:pt x="80520" y="19736"/>
                  <a:pt x="80520" y="19736"/>
                </a:cubicBezTo>
                <a:cubicBezTo>
                  <a:pt x="80743" y="19736"/>
                  <a:pt x="80743" y="19736"/>
                  <a:pt x="80743" y="19736"/>
                </a:cubicBezTo>
                <a:cubicBezTo>
                  <a:pt x="80743" y="19736"/>
                  <a:pt x="80743" y="19736"/>
                  <a:pt x="80743" y="19736"/>
                </a:cubicBezTo>
                <a:cubicBezTo>
                  <a:pt x="80743" y="19736"/>
                  <a:pt x="80743" y="19736"/>
                  <a:pt x="80743" y="19736"/>
                </a:cubicBezTo>
                <a:cubicBezTo>
                  <a:pt x="80743" y="19736"/>
                  <a:pt x="80743" y="19736"/>
                  <a:pt x="80743" y="19736"/>
                </a:cubicBezTo>
                <a:cubicBezTo>
                  <a:pt x="80966" y="19736"/>
                  <a:pt x="80966" y="19736"/>
                  <a:pt x="80966" y="19736"/>
                </a:cubicBezTo>
                <a:cubicBezTo>
                  <a:pt x="80966" y="19736"/>
                  <a:pt x="80966" y="19736"/>
                  <a:pt x="80966" y="19736"/>
                </a:cubicBezTo>
                <a:cubicBezTo>
                  <a:pt x="80966" y="19736"/>
                  <a:pt x="80966" y="19736"/>
                  <a:pt x="80966" y="19736"/>
                </a:cubicBezTo>
                <a:cubicBezTo>
                  <a:pt x="80966" y="19736"/>
                  <a:pt x="80966" y="19736"/>
                  <a:pt x="80966" y="19736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ubicBezTo>
                  <a:pt x="80966" y="19894"/>
                  <a:pt x="80966" y="19894"/>
                  <a:pt x="80966" y="19894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" name="Google Shape;3049;p256">
            <a:extLst>
              <a:ext uri="{FF2B5EF4-FFF2-40B4-BE49-F238E27FC236}">
                <a16:creationId xmlns:a16="http://schemas.microsoft.com/office/drawing/2014/main" id="{27DB40D3-2582-A034-AEE2-AB64F7CC015F}"/>
              </a:ext>
            </a:extLst>
          </p:cNvPr>
          <p:cNvSpPr/>
          <p:nvPr/>
        </p:nvSpPr>
        <p:spPr>
          <a:xfrm>
            <a:off x="9926688" y="-859479"/>
            <a:ext cx="5418709" cy="530208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7322" y="88091"/>
                </a:moveTo>
                <a:cubicBezTo>
                  <a:pt x="36673" y="88251"/>
                  <a:pt x="36673" y="88251"/>
                  <a:pt x="36673" y="88251"/>
                </a:cubicBezTo>
                <a:cubicBezTo>
                  <a:pt x="36673" y="88251"/>
                  <a:pt x="36267" y="88653"/>
                  <a:pt x="36267" y="88492"/>
                </a:cubicBezTo>
                <a:cubicBezTo>
                  <a:pt x="36186" y="88332"/>
                  <a:pt x="36348" y="88010"/>
                  <a:pt x="36348" y="87849"/>
                </a:cubicBezTo>
                <a:cubicBezTo>
                  <a:pt x="36267" y="87769"/>
                  <a:pt x="35862" y="88010"/>
                  <a:pt x="35943" y="87689"/>
                </a:cubicBezTo>
                <a:cubicBezTo>
                  <a:pt x="36024" y="87528"/>
                  <a:pt x="35943" y="87287"/>
                  <a:pt x="35862" y="87206"/>
                </a:cubicBezTo>
                <a:cubicBezTo>
                  <a:pt x="35699" y="87046"/>
                  <a:pt x="35212" y="87046"/>
                  <a:pt x="35375" y="86724"/>
                </a:cubicBezTo>
                <a:cubicBezTo>
                  <a:pt x="35537" y="86483"/>
                  <a:pt x="35943" y="86322"/>
                  <a:pt x="35943" y="86322"/>
                </a:cubicBezTo>
                <a:cubicBezTo>
                  <a:pt x="35943" y="86162"/>
                  <a:pt x="35943" y="86162"/>
                  <a:pt x="35943" y="86162"/>
                </a:cubicBezTo>
                <a:cubicBezTo>
                  <a:pt x="35618" y="85840"/>
                  <a:pt x="35618" y="85840"/>
                  <a:pt x="35618" y="85840"/>
                </a:cubicBezTo>
                <a:cubicBezTo>
                  <a:pt x="34726" y="85438"/>
                  <a:pt x="34726" y="85438"/>
                  <a:pt x="34726" y="85438"/>
                </a:cubicBezTo>
                <a:cubicBezTo>
                  <a:pt x="34726" y="85438"/>
                  <a:pt x="34645" y="84956"/>
                  <a:pt x="34482" y="84956"/>
                </a:cubicBezTo>
                <a:cubicBezTo>
                  <a:pt x="34401" y="84876"/>
                  <a:pt x="34158" y="84634"/>
                  <a:pt x="34158" y="84634"/>
                </a:cubicBezTo>
                <a:cubicBezTo>
                  <a:pt x="34158" y="84634"/>
                  <a:pt x="33914" y="84313"/>
                  <a:pt x="33590" y="84233"/>
                </a:cubicBezTo>
                <a:cubicBezTo>
                  <a:pt x="33265" y="84072"/>
                  <a:pt x="33022" y="84795"/>
                  <a:pt x="33022" y="84795"/>
                </a:cubicBezTo>
                <a:cubicBezTo>
                  <a:pt x="32697" y="84474"/>
                  <a:pt x="32697" y="84474"/>
                  <a:pt x="32697" y="84474"/>
                </a:cubicBezTo>
                <a:cubicBezTo>
                  <a:pt x="32048" y="84715"/>
                  <a:pt x="32048" y="84715"/>
                  <a:pt x="32048" y="84715"/>
                </a:cubicBezTo>
                <a:cubicBezTo>
                  <a:pt x="31561" y="85438"/>
                  <a:pt x="31561" y="85438"/>
                  <a:pt x="31561" y="85438"/>
                </a:cubicBezTo>
                <a:cubicBezTo>
                  <a:pt x="31237" y="85519"/>
                  <a:pt x="31237" y="85519"/>
                  <a:pt x="31237" y="85519"/>
                </a:cubicBezTo>
                <a:cubicBezTo>
                  <a:pt x="30750" y="85599"/>
                  <a:pt x="30750" y="85599"/>
                  <a:pt x="30750" y="85599"/>
                </a:cubicBezTo>
                <a:cubicBezTo>
                  <a:pt x="30020" y="85760"/>
                  <a:pt x="30020" y="85760"/>
                  <a:pt x="30020" y="85760"/>
                </a:cubicBezTo>
                <a:cubicBezTo>
                  <a:pt x="29858" y="86242"/>
                  <a:pt x="29858" y="86242"/>
                  <a:pt x="29858" y="86242"/>
                </a:cubicBezTo>
                <a:cubicBezTo>
                  <a:pt x="29939" y="86724"/>
                  <a:pt x="29939" y="86724"/>
                  <a:pt x="29939" y="86724"/>
                </a:cubicBezTo>
                <a:cubicBezTo>
                  <a:pt x="29533" y="87046"/>
                  <a:pt x="29533" y="87046"/>
                  <a:pt x="29533" y="87046"/>
                </a:cubicBezTo>
                <a:cubicBezTo>
                  <a:pt x="28559" y="86965"/>
                  <a:pt x="28559" y="86965"/>
                  <a:pt x="28559" y="86965"/>
                </a:cubicBezTo>
                <a:cubicBezTo>
                  <a:pt x="28722" y="86965"/>
                  <a:pt x="28722" y="86965"/>
                  <a:pt x="28722" y="86965"/>
                </a:cubicBezTo>
                <a:cubicBezTo>
                  <a:pt x="28154" y="86644"/>
                  <a:pt x="28154" y="86644"/>
                  <a:pt x="28154" y="86644"/>
                </a:cubicBezTo>
                <a:cubicBezTo>
                  <a:pt x="28154" y="86403"/>
                  <a:pt x="28154" y="86403"/>
                  <a:pt x="28154" y="86403"/>
                </a:cubicBezTo>
                <a:cubicBezTo>
                  <a:pt x="27829" y="86403"/>
                  <a:pt x="27829" y="86403"/>
                  <a:pt x="27829" y="86403"/>
                </a:cubicBezTo>
                <a:cubicBezTo>
                  <a:pt x="27586" y="86322"/>
                  <a:pt x="27586" y="86322"/>
                  <a:pt x="27586" y="86322"/>
                </a:cubicBezTo>
                <a:cubicBezTo>
                  <a:pt x="27748" y="86162"/>
                  <a:pt x="27748" y="86162"/>
                  <a:pt x="27748" y="86162"/>
                </a:cubicBezTo>
                <a:cubicBezTo>
                  <a:pt x="27586" y="85920"/>
                  <a:pt x="27586" y="85920"/>
                  <a:pt x="27586" y="85920"/>
                </a:cubicBezTo>
                <a:cubicBezTo>
                  <a:pt x="27342" y="85438"/>
                  <a:pt x="27342" y="85438"/>
                  <a:pt x="27342" y="85438"/>
                </a:cubicBezTo>
                <a:cubicBezTo>
                  <a:pt x="27505" y="85277"/>
                  <a:pt x="27505" y="85277"/>
                  <a:pt x="27505" y="85277"/>
                </a:cubicBezTo>
                <a:cubicBezTo>
                  <a:pt x="27180" y="85117"/>
                  <a:pt x="27180" y="85117"/>
                  <a:pt x="27180" y="85117"/>
                </a:cubicBezTo>
                <a:cubicBezTo>
                  <a:pt x="27018" y="84956"/>
                  <a:pt x="27018" y="84956"/>
                  <a:pt x="27018" y="84956"/>
                </a:cubicBezTo>
                <a:cubicBezTo>
                  <a:pt x="27180" y="84634"/>
                  <a:pt x="27180" y="84634"/>
                  <a:pt x="27180" y="84634"/>
                </a:cubicBezTo>
                <a:cubicBezTo>
                  <a:pt x="27018" y="84393"/>
                  <a:pt x="27018" y="84393"/>
                  <a:pt x="27018" y="84393"/>
                </a:cubicBezTo>
                <a:cubicBezTo>
                  <a:pt x="26774" y="84072"/>
                  <a:pt x="26774" y="84072"/>
                  <a:pt x="26774" y="84072"/>
                </a:cubicBezTo>
                <a:cubicBezTo>
                  <a:pt x="26369" y="83991"/>
                  <a:pt x="26369" y="83991"/>
                  <a:pt x="26369" y="83991"/>
                </a:cubicBezTo>
                <a:cubicBezTo>
                  <a:pt x="26044" y="83750"/>
                  <a:pt x="26044" y="83750"/>
                  <a:pt x="26044" y="83750"/>
                </a:cubicBezTo>
                <a:cubicBezTo>
                  <a:pt x="26044" y="83509"/>
                  <a:pt x="26044" y="83509"/>
                  <a:pt x="26044" y="83509"/>
                </a:cubicBezTo>
                <a:cubicBezTo>
                  <a:pt x="26206" y="82947"/>
                  <a:pt x="26206" y="82947"/>
                  <a:pt x="26206" y="82947"/>
                </a:cubicBezTo>
                <a:cubicBezTo>
                  <a:pt x="26206" y="82947"/>
                  <a:pt x="26206" y="82866"/>
                  <a:pt x="26531" y="82705"/>
                </a:cubicBezTo>
                <a:cubicBezTo>
                  <a:pt x="26855" y="82625"/>
                  <a:pt x="26937" y="82705"/>
                  <a:pt x="26937" y="82705"/>
                </a:cubicBezTo>
                <a:cubicBezTo>
                  <a:pt x="27423" y="82866"/>
                  <a:pt x="27423" y="82866"/>
                  <a:pt x="27423" y="82866"/>
                </a:cubicBezTo>
                <a:cubicBezTo>
                  <a:pt x="27991" y="82705"/>
                  <a:pt x="27991" y="82705"/>
                  <a:pt x="27991" y="82705"/>
                </a:cubicBezTo>
                <a:cubicBezTo>
                  <a:pt x="27991" y="82705"/>
                  <a:pt x="28559" y="82223"/>
                  <a:pt x="28640" y="82143"/>
                </a:cubicBezTo>
                <a:cubicBezTo>
                  <a:pt x="28803" y="82062"/>
                  <a:pt x="28640" y="81661"/>
                  <a:pt x="28640" y="81661"/>
                </a:cubicBezTo>
                <a:cubicBezTo>
                  <a:pt x="28965" y="81580"/>
                  <a:pt x="28965" y="81580"/>
                  <a:pt x="28965" y="81580"/>
                </a:cubicBezTo>
                <a:cubicBezTo>
                  <a:pt x="29127" y="81339"/>
                  <a:pt x="29127" y="81339"/>
                  <a:pt x="29127" y="81339"/>
                </a:cubicBezTo>
                <a:cubicBezTo>
                  <a:pt x="29127" y="80857"/>
                  <a:pt x="29127" y="80857"/>
                  <a:pt x="29127" y="80857"/>
                </a:cubicBezTo>
                <a:cubicBezTo>
                  <a:pt x="28722" y="80696"/>
                  <a:pt x="28722" y="80696"/>
                  <a:pt x="28722" y="80696"/>
                </a:cubicBezTo>
                <a:cubicBezTo>
                  <a:pt x="28397" y="80616"/>
                  <a:pt x="28397" y="80616"/>
                  <a:pt x="28397" y="80616"/>
                </a:cubicBezTo>
                <a:cubicBezTo>
                  <a:pt x="28073" y="80375"/>
                  <a:pt x="28073" y="80375"/>
                  <a:pt x="28073" y="80375"/>
                </a:cubicBezTo>
                <a:cubicBezTo>
                  <a:pt x="28235" y="79973"/>
                  <a:pt x="28235" y="79973"/>
                  <a:pt x="28235" y="79973"/>
                </a:cubicBezTo>
                <a:cubicBezTo>
                  <a:pt x="27829" y="79973"/>
                  <a:pt x="27829" y="79973"/>
                  <a:pt x="27829" y="79973"/>
                </a:cubicBezTo>
                <a:cubicBezTo>
                  <a:pt x="27423" y="79892"/>
                  <a:pt x="27423" y="79892"/>
                  <a:pt x="27423" y="79892"/>
                </a:cubicBezTo>
                <a:cubicBezTo>
                  <a:pt x="27099" y="79812"/>
                  <a:pt x="27099" y="79812"/>
                  <a:pt x="27099" y="79812"/>
                </a:cubicBezTo>
                <a:cubicBezTo>
                  <a:pt x="26855" y="79892"/>
                  <a:pt x="26855" y="79892"/>
                  <a:pt x="26855" y="79892"/>
                </a:cubicBezTo>
                <a:cubicBezTo>
                  <a:pt x="26612" y="80133"/>
                  <a:pt x="26612" y="80133"/>
                  <a:pt x="26612" y="80133"/>
                </a:cubicBezTo>
                <a:cubicBezTo>
                  <a:pt x="26206" y="80133"/>
                  <a:pt x="26206" y="80133"/>
                  <a:pt x="26206" y="80133"/>
                </a:cubicBezTo>
                <a:cubicBezTo>
                  <a:pt x="26125" y="79410"/>
                  <a:pt x="26125" y="79410"/>
                  <a:pt x="26125" y="79410"/>
                </a:cubicBezTo>
                <a:cubicBezTo>
                  <a:pt x="25963" y="79089"/>
                  <a:pt x="25963" y="79089"/>
                  <a:pt x="25963" y="79089"/>
                </a:cubicBezTo>
                <a:cubicBezTo>
                  <a:pt x="25557" y="78928"/>
                  <a:pt x="25557" y="78928"/>
                  <a:pt x="25557" y="78928"/>
                </a:cubicBezTo>
                <a:cubicBezTo>
                  <a:pt x="24665" y="78767"/>
                  <a:pt x="24665" y="78767"/>
                  <a:pt x="24665" y="78767"/>
                </a:cubicBezTo>
                <a:cubicBezTo>
                  <a:pt x="24259" y="78204"/>
                  <a:pt x="24259" y="78204"/>
                  <a:pt x="24259" y="78204"/>
                </a:cubicBezTo>
                <a:cubicBezTo>
                  <a:pt x="24178" y="77963"/>
                  <a:pt x="24178" y="77963"/>
                  <a:pt x="24178" y="77963"/>
                </a:cubicBezTo>
                <a:cubicBezTo>
                  <a:pt x="24178" y="77963"/>
                  <a:pt x="24097" y="77963"/>
                  <a:pt x="23853" y="77883"/>
                </a:cubicBezTo>
                <a:cubicBezTo>
                  <a:pt x="23610" y="77883"/>
                  <a:pt x="23772" y="77642"/>
                  <a:pt x="23772" y="77642"/>
                </a:cubicBezTo>
                <a:cubicBezTo>
                  <a:pt x="23772" y="77240"/>
                  <a:pt x="23772" y="77240"/>
                  <a:pt x="23772" y="77240"/>
                </a:cubicBezTo>
                <a:cubicBezTo>
                  <a:pt x="23448" y="77240"/>
                  <a:pt x="23448" y="77240"/>
                  <a:pt x="23448" y="77240"/>
                </a:cubicBezTo>
                <a:cubicBezTo>
                  <a:pt x="23123" y="76918"/>
                  <a:pt x="23123" y="76918"/>
                  <a:pt x="23123" y="76918"/>
                </a:cubicBezTo>
                <a:cubicBezTo>
                  <a:pt x="22555" y="76758"/>
                  <a:pt x="22555" y="76758"/>
                  <a:pt x="22555" y="76758"/>
                </a:cubicBezTo>
                <a:cubicBezTo>
                  <a:pt x="22799" y="76115"/>
                  <a:pt x="22799" y="76115"/>
                  <a:pt x="22799" y="76115"/>
                </a:cubicBezTo>
                <a:cubicBezTo>
                  <a:pt x="22799" y="75874"/>
                  <a:pt x="22799" y="75874"/>
                  <a:pt x="22799" y="75874"/>
                </a:cubicBezTo>
                <a:cubicBezTo>
                  <a:pt x="22880" y="75472"/>
                  <a:pt x="22880" y="75472"/>
                  <a:pt x="22880" y="75472"/>
                </a:cubicBezTo>
                <a:cubicBezTo>
                  <a:pt x="22636" y="75231"/>
                  <a:pt x="22636" y="75231"/>
                  <a:pt x="22636" y="75231"/>
                </a:cubicBezTo>
                <a:cubicBezTo>
                  <a:pt x="22150" y="74909"/>
                  <a:pt x="22150" y="74909"/>
                  <a:pt x="22150" y="74909"/>
                </a:cubicBezTo>
                <a:cubicBezTo>
                  <a:pt x="22150" y="74668"/>
                  <a:pt x="22150" y="74668"/>
                  <a:pt x="22150" y="74668"/>
                </a:cubicBezTo>
                <a:cubicBezTo>
                  <a:pt x="22150" y="74427"/>
                  <a:pt x="22150" y="74427"/>
                  <a:pt x="22150" y="74427"/>
                </a:cubicBezTo>
                <a:cubicBezTo>
                  <a:pt x="22150" y="73784"/>
                  <a:pt x="22150" y="73784"/>
                  <a:pt x="22150" y="73784"/>
                </a:cubicBezTo>
                <a:cubicBezTo>
                  <a:pt x="21987" y="73462"/>
                  <a:pt x="21987" y="73462"/>
                  <a:pt x="21987" y="73462"/>
                </a:cubicBezTo>
                <a:cubicBezTo>
                  <a:pt x="21663" y="73623"/>
                  <a:pt x="21663" y="73623"/>
                  <a:pt x="21663" y="73623"/>
                </a:cubicBezTo>
                <a:cubicBezTo>
                  <a:pt x="21582" y="73462"/>
                  <a:pt x="21582" y="73462"/>
                  <a:pt x="21582" y="73462"/>
                </a:cubicBezTo>
                <a:cubicBezTo>
                  <a:pt x="21338" y="73543"/>
                  <a:pt x="21338" y="73543"/>
                  <a:pt x="21338" y="73543"/>
                </a:cubicBezTo>
                <a:cubicBezTo>
                  <a:pt x="21095" y="73382"/>
                  <a:pt x="21095" y="73382"/>
                  <a:pt x="21095" y="73382"/>
                </a:cubicBezTo>
                <a:cubicBezTo>
                  <a:pt x="20851" y="73141"/>
                  <a:pt x="20851" y="73141"/>
                  <a:pt x="20851" y="73141"/>
                </a:cubicBezTo>
                <a:cubicBezTo>
                  <a:pt x="20121" y="72980"/>
                  <a:pt x="20121" y="72980"/>
                  <a:pt x="20121" y="72980"/>
                </a:cubicBezTo>
                <a:cubicBezTo>
                  <a:pt x="20121" y="72980"/>
                  <a:pt x="19878" y="73060"/>
                  <a:pt x="19553" y="73141"/>
                </a:cubicBezTo>
                <a:cubicBezTo>
                  <a:pt x="19310" y="73221"/>
                  <a:pt x="19391" y="73302"/>
                  <a:pt x="19229" y="73302"/>
                </a:cubicBezTo>
                <a:cubicBezTo>
                  <a:pt x="19066" y="73382"/>
                  <a:pt x="18985" y="73543"/>
                  <a:pt x="18985" y="73703"/>
                </a:cubicBezTo>
                <a:cubicBezTo>
                  <a:pt x="18904" y="73864"/>
                  <a:pt x="18580" y="73945"/>
                  <a:pt x="18498" y="73945"/>
                </a:cubicBezTo>
                <a:cubicBezTo>
                  <a:pt x="18336" y="74025"/>
                  <a:pt x="18174" y="73784"/>
                  <a:pt x="18174" y="73784"/>
                </a:cubicBezTo>
                <a:cubicBezTo>
                  <a:pt x="18174" y="73543"/>
                  <a:pt x="18174" y="73543"/>
                  <a:pt x="18174" y="73543"/>
                </a:cubicBezTo>
                <a:cubicBezTo>
                  <a:pt x="18093" y="73060"/>
                  <a:pt x="18093" y="73060"/>
                  <a:pt x="18093" y="73060"/>
                </a:cubicBezTo>
                <a:cubicBezTo>
                  <a:pt x="17444" y="73060"/>
                  <a:pt x="17444" y="73060"/>
                  <a:pt x="17444" y="73060"/>
                </a:cubicBezTo>
                <a:cubicBezTo>
                  <a:pt x="16876" y="73221"/>
                  <a:pt x="16876" y="73221"/>
                  <a:pt x="16876" y="73221"/>
                </a:cubicBezTo>
                <a:cubicBezTo>
                  <a:pt x="16795" y="73382"/>
                  <a:pt x="16795" y="73382"/>
                  <a:pt x="16795" y="73382"/>
                </a:cubicBezTo>
                <a:cubicBezTo>
                  <a:pt x="16389" y="73382"/>
                  <a:pt x="16389" y="73382"/>
                  <a:pt x="16389" y="73382"/>
                </a:cubicBezTo>
                <a:cubicBezTo>
                  <a:pt x="16227" y="73060"/>
                  <a:pt x="16227" y="73060"/>
                  <a:pt x="16227" y="73060"/>
                </a:cubicBezTo>
                <a:cubicBezTo>
                  <a:pt x="15983" y="72980"/>
                  <a:pt x="15983" y="72980"/>
                  <a:pt x="15983" y="72980"/>
                </a:cubicBezTo>
                <a:cubicBezTo>
                  <a:pt x="15578" y="73141"/>
                  <a:pt x="15578" y="73141"/>
                  <a:pt x="15578" y="73141"/>
                </a:cubicBezTo>
                <a:cubicBezTo>
                  <a:pt x="15578" y="73141"/>
                  <a:pt x="15496" y="73302"/>
                  <a:pt x="15415" y="73302"/>
                </a:cubicBezTo>
                <a:cubicBezTo>
                  <a:pt x="15334" y="73382"/>
                  <a:pt x="15253" y="73302"/>
                  <a:pt x="15172" y="73302"/>
                </a:cubicBezTo>
                <a:cubicBezTo>
                  <a:pt x="15091" y="73302"/>
                  <a:pt x="14929" y="73221"/>
                  <a:pt x="14847" y="73141"/>
                </a:cubicBezTo>
                <a:cubicBezTo>
                  <a:pt x="14847" y="73060"/>
                  <a:pt x="14847" y="72980"/>
                  <a:pt x="14847" y="72900"/>
                </a:cubicBezTo>
                <a:cubicBezTo>
                  <a:pt x="14847" y="72819"/>
                  <a:pt x="14847" y="72659"/>
                  <a:pt x="14847" y="72659"/>
                </a:cubicBezTo>
                <a:cubicBezTo>
                  <a:pt x="14929" y="72257"/>
                  <a:pt x="14929" y="72257"/>
                  <a:pt x="14929" y="72257"/>
                </a:cubicBezTo>
                <a:cubicBezTo>
                  <a:pt x="14929" y="72257"/>
                  <a:pt x="14604" y="72016"/>
                  <a:pt x="14523" y="71935"/>
                </a:cubicBezTo>
                <a:cubicBezTo>
                  <a:pt x="14523" y="71774"/>
                  <a:pt x="14442" y="71533"/>
                  <a:pt x="14442" y="71533"/>
                </a:cubicBezTo>
                <a:cubicBezTo>
                  <a:pt x="14442" y="71533"/>
                  <a:pt x="14279" y="71453"/>
                  <a:pt x="14198" y="71373"/>
                </a:cubicBezTo>
                <a:cubicBezTo>
                  <a:pt x="14117" y="71373"/>
                  <a:pt x="14036" y="71292"/>
                  <a:pt x="14036" y="71292"/>
                </a:cubicBezTo>
                <a:cubicBezTo>
                  <a:pt x="14117" y="71051"/>
                  <a:pt x="14117" y="71051"/>
                  <a:pt x="14117" y="71051"/>
                </a:cubicBezTo>
                <a:cubicBezTo>
                  <a:pt x="13793" y="70890"/>
                  <a:pt x="13793" y="70890"/>
                  <a:pt x="13793" y="70890"/>
                </a:cubicBezTo>
                <a:cubicBezTo>
                  <a:pt x="13387" y="70569"/>
                  <a:pt x="13387" y="70569"/>
                  <a:pt x="13387" y="70569"/>
                </a:cubicBezTo>
                <a:cubicBezTo>
                  <a:pt x="13549" y="70328"/>
                  <a:pt x="13549" y="70328"/>
                  <a:pt x="13549" y="70328"/>
                </a:cubicBezTo>
                <a:cubicBezTo>
                  <a:pt x="13225" y="70087"/>
                  <a:pt x="13225" y="70087"/>
                  <a:pt x="13225" y="70087"/>
                </a:cubicBezTo>
                <a:cubicBezTo>
                  <a:pt x="12900" y="70328"/>
                  <a:pt x="12900" y="70328"/>
                  <a:pt x="12900" y="70328"/>
                </a:cubicBezTo>
                <a:cubicBezTo>
                  <a:pt x="12900" y="70006"/>
                  <a:pt x="12900" y="70006"/>
                  <a:pt x="12900" y="70006"/>
                </a:cubicBezTo>
                <a:cubicBezTo>
                  <a:pt x="12738" y="69363"/>
                  <a:pt x="12738" y="69363"/>
                  <a:pt x="12738" y="69363"/>
                </a:cubicBezTo>
                <a:cubicBezTo>
                  <a:pt x="12900" y="69122"/>
                  <a:pt x="12900" y="69122"/>
                  <a:pt x="12900" y="69122"/>
                </a:cubicBezTo>
                <a:cubicBezTo>
                  <a:pt x="12819" y="68318"/>
                  <a:pt x="12819" y="68318"/>
                  <a:pt x="12819" y="68318"/>
                </a:cubicBezTo>
                <a:cubicBezTo>
                  <a:pt x="12819" y="68318"/>
                  <a:pt x="12657" y="68238"/>
                  <a:pt x="12576" y="68238"/>
                </a:cubicBezTo>
                <a:cubicBezTo>
                  <a:pt x="12494" y="68238"/>
                  <a:pt x="12251" y="68077"/>
                  <a:pt x="12251" y="68077"/>
                </a:cubicBezTo>
                <a:cubicBezTo>
                  <a:pt x="11926" y="67997"/>
                  <a:pt x="11926" y="67997"/>
                  <a:pt x="11926" y="67997"/>
                </a:cubicBezTo>
                <a:cubicBezTo>
                  <a:pt x="11926" y="67756"/>
                  <a:pt x="11926" y="67756"/>
                  <a:pt x="11926" y="67756"/>
                </a:cubicBezTo>
                <a:cubicBezTo>
                  <a:pt x="11683" y="67515"/>
                  <a:pt x="11683" y="67515"/>
                  <a:pt x="11683" y="67515"/>
                </a:cubicBezTo>
                <a:cubicBezTo>
                  <a:pt x="11440" y="67595"/>
                  <a:pt x="11440" y="67595"/>
                  <a:pt x="11440" y="67595"/>
                </a:cubicBezTo>
                <a:cubicBezTo>
                  <a:pt x="11440" y="67595"/>
                  <a:pt x="11359" y="67595"/>
                  <a:pt x="11359" y="67515"/>
                </a:cubicBezTo>
                <a:cubicBezTo>
                  <a:pt x="11359" y="67434"/>
                  <a:pt x="11196" y="67113"/>
                  <a:pt x="11196" y="67113"/>
                </a:cubicBezTo>
                <a:cubicBezTo>
                  <a:pt x="11440" y="66872"/>
                  <a:pt x="11440" y="66872"/>
                  <a:pt x="11440" y="66872"/>
                </a:cubicBezTo>
                <a:cubicBezTo>
                  <a:pt x="11440" y="66872"/>
                  <a:pt x="11440" y="66550"/>
                  <a:pt x="11440" y="66470"/>
                </a:cubicBezTo>
                <a:cubicBezTo>
                  <a:pt x="11440" y="66309"/>
                  <a:pt x="11845" y="66309"/>
                  <a:pt x="11845" y="66309"/>
                </a:cubicBezTo>
                <a:cubicBezTo>
                  <a:pt x="12008" y="66229"/>
                  <a:pt x="12008" y="66229"/>
                  <a:pt x="12008" y="66229"/>
                </a:cubicBezTo>
                <a:cubicBezTo>
                  <a:pt x="12089" y="65907"/>
                  <a:pt x="12089" y="65907"/>
                  <a:pt x="12089" y="65907"/>
                </a:cubicBezTo>
                <a:cubicBezTo>
                  <a:pt x="12089" y="65907"/>
                  <a:pt x="11845" y="65907"/>
                  <a:pt x="11683" y="65746"/>
                </a:cubicBezTo>
                <a:cubicBezTo>
                  <a:pt x="11602" y="65586"/>
                  <a:pt x="11683" y="65746"/>
                  <a:pt x="11683" y="65666"/>
                </a:cubicBezTo>
                <a:cubicBezTo>
                  <a:pt x="11683" y="65586"/>
                  <a:pt x="11602" y="65666"/>
                  <a:pt x="11602" y="65666"/>
                </a:cubicBezTo>
                <a:cubicBezTo>
                  <a:pt x="11602" y="65666"/>
                  <a:pt x="11521" y="65586"/>
                  <a:pt x="11521" y="65505"/>
                </a:cubicBezTo>
                <a:cubicBezTo>
                  <a:pt x="11521" y="65425"/>
                  <a:pt x="11521" y="65264"/>
                  <a:pt x="11440" y="65184"/>
                </a:cubicBezTo>
                <a:cubicBezTo>
                  <a:pt x="11359" y="65103"/>
                  <a:pt x="11196" y="65023"/>
                  <a:pt x="11196" y="65023"/>
                </a:cubicBezTo>
                <a:cubicBezTo>
                  <a:pt x="11115" y="64943"/>
                  <a:pt x="11115" y="65023"/>
                  <a:pt x="10953" y="64862"/>
                </a:cubicBezTo>
                <a:cubicBezTo>
                  <a:pt x="10872" y="64701"/>
                  <a:pt x="10872" y="64621"/>
                  <a:pt x="10872" y="64621"/>
                </a:cubicBezTo>
                <a:cubicBezTo>
                  <a:pt x="10628" y="64460"/>
                  <a:pt x="10791" y="64058"/>
                  <a:pt x="10628" y="63898"/>
                </a:cubicBezTo>
                <a:cubicBezTo>
                  <a:pt x="10304" y="63576"/>
                  <a:pt x="10304" y="63014"/>
                  <a:pt x="10141" y="62853"/>
                </a:cubicBezTo>
                <a:cubicBezTo>
                  <a:pt x="9898" y="62451"/>
                  <a:pt x="10060" y="62371"/>
                  <a:pt x="10141" y="62129"/>
                </a:cubicBezTo>
                <a:cubicBezTo>
                  <a:pt x="10223" y="61647"/>
                  <a:pt x="10466" y="61245"/>
                  <a:pt x="10547" y="60442"/>
                </a:cubicBezTo>
                <a:cubicBezTo>
                  <a:pt x="10547" y="59879"/>
                  <a:pt x="10547" y="59879"/>
                  <a:pt x="10547" y="59879"/>
                </a:cubicBezTo>
                <a:cubicBezTo>
                  <a:pt x="10953" y="59557"/>
                  <a:pt x="10953" y="59557"/>
                  <a:pt x="10953" y="59557"/>
                </a:cubicBezTo>
                <a:cubicBezTo>
                  <a:pt x="10953" y="59397"/>
                  <a:pt x="10953" y="59397"/>
                  <a:pt x="10953" y="59397"/>
                </a:cubicBezTo>
                <a:cubicBezTo>
                  <a:pt x="10547" y="59236"/>
                  <a:pt x="10547" y="59236"/>
                  <a:pt x="10547" y="59236"/>
                </a:cubicBezTo>
                <a:cubicBezTo>
                  <a:pt x="10547" y="59236"/>
                  <a:pt x="10547" y="59236"/>
                  <a:pt x="10547" y="59236"/>
                </a:cubicBezTo>
                <a:cubicBezTo>
                  <a:pt x="10547" y="59075"/>
                  <a:pt x="10547" y="59075"/>
                  <a:pt x="10547" y="59075"/>
                </a:cubicBezTo>
                <a:cubicBezTo>
                  <a:pt x="10304" y="58191"/>
                  <a:pt x="10304" y="58191"/>
                  <a:pt x="10304" y="58191"/>
                </a:cubicBezTo>
                <a:cubicBezTo>
                  <a:pt x="10385" y="57789"/>
                  <a:pt x="10385" y="57789"/>
                  <a:pt x="10385" y="57789"/>
                </a:cubicBezTo>
                <a:cubicBezTo>
                  <a:pt x="10628" y="58030"/>
                  <a:pt x="10628" y="58030"/>
                  <a:pt x="10628" y="58030"/>
                </a:cubicBezTo>
                <a:cubicBezTo>
                  <a:pt x="10872" y="58111"/>
                  <a:pt x="10872" y="58111"/>
                  <a:pt x="10872" y="58111"/>
                </a:cubicBezTo>
                <a:cubicBezTo>
                  <a:pt x="11115" y="57870"/>
                  <a:pt x="11115" y="57870"/>
                  <a:pt x="11115" y="57870"/>
                </a:cubicBezTo>
                <a:cubicBezTo>
                  <a:pt x="11034" y="57468"/>
                  <a:pt x="11034" y="57468"/>
                  <a:pt x="11034" y="57468"/>
                </a:cubicBezTo>
                <a:cubicBezTo>
                  <a:pt x="11034" y="57468"/>
                  <a:pt x="11115" y="57227"/>
                  <a:pt x="11196" y="57227"/>
                </a:cubicBezTo>
                <a:cubicBezTo>
                  <a:pt x="11277" y="57307"/>
                  <a:pt x="11764" y="57307"/>
                  <a:pt x="11764" y="57307"/>
                </a:cubicBezTo>
                <a:cubicBezTo>
                  <a:pt x="12008" y="57066"/>
                  <a:pt x="12008" y="57066"/>
                  <a:pt x="12008" y="57066"/>
                </a:cubicBezTo>
                <a:cubicBezTo>
                  <a:pt x="12008" y="56584"/>
                  <a:pt x="12008" y="56584"/>
                  <a:pt x="12008" y="56584"/>
                </a:cubicBezTo>
                <a:cubicBezTo>
                  <a:pt x="12251" y="56262"/>
                  <a:pt x="12251" y="56262"/>
                  <a:pt x="12251" y="56262"/>
                </a:cubicBezTo>
                <a:cubicBezTo>
                  <a:pt x="12738" y="56182"/>
                  <a:pt x="12738" y="56182"/>
                  <a:pt x="12738" y="56182"/>
                </a:cubicBezTo>
                <a:cubicBezTo>
                  <a:pt x="12738" y="56182"/>
                  <a:pt x="13630" y="56182"/>
                  <a:pt x="13711" y="56262"/>
                </a:cubicBezTo>
                <a:cubicBezTo>
                  <a:pt x="13793" y="56262"/>
                  <a:pt x="14198" y="56262"/>
                  <a:pt x="14279" y="56262"/>
                </a:cubicBezTo>
                <a:cubicBezTo>
                  <a:pt x="14361" y="56262"/>
                  <a:pt x="14847" y="56262"/>
                  <a:pt x="14847" y="56262"/>
                </a:cubicBezTo>
                <a:cubicBezTo>
                  <a:pt x="15010" y="55941"/>
                  <a:pt x="15010" y="55941"/>
                  <a:pt x="15010" y="55941"/>
                </a:cubicBezTo>
                <a:cubicBezTo>
                  <a:pt x="14361" y="55780"/>
                  <a:pt x="14361" y="55780"/>
                  <a:pt x="14361" y="55780"/>
                </a:cubicBezTo>
                <a:cubicBezTo>
                  <a:pt x="13874" y="55699"/>
                  <a:pt x="13874" y="55699"/>
                  <a:pt x="13874" y="55699"/>
                </a:cubicBezTo>
                <a:cubicBezTo>
                  <a:pt x="13630" y="55298"/>
                  <a:pt x="13630" y="55298"/>
                  <a:pt x="13630" y="55298"/>
                </a:cubicBezTo>
                <a:cubicBezTo>
                  <a:pt x="13144" y="55298"/>
                  <a:pt x="13144" y="55298"/>
                  <a:pt x="13144" y="55298"/>
                </a:cubicBezTo>
                <a:cubicBezTo>
                  <a:pt x="12494" y="55458"/>
                  <a:pt x="12494" y="55458"/>
                  <a:pt x="12494" y="55458"/>
                </a:cubicBezTo>
                <a:cubicBezTo>
                  <a:pt x="12089" y="55539"/>
                  <a:pt x="12089" y="55539"/>
                  <a:pt x="12089" y="55539"/>
                </a:cubicBezTo>
                <a:cubicBezTo>
                  <a:pt x="11521" y="55458"/>
                  <a:pt x="11521" y="55458"/>
                  <a:pt x="11521" y="55458"/>
                </a:cubicBezTo>
                <a:cubicBezTo>
                  <a:pt x="11359" y="55217"/>
                  <a:pt x="11359" y="55217"/>
                  <a:pt x="11359" y="55217"/>
                </a:cubicBezTo>
                <a:cubicBezTo>
                  <a:pt x="11359" y="55217"/>
                  <a:pt x="10953" y="55137"/>
                  <a:pt x="10872" y="55137"/>
                </a:cubicBezTo>
                <a:cubicBezTo>
                  <a:pt x="10791" y="55137"/>
                  <a:pt x="10709" y="55137"/>
                  <a:pt x="10628" y="55056"/>
                </a:cubicBezTo>
                <a:cubicBezTo>
                  <a:pt x="10466" y="55056"/>
                  <a:pt x="10223" y="54494"/>
                  <a:pt x="10223" y="54494"/>
                </a:cubicBezTo>
                <a:cubicBezTo>
                  <a:pt x="10223" y="54172"/>
                  <a:pt x="10223" y="54172"/>
                  <a:pt x="10223" y="54172"/>
                </a:cubicBezTo>
                <a:cubicBezTo>
                  <a:pt x="10466" y="54494"/>
                  <a:pt x="10466" y="54494"/>
                  <a:pt x="10466" y="54494"/>
                </a:cubicBezTo>
                <a:cubicBezTo>
                  <a:pt x="10466" y="54494"/>
                  <a:pt x="10628" y="54574"/>
                  <a:pt x="10628" y="54494"/>
                </a:cubicBezTo>
                <a:cubicBezTo>
                  <a:pt x="10628" y="54413"/>
                  <a:pt x="10547" y="53931"/>
                  <a:pt x="10547" y="53931"/>
                </a:cubicBezTo>
                <a:cubicBezTo>
                  <a:pt x="10547" y="53931"/>
                  <a:pt x="10628" y="53449"/>
                  <a:pt x="10385" y="53529"/>
                </a:cubicBezTo>
                <a:cubicBezTo>
                  <a:pt x="10141" y="53610"/>
                  <a:pt x="9898" y="53770"/>
                  <a:pt x="9898" y="53931"/>
                </a:cubicBezTo>
                <a:cubicBezTo>
                  <a:pt x="9898" y="54012"/>
                  <a:pt x="9736" y="54253"/>
                  <a:pt x="9736" y="54413"/>
                </a:cubicBezTo>
                <a:cubicBezTo>
                  <a:pt x="9655" y="54494"/>
                  <a:pt x="9574" y="54574"/>
                  <a:pt x="9492" y="54655"/>
                </a:cubicBezTo>
                <a:cubicBezTo>
                  <a:pt x="9411" y="54735"/>
                  <a:pt x="9006" y="54815"/>
                  <a:pt x="9006" y="54815"/>
                </a:cubicBezTo>
                <a:cubicBezTo>
                  <a:pt x="8681" y="54815"/>
                  <a:pt x="8681" y="54815"/>
                  <a:pt x="8681" y="54815"/>
                </a:cubicBezTo>
                <a:cubicBezTo>
                  <a:pt x="8924" y="54494"/>
                  <a:pt x="8924" y="54494"/>
                  <a:pt x="8924" y="54494"/>
                </a:cubicBezTo>
                <a:cubicBezTo>
                  <a:pt x="9087" y="54092"/>
                  <a:pt x="9087" y="54092"/>
                  <a:pt x="9087" y="54092"/>
                </a:cubicBezTo>
                <a:cubicBezTo>
                  <a:pt x="9087" y="54092"/>
                  <a:pt x="9492" y="53369"/>
                  <a:pt x="9492" y="53208"/>
                </a:cubicBezTo>
                <a:cubicBezTo>
                  <a:pt x="9574" y="52967"/>
                  <a:pt x="9655" y="52806"/>
                  <a:pt x="9736" y="52565"/>
                </a:cubicBezTo>
                <a:cubicBezTo>
                  <a:pt x="9817" y="52404"/>
                  <a:pt x="10060" y="52324"/>
                  <a:pt x="10060" y="52324"/>
                </a:cubicBezTo>
                <a:cubicBezTo>
                  <a:pt x="10304" y="51520"/>
                  <a:pt x="10304" y="51520"/>
                  <a:pt x="10304" y="51520"/>
                </a:cubicBezTo>
                <a:cubicBezTo>
                  <a:pt x="11359" y="49430"/>
                  <a:pt x="11359" y="49430"/>
                  <a:pt x="11359" y="49430"/>
                </a:cubicBezTo>
                <a:cubicBezTo>
                  <a:pt x="11359" y="49430"/>
                  <a:pt x="11521" y="48787"/>
                  <a:pt x="11602" y="48707"/>
                </a:cubicBezTo>
                <a:cubicBezTo>
                  <a:pt x="11602" y="48546"/>
                  <a:pt x="11845" y="48064"/>
                  <a:pt x="11845" y="47903"/>
                </a:cubicBezTo>
                <a:cubicBezTo>
                  <a:pt x="11845" y="47742"/>
                  <a:pt x="12089" y="47180"/>
                  <a:pt x="12089" y="47180"/>
                </a:cubicBezTo>
                <a:cubicBezTo>
                  <a:pt x="12089" y="47180"/>
                  <a:pt x="12332" y="46296"/>
                  <a:pt x="12332" y="46135"/>
                </a:cubicBezTo>
                <a:cubicBezTo>
                  <a:pt x="12332" y="45974"/>
                  <a:pt x="12494" y="45894"/>
                  <a:pt x="12657" y="45813"/>
                </a:cubicBezTo>
                <a:cubicBezTo>
                  <a:pt x="12738" y="45733"/>
                  <a:pt x="12981" y="45010"/>
                  <a:pt x="12981" y="44849"/>
                </a:cubicBezTo>
                <a:cubicBezTo>
                  <a:pt x="13062" y="44688"/>
                  <a:pt x="13225" y="43241"/>
                  <a:pt x="13225" y="43241"/>
                </a:cubicBezTo>
                <a:cubicBezTo>
                  <a:pt x="13062" y="42277"/>
                  <a:pt x="13062" y="42277"/>
                  <a:pt x="13062" y="42277"/>
                </a:cubicBezTo>
                <a:cubicBezTo>
                  <a:pt x="12576" y="41875"/>
                  <a:pt x="12576" y="41875"/>
                  <a:pt x="12576" y="41875"/>
                </a:cubicBezTo>
                <a:cubicBezTo>
                  <a:pt x="12089" y="41634"/>
                  <a:pt x="12089" y="41634"/>
                  <a:pt x="12089" y="41634"/>
                </a:cubicBezTo>
                <a:cubicBezTo>
                  <a:pt x="12089" y="41634"/>
                  <a:pt x="11521" y="41312"/>
                  <a:pt x="11440" y="41232"/>
                </a:cubicBezTo>
                <a:cubicBezTo>
                  <a:pt x="11359" y="41152"/>
                  <a:pt x="11034" y="40991"/>
                  <a:pt x="10953" y="40991"/>
                </a:cubicBezTo>
                <a:cubicBezTo>
                  <a:pt x="10791" y="40910"/>
                  <a:pt x="10385" y="40830"/>
                  <a:pt x="10304" y="40830"/>
                </a:cubicBezTo>
                <a:cubicBezTo>
                  <a:pt x="10223" y="40830"/>
                  <a:pt x="9898" y="40589"/>
                  <a:pt x="9655" y="40428"/>
                </a:cubicBezTo>
                <a:cubicBezTo>
                  <a:pt x="9411" y="40267"/>
                  <a:pt x="9087" y="39866"/>
                  <a:pt x="9087" y="39866"/>
                </a:cubicBezTo>
                <a:cubicBezTo>
                  <a:pt x="9492" y="39223"/>
                  <a:pt x="9492" y="39223"/>
                  <a:pt x="9492" y="39223"/>
                </a:cubicBezTo>
                <a:cubicBezTo>
                  <a:pt x="9492" y="39223"/>
                  <a:pt x="9574" y="38740"/>
                  <a:pt x="9574" y="38580"/>
                </a:cubicBezTo>
                <a:cubicBezTo>
                  <a:pt x="9574" y="38499"/>
                  <a:pt x="9574" y="38258"/>
                  <a:pt x="9574" y="38258"/>
                </a:cubicBezTo>
                <a:cubicBezTo>
                  <a:pt x="9411" y="37937"/>
                  <a:pt x="9411" y="37937"/>
                  <a:pt x="9411" y="37937"/>
                </a:cubicBezTo>
                <a:cubicBezTo>
                  <a:pt x="9168" y="37535"/>
                  <a:pt x="9168" y="37535"/>
                  <a:pt x="9168" y="37535"/>
                </a:cubicBezTo>
                <a:cubicBezTo>
                  <a:pt x="9168" y="37535"/>
                  <a:pt x="8843" y="37454"/>
                  <a:pt x="8681" y="37454"/>
                </a:cubicBezTo>
                <a:cubicBezTo>
                  <a:pt x="8600" y="37535"/>
                  <a:pt x="8600" y="37294"/>
                  <a:pt x="8519" y="37133"/>
                </a:cubicBezTo>
                <a:cubicBezTo>
                  <a:pt x="8519" y="36972"/>
                  <a:pt x="8356" y="36972"/>
                  <a:pt x="8194" y="36892"/>
                </a:cubicBezTo>
                <a:cubicBezTo>
                  <a:pt x="7951" y="36731"/>
                  <a:pt x="7870" y="36490"/>
                  <a:pt x="7870" y="36490"/>
                </a:cubicBezTo>
                <a:cubicBezTo>
                  <a:pt x="8113" y="36008"/>
                  <a:pt x="8113" y="36008"/>
                  <a:pt x="8113" y="36008"/>
                </a:cubicBezTo>
                <a:cubicBezTo>
                  <a:pt x="8113" y="36008"/>
                  <a:pt x="8032" y="35766"/>
                  <a:pt x="7951" y="35686"/>
                </a:cubicBezTo>
                <a:cubicBezTo>
                  <a:pt x="7951" y="35606"/>
                  <a:pt x="7626" y="35606"/>
                  <a:pt x="7626" y="35606"/>
                </a:cubicBezTo>
                <a:cubicBezTo>
                  <a:pt x="7058" y="35525"/>
                  <a:pt x="7058" y="35525"/>
                  <a:pt x="7058" y="35525"/>
                </a:cubicBezTo>
                <a:cubicBezTo>
                  <a:pt x="6653" y="34882"/>
                  <a:pt x="6653" y="34882"/>
                  <a:pt x="6653" y="34882"/>
                </a:cubicBezTo>
                <a:cubicBezTo>
                  <a:pt x="6653" y="34882"/>
                  <a:pt x="6734" y="34320"/>
                  <a:pt x="6815" y="34239"/>
                </a:cubicBezTo>
                <a:cubicBezTo>
                  <a:pt x="6896" y="34079"/>
                  <a:pt x="6815" y="33998"/>
                  <a:pt x="6815" y="33998"/>
                </a:cubicBezTo>
                <a:cubicBezTo>
                  <a:pt x="6409" y="33837"/>
                  <a:pt x="6409" y="33837"/>
                  <a:pt x="6409" y="33837"/>
                </a:cubicBezTo>
                <a:cubicBezTo>
                  <a:pt x="6572" y="33516"/>
                  <a:pt x="6572" y="33516"/>
                  <a:pt x="6572" y="33516"/>
                </a:cubicBezTo>
                <a:cubicBezTo>
                  <a:pt x="6328" y="33034"/>
                  <a:pt x="6328" y="33034"/>
                  <a:pt x="6328" y="33034"/>
                </a:cubicBezTo>
                <a:cubicBezTo>
                  <a:pt x="6409" y="32712"/>
                  <a:pt x="6409" y="32712"/>
                  <a:pt x="6409" y="32712"/>
                </a:cubicBezTo>
                <a:cubicBezTo>
                  <a:pt x="6166" y="32391"/>
                  <a:pt x="6166" y="32391"/>
                  <a:pt x="6166" y="32391"/>
                </a:cubicBezTo>
                <a:cubicBezTo>
                  <a:pt x="6166" y="32150"/>
                  <a:pt x="6166" y="32150"/>
                  <a:pt x="6166" y="32150"/>
                </a:cubicBezTo>
                <a:cubicBezTo>
                  <a:pt x="6409" y="31748"/>
                  <a:pt x="6409" y="31748"/>
                  <a:pt x="6409" y="31748"/>
                </a:cubicBezTo>
                <a:cubicBezTo>
                  <a:pt x="6490" y="31346"/>
                  <a:pt x="6490" y="31346"/>
                  <a:pt x="6490" y="31346"/>
                </a:cubicBezTo>
                <a:cubicBezTo>
                  <a:pt x="6166" y="30783"/>
                  <a:pt x="6166" y="30783"/>
                  <a:pt x="6166" y="30783"/>
                </a:cubicBezTo>
                <a:cubicBezTo>
                  <a:pt x="6166" y="30783"/>
                  <a:pt x="5922" y="30381"/>
                  <a:pt x="5922" y="30301"/>
                </a:cubicBezTo>
                <a:cubicBezTo>
                  <a:pt x="5922" y="30221"/>
                  <a:pt x="5273" y="29819"/>
                  <a:pt x="5273" y="29819"/>
                </a:cubicBezTo>
                <a:cubicBezTo>
                  <a:pt x="5030" y="29256"/>
                  <a:pt x="5030" y="29256"/>
                  <a:pt x="5030" y="29256"/>
                </a:cubicBezTo>
                <a:cubicBezTo>
                  <a:pt x="4381" y="28533"/>
                  <a:pt x="4381" y="28533"/>
                  <a:pt x="4381" y="28533"/>
                </a:cubicBezTo>
                <a:cubicBezTo>
                  <a:pt x="3894" y="27970"/>
                  <a:pt x="3894" y="27970"/>
                  <a:pt x="3894" y="27970"/>
                </a:cubicBezTo>
                <a:cubicBezTo>
                  <a:pt x="3569" y="27649"/>
                  <a:pt x="3569" y="27649"/>
                  <a:pt x="3569" y="27649"/>
                </a:cubicBezTo>
                <a:cubicBezTo>
                  <a:pt x="3326" y="27086"/>
                  <a:pt x="3326" y="27086"/>
                  <a:pt x="3326" y="27086"/>
                </a:cubicBezTo>
                <a:cubicBezTo>
                  <a:pt x="3326" y="27086"/>
                  <a:pt x="3488" y="26443"/>
                  <a:pt x="3488" y="26363"/>
                </a:cubicBezTo>
                <a:cubicBezTo>
                  <a:pt x="3488" y="26202"/>
                  <a:pt x="3732" y="25639"/>
                  <a:pt x="3732" y="25237"/>
                </a:cubicBezTo>
                <a:cubicBezTo>
                  <a:pt x="3651" y="24916"/>
                  <a:pt x="3894" y="24514"/>
                  <a:pt x="3894" y="24514"/>
                </a:cubicBezTo>
                <a:cubicBezTo>
                  <a:pt x="3975" y="23791"/>
                  <a:pt x="3975" y="23791"/>
                  <a:pt x="3975" y="23791"/>
                </a:cubicBezTo>
                <a:cubicBezTo>
                  <a:pt x="3732" y="23549"/>
                  <a:pt x="3732" y="23549"/>
                  <a:pt x="3732" y="23549"/>
                </a:cubicBezTo>
                <a:cubicBezTo>
                  <a:pt x="3245" y="23228"/>
                  <a:pt x="3245" y="23228"/>
                  <a:pt x="3245" y="23228"/>
                </a:cubicBezTo>
                <a:cubicBezTo>
                  <a:pt x="2920" y="22826"/>
                  <a:pt x="2920" y="22826"/>
                  <a:pt x="2920" y="22826"/>
                </a:cubicBezTo>
                <a:cubicBezTo>
                  <a:pt x="2920" y="22826"/>
                  <a:pt x="2758" y="22344"/>
                  <a:pt x="2190" y="22183"/>
                </a:cubicBezTo>
                <a:cubicBezTo>
                  <a:pt x="1622" y="22103"/>
                  <a:pt x="1541" y="22183"/>
                  <a:pt x="1541" y="22183"/>
                </a:cubicBezTo>
                <a:cubicBezTo>
                  <a:pt x="973" y="21862"/>
                  <a:pt x="973" y="21862"/>
                  <a:pt x="973" y="21862"/>
                </a:cubicBezTo>
                <a:cubicBezTo>
                  <a:pt x="567" y="21219"/>
                  <a:pt x="567" y="21219"/>
                  <a:pt x="567" y="21219"/>
                </a:cubicBezTo>
                <a:cubicBezTo>
                  <a:pt x="243" y="20736"/>
                  <a:pt x="243" y="20736"/>
                  <a:pt x="243" y="20736"/>
                </a:cubicBezTo>
                <a:cubicBezTo>
                  <a:pt x="486" y="20415"/>
                  <a:pt x="486" y="20415"/>
                  <a:pt x="486" y="20415"/>
                </a:cubicBezTo>
                <a:cubicBezTo>
                  <a:pt x="567" y="19933"/>
                  <a:pt x="567" y="19933"/>
                  <a:pt x="567" y="19933"/>
                </a:cubicBezTo>
                <a:cubicBezTo>
                  <a:pt x="567" y="19611"/>
                  <a:pt x="567" y="19611"/>
                  <a:pt x="567" y="19611"/>
                </a:cubicBezTo>
                <a:cubicBezTo>
                  <a:pt x="567" y="19209"/>
                  <a:pt x="567" y="19209"/>
                  <a:pt x="567" y="19209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9048"/>
                  <a:pt x="0" y="19048"/>
                  <a:pt x="0" y="19048"/>
                </a:cubicBezTo>
                <a:cubicBezTo>
                  <a:pt x="0" y="18968"/>
                  <a:pt x="0" y="18968"/>
                  <a:pt x="0" y="18968"/>
                </a:cubicBezTo>
                <a:cubicBezTo>
                  <a:pt x="0" y="18968"/>
                  <a:pt x="0" y="18968"/>
                  <a:pt x="0" y="18968"/>
                </a:cubicBezTo>
                <a:cubicBezTo>
                  <a:pt x="0" y="18968"/>
                  <a:pt x="0" y="18968"/>
                  <a:pt x="0" y="18968"/>
                </a:cubicBezTo>
                <a:cubicBezTo>
                  <a:pt x="0" y="18968"/>
                  <a:pt x="0" y="18968"/>
                  <a:pt x="0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968"/>
                  <a:pt x="81" y="18968"/>
                  <a:pt x="81" y="18968"/>
                </a:cubicBezTo>
                <a:cubicBezTo>
                  <a:pt x="81" y="18888"/>
                  <a:pt x="81" y="18888"/>
                  <a:pt x="81" y="18888"/>
                </a:cubicBezTo>
                <a:cubicBezTo>
                  <a:pt x="81" y="18888"/>
                  <a:pt x="81" y="18888"/>
                  <a:pt x="81" y="18888"/>
                </a:cubicBezTo>
                <a:cubicBezTo>
                  <a:pt x="81" y="18888"/>
                  <a:pt x="81" y="18888"/>
                  <a:pt x="81" y="18888"/>
                </a:cubicBezTo>
                <a:cubicBezTo>
                  <a:pt x="162" y="18888"/>
                  <a:pt x="162" y="18888"/>
                  <a:pt x="162" y="18888"/>
                </a:cubicBezTo>
                <a:cubicBezTo>
                  <a:pt x="162" y="18888"/>
                  <a:pt x="162" y="18888"/>
                  <a:pt x="162" y="18888"/>
                </a:cubicBezTo>
                <a:cubicBezTo>
                  <a:pt x="162" y="18888"/>
                  <a:pt x="162" y="18888"/>
                  <a:pt x="162" y="18888"/>
                </a:cubicBezTo>
                <a:cubicBezTo>
                  <a:pt x="162" y="18888"/>
                  <a:pt x="162" y="18888"/>
                  <a:pt x="162" y="18888"/>
                </a:cubicBezTo>
                <a:cubicBezTo>
                  <a:pt x="162" y="18888"/>
                  <a:pt x="162" y="18888"/>
                  <a:pt x="162" y="18888"/>
                </a:cubicBezTo>
                <a:cubicBezTo>
                  <a:pt x="162" y="18807"/>
                  <a:pt x="162" y="18807"/>
                  <a:pt x="162" y="18807"/>
                </a:cubicBezTo>
                <a:cubicBezTo>
                  <a:pt x="162" y="18807"/>
                  <a:pt x="162" y="18807"/>
                  <a:pt x="162" y="18807"/>
                </a:cubicBezTo>
                <a:cubicBezTo>
                  <a:pt x="162" y="18807"/>
                  <a:pt x="162" y="18807"/>
                  <a:pt x="162" y="18807"/>
                </a:cubicBezTo>
                <a:cubicBezTo>
                  <a:pt x="243" y="18807"/>
                  <a:pt x="243" y="18807"/>
                  <a:pt x="243" y="18807"/>
                </a:cubicBezTo>
                <a:cubicBezTo>
                  <a:pt x="243" y="18807"/>
                  <a:pt x="243" y="18807"/>
                  <a:pt x="243" y="18807"/>
                </a:cubicBezTo>
                <a:cubicBezTo>
                  <a:pt x="243" y="18807"/>
                  <a:pt x="243" y="18807"/>
                  <a:pt x="243" y="18807"/>
                </a:cubicBezTo>
                <a:cubicBezTo>
                  <a:pt x="243" y="18807"/>
                  <a:pt x="243" y="18807"/>
                  <a:pt x="243" y="18807"/>
                </a:cubicBezTo>
                <a:cubicBezTo>
                  <a:pt x="243" y="18727"/>
                  <a:pt x="243" y="18727"/>
                  <a:pt x="243" y="18727"/>
                </a:cubicBezTo>
                <a:cubicBezTo>
                  <a:pt x="324" y="18727"/>
                  <a:pt x="324" y="18727"/>
                  <a:pt x="324" y="18727"/>
                </a:cubicBezTo>
                <a:cubicBezTo>
                  <a:pt x="324" y="18727"/>
                  <a:pt x="324" y="18727"/>
                  <a:pt x="324" y="18727"/>
                </a:cubicBezTo>
                <a:cubicBezTo>
                  <a:pt x="324" y="18727"/>
                  <a:pt x="324" y="18727"/>
                  <a:pt x="324" y="18727"/>
                </a:cubicBezTo>
                <a:cubicBezTo>
                  <a:pt x="324" y="18727"/>
                  <a:pt x="324" y="18727"/>
                  <a:pt x="324" y="18727"/>
                </a:cubicBezTo>
                <a:cubicBezTo>
                  <a:pt x="324" y="18647"/>
                  <a:pt x="324" y="18647"/>
                  <a:pt x="324" y="18647"/>
                </a:cubicBezTo>
                <a:cubicBezTo>
                  <a:pt x="324" y="18647"/>
                  <a:pt x="324" y="18647"/>
                  <a:pt x="324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05" y="18647"/>
                  <a:pt x="405" y="18647"/>
                  <a:pt x="405" y="18647"/>
                </a:cubicBezTo>
                <a:cubicBezTo>
                  <a:pt x="486" y="18486"/>
                  <a:pt x="567" y="18405"/>
                  <a:pt x="649" y="18405"/>
                </a:cubicBezTo>
                <a:cubicBezTo>
                  <a:pt x="649" y="18405"/>
                  <a:pt x="649" y="18325"/>
                  <a:pt x="649" y="18325"/>
                </a:cubicBezTo>
                <a:cubicBezTo>
                  <a:pt x="730" y="18325"/>
                  <a:pt x="811" y="18325"/>
                  <a:pt x="973" y="18325"/>
                </a:cubicBezTo>
                <a:cubicBezTo>
                  <a:pt x="973" y="18325"/>
                  <a:pt x="1135" y="17602"/>
                  <a:pt x="1054" y="17361"/>
                </a:cubicBezTo>
                <a:cubicBezTo>
                  <a:pt x="973" y="17039"/>
                  <a:pt x="1379" y="16718"/>
                  <a:pt x="1379" y="16718"/>
                </a:cubicBezTo>
                <a:cubicBezTo>
                  <a:pt x="1947" y="16155"/>
                  <a:pt x="1947" y="16155"/>
                  <a:pt x="1947" y="16155"/>
                </a:cubicBezTo>
                <a:cubicBezTo>
                  <a:pt x="1866" y="15512"/>
                  <a:pt x="1866" y="15512"/>
                  <a:pt x="1866" y="15512"/>
                </a:cubicBezTo>
                <a:cubicBezTo>
                  <a:pt x="2515" y="15592"/>
                  <a:pt x="2515" y="15592"/>
                  <a:pt x="2515" y="15592"/>
                </a:cubicBezTo>
                <a:cubicBezTo>
                  <a:pt x="2515" y="15592"/>
                  <a:pt x="3002" y="15351"/>
                  <a:pt x="2839" y="15030"/>
                </a:cubicBezTo>
                <a:cubicBezTo>
                  <a:pt x="2758" y="14869"/>
                  <a:pt x="2677" y="14628"/>
                  <a:pt x="2596" y="14467"/>
                </a:cubicBezTo>
                <a:cubicBezTo>
                  <a:pt x="2677" y="14387"/>
                  <a:pt x="2677" y="14387"/>
                  <a:pt x="2677" y="14306"/>
                </a:cubicBezTo>
                <a:cubicBezTo>
                  <a:pt x="2677" y="14306"/>
                  <a:pt x="2839" y="14065"/>
                  <a:pt x="2839" y="14065"/>
                </a:cubicBezTo>
                <a:cubicBezTo>
                  <a:pt x="3083" y="14065"/>
                  <a:pt x="3083" y="14065"/>
                  <a:pt x="3083" y="14065"/>
                </a:cubicBezTo>
                <a:cubicBezTo>
                  <a:pt x="3326" y="14146"/>
                  <a:pt x="3326" y="14146"/>
                  <a:pt x="3326" y="14146"/>
                </a:cubicBezTo>
                <a:cubicBezTo>
                  <a:pt x="3326" y="14146"/>
                  <a:pt x="3488" y="14226"/>
                  <a:pt x="3569" y="14226"/>
                </a:cubicBezTo>
                <a:cubicBezTo>
                  <a:pt x="3732" y="14226"/>
                  <a:pt x="3975" y="14065"/>
                  <a:pt x="3975" y="14065"/>
                </a:cubicBezTo>
                <a:cubicBezTo>
                  <a:pt x="3732" y="13744"/>
                  <a:pt x="3732" y="13744"/>
                  <a:pt x="3732" y="13744"/>
                </a:cubicBezTo>
                <a:cubicBezTo>
                  <a:pt x="3813" y="13422"/>
                  <a:pt x="3813" y="13422"/>
                  <a:pt x="3813" y="13422"/>
                </a:cubicBezTo>
                <a:cubicBezTo>
                  <a:pt x="4137" y="13422"/>
                  <a:pt x="4137" y="13422"/>
                  <a:pt x="4137" y="13422"/>
                </a:cubicBezTo>
                <a:cubicBezTo>
                  <a:pt x="4300" y="13422"/>
                  <a:pt x="4300" y="13422"/>
                  <a:pt x="4300" y="13422"/>
                </a:cubicBezTo>
                <a:cubicBezTo>
                  <a:pt x="3975" y="12940"/>
                  <a:pt x="3975" y="12940"/>
                  <a:pt x="3975" y="12940"/>
                </a:cubicBezTo>
                <a:cubicBezTo>
                  <a:pt x="3975" y="12940"/>
                  <a:pt x="4056" y="12699"/>
                  <a:pt x="4219" y="12779"/>
                </a:cubicBezTo>
                <a:cubicBezTo>
                  <a:pt x="4300" y="12779"/>
                  <a:pt x="4381" y="12940"/>
                  <a:pt x="4462" y="12940"/>
                </a:cubicBezTo>
                <a:cubicBezTo>
                  <a:pt x="4543" y="12940"/>
                  <a:pt x="4787" y="13020"/>
                  <a:pt x="4787" y="13020"/>
                </a:cubicBezTo>
                <a:cubicBezTo>
                  <a:pt x="5111" y="13101"/>
                  <a:pt x="5111" y="13101"/>
                  <a:pt x="5111" y="13101"/>
                </a:cubicBezTo>
                <a:cubicBezTo>
                  <a:pt x="5436" y="13101"/>
                  <a:pt x="5436" y="13101"/>
                  <a:pt x="5436" y="13101"/>
                </a:cubicBezTo>
                <a:cubicBezTo>
                  <a:pt x="5841" y="13101"/>
                  <a:pt x="5841" y="13101"/>
                  <a:pt x="5841" y="13101"/>
                </a:cubicBezTo>
                <a:cubicBezTo>
                  <a:pt x="6004" y="13342"/>
                  <a:pt x="6004" y="13342"/>
                  <a:pt x="6004" y="13342"/>
                </a:cubicBezTo>
                <a:cubicBezTo>
                  <a:pt x="6004" y="13342"/>
                  <a:pt x="6085" y="13503"/>
                  <a:pt x="6004" y="13583"/>
                </a:cubicBezTo>
                <a:cubicBezTo>
                  <a:pt x="6004" y="13663"/>
                  <a:pt x="5922" y="13904"/>
                  <a:pt x="5922" y="13904"/>
                </a:cubicBezTo>
                <a:cubicBezTo>
                  <a:pt x="5841" y="13904"/>
                  <a:pt x="5760" y="13904"/>
                  <a:pt x="5679" y="13985"/>
                </a:cubicBezTo>
                <a:cubicBezTo>
                  <a:pt x="5598" y="13985"/>
                  <a:pt x="5192" y="13985"/>
                  <a:pt x="5192" y="13985"/>
                </a:cubicBezTo>
                <a:cubicBezTo>
                  <a:pt x="4868" y="13985"/>
                  <a:pt x="4868" y="13985"/>
                  <a:pt x="4868" y="13985"/>
                </a:cubicBezTo>
                <a:cubicBezTo>
                  <a:pt x="4624" y="13985"/>
                  <a:pt x="4624" y="13985"/>
                  <a:pt x="4624" y="13985"/>
                </a:cubicBezTo>
                <a:cubicBezTo>
                  <a:pt x="4543" y="14146"/>
                  <a:pt x="4543" y="14146"/>
                  <a:pt x="4543" y="14146"/>
                </a:cubicBezTo>
                <a:cubicBezTo>
                  <a:pt x="4543" y="14146"/>
                  <a:pt x="4787" y="14226"/>
                  <a:pt x="4868" y="14306"/>
                </a:cubicBezTo>
                <a:cubicBezTo>
                  <a:pt x="5030" y="14306"/>
                  <a:pt x="5030" y="14306"/>
                  <a:pt x="5030" y="14306"/>
                </a:cubicBezTo>
                <a:cubicBezTo>
                  <a:pt x="5111" y="14387"/>
                  <a:pt x="5273" y="14547"/>
                  <a:pt x="5273" y="14547"/>
                </a:cubicBezTo>
                <a:cubicBezTo>
                  <a:pt x="5192" y="14789"/>
                  <a:pt x="5192" y="14789"/>
                  <a:pt x="5192" y="14789"/>
                </a:cubicBezTo>
                <a:cubicBezTo>
                  <a:pt x="5192" y="14789"/>
                  <a:pt x="5436" y="14467"/>
                  <a:pt x="5436" y="14467"/>
                </a:cubicBezTo>
                <a:cubicBezTo>
                  <a:pt x="5517" y="14467"/>
                  <a:pt x="5922" y="14467"/>
                  <a:pt x="5922" y="14467"/>
                </a:cubicBezTo>
                <a:cubicBezTo>
                  <a:pt x="5922" y="14467"/>
                  <a:pt x="6247" y="14306"/>
                  <a:pt x="6328" y="14306"/>
                </a:cubicBezTo>
                <a:cubicBezTo>
                  <a:pt x="6328" y="14306"/>
                  <a:pt x="6247" y="14547"/>
                  <a:pt x="6247" y="14547"/>
                </a:cubicBezTo>
                <a:cubicBezTo>
                  <a:pt x="6572" y="14387"/>
                  <a:pt x="6572" y="14387"/>
                  <a:pt x="6572" y="14387"/>
                </a:cubicBezTo>
                <a:cubicBezTo>
                  <a:pt x="6896" y="14226"/>
                  <a:pt x="6896" y="14226"/>
                  <a:pt x="6896" y="14226"/>
                </a:cubicBezTo>
                <a:cubicBezTo>
                  <a:pt x="7058" y="14226"/>
                  <a:pt x="7058" y="14226"/>
                  <a:pt x="7058" y="14226"/>
                </a:cubicBezTo>
                <a:cubicBezTo>
                  <a:pt x="7058" y="14226"/>
                  <a:pt x="7139" y="14467"/>
                  <a:pt x="7139" y="14547"/>
                </a:cubicBezTo>
                <a:cubicBezTo>
                  <a:pt x="7058" y="14628"/>
                  <a:pt x="7058" y="14628"/>
                  <a:pt x="7058" y="14789"/>
                </a:cubicBezTo>
                <a:cubicBezTo>
                  <a:pt x="7058" y="14869"/>
                  <a:pt x="6977" y="14949"/>
                  <a:pt x="7058" y="15030"/>
                </a:cubicBezTo>
                <a:cubicBezTo>
                  <a:pt x="7058" y="15030"/>
                  <a:pt x="7058" y="15110"/>
                  <a:pt x="7139" y="15110"/>
                </a:cubicBezTo>
                <a:cubicBezTo>
                  <a:pt x="7221" y="15190"/>
                  <a:pt x="7302" y="15110"/>
                  <a:pt x="7302" y="15110"/>
                </a:cubicBezTo>
                <a:cubicBezTo>
                  <a:pt x="7464" y="14708"/>
                  <a:pt x="7464" y="14708"/>
                  <a:pt x="7464" y="14708"/>
                </a:cubicBezTo>
                <a:cubicBezTo>
                  <a:pt x="7464" y="14708"/>
                  <a:pt x="7626" y="14547"/>
                  <a:pt x="7626" y="14547"/>
                </a:cubicBezTo>
                <a:cubicBezTo>
                  <a:pt x="7707" y="14547"/>
                  <a:pt x="7951" y="14387"/>
                  <a:pt x="7951" y="14387"/>
                </a:cubicBezTo>
                <a:cubicBezTo>
                  <a:pt x="8356" y="14387"/>
                  <a:pt x="8356" y="14387"/>
                  <a:pt x="8356" y="14387"/>
                </a:cubicBezTo>
                <a:cubicBezTo>
                  <a:pt x="8356" y="14387"/>
                  <a:pt x="8762" y="14306"/>
                  <a:pt x="8843" y="14306"/>
                </a:cubicBezTo>
                <a:cubicBezTo>
                  <a:pt x="8843" y="14387"/>
                  <a:pt x="9006" y="14387"/>
                  <a:pt x="9087" y="14387"/>
                </a:cubicBezTo>
                <a:cubicBezTo>
                  <a:pt x="9249" y="14387"/>
                  <a:pt x="9330" y="14387"/>
                  <a:pt x="9492" y="14387"/>
                </a:cubicBezTo>
                <a:cubicBezTo>
                  <a:pt x="9574" y="14387"/>
                  <a:pt x="9655" y="14387"/>
                  <a:pt x="9655" y="14387"/>
                </a:cubicBezTo>
                <a:cubicBezTo>
                  <a:pt x="9655" y="14387"/>
                  <a:pt x="9817" y="14226"/>
                  <a:pt x="9817" y="14226"/>
                </a:cubicBezTo>
                <a:cubicBezTo>
                  <a:pt x="9817" y="14146"/>
                  <a:pt x="9817" y="14065"/>
                  <a:pt x="9817" y="14065"/>
                </a:cubicBezTo>
                <a:cubicBezTo>
                  <a:pt x="9898" y="13985"/>
                  <a:pt x="9979" y="13824"/>
                  <a:pt x="10060" y="13824"/>
                </a:cubicBezTo>
                <a:cubicBezTo>
                  <a:pt x="10141" y="13824"/>
                  <a:pt x="11359" y="13985"/>
                  <a:pt x="11359" y="13985"/>
                </a:cubicBezTo>
                <a:cubicBezTo>
                  <a:pt x="12413" y="14306"/>
                  <a:pt x="12413" y="14306"/>
                  <a:pt x="12413" y="14306"/>
                </a:cubicBezTo>
                <a:cubicBezTo>
                  <a:pt x="13144" y="14467"/>
                  <a:pt x="13144" y="14467"/>
                  <a:pt x="13144" y="14467"/>
                </a:cubicBezTo>
                <a:cubicBezTo>
                  <a:pt x="13144" y="14467"/>
                  <a:pt x="13711" y="14789"/>
                  <a:pt x="13793" y="14789"/>
                </a:cubicBezTo>
                <a:cubicBezTo>
                  <a:pt x="13874" y="14869"/>
                  <a:pt x="14929" y="15030"/>
                  <a:pt x="14929" y="15030"/>
                </a:cubicBezTo>
                <a:cubicBezTo>
                  <a:pt x="15415" y="15351"/>
                  <a:pt x="15415" y="15351"/>
                  <a:pt x="15415" y="15351"/>
                </a:cubicBezTo>
                <a:cubicBezTo>
                  <a:pt x="15415" y="15351"/>
                  <a:pt x="15902" y="15512"/>
                  <a:pt x="15902" y="15592"/>
                </a:cubicBezTo>
                <a:cubicBezTo>
                  <a:pt x="15902" y="15673"/>
                  <a:pt x="16227" y="15833"/>
                  <a:pt x="16227" y="15833"/>
                </a:cubicBezTo>
                <a:cubicBezTo>
                  <a:pt x="16551" y="15673"/>
                  <a:pt x="16551" y="15673"/>
                  <a:pt x="16551" y="15673"/>
                </a:cubicBezTo>
                <a:cubicBezTo>
                  <a:pt x="16551" y="15673"/>
                  <a:pt x="16957" y="15753"/>
                  <a:pt x="16957" y="15753"/>
                </a:cubicBezTo>
                <a:cubicBezTo>
                  <a:pt x="17038" y="15833"/>
                  <a:pt x="17849" y="16075"/>
                  <a:pt x="17849" y="16075"/>
                </a:cubicBezTo>
                <a:cubicBezTo>
                  <a:pt x="17849" y="16075"/>
                  <a:pt x="18417" y="16235"/>
                  <a:pt x="18498" y="16235"/>
                </a:cubicBezTo>
                <a:cubicBezTo>
                  <a:pt x="18580" y="16235"/>
                  <a:pt x="18904" y="16155"/>
                  <a:pt x="18904" y="16155"/>
                </a:cubicBezTo>
                <a:cubicBezTo>
                  <a:pt x="18904" y="15914"/>
                  <a:pt x="18904" y="15914"/>
                  <a:pt x="18904" y="15914"/>
                </a:cubicBezTo>
                <a:cubicBezTo>
                  <a:pt x="18904" y="15914"/>
                  <a:pt x="18823" y="15753"/>
                  <a:pt x="18985" y="15833"/>
                </a:cubicBezTo>
                <a:cubicBezTo>
                  <a:pt x="19148" y="15833"/>
                  <a:pt x="19229" y="15833"/>
                  <a:pt x="19310" y="15914"/>
                </a:cubicBezTo>
                <a:cubicBezTo>
                  <a:pt x="19310" y="15994"/>
                  <a:pt x="19472" y="15994"/>
                  <a:pt x="19553" y="16075"/>
                </a:cubicBezTo>
                <a:cubicBezTo>
                  <a:pt x="19634" y="16235"/>
                  <a:pt x="19959" y="16316"/>
                  <a:pt x="19959" y="16316"/>
                </a:cubicBezTo>
                <a:cubicBezTo>
                  <a:pt x="20365" y="16476"/>
                  <a:pt x="20365" y="16476"/>
                  <a:pt x="20365" y="16476"/>
                </a:cubicBezTo>
                <a:cubicBezTo>
                  <a:pt x="20446" y="16718"/>
                  <a:pt x="20446" y="16718"/>
                  <a:pt x="20446" y="16718"/>
                </a:cubicBezTo>
                <a:cubicBezTo>
                  <a:pt x="20527" y="16798"/>
                  <a:pt x="20527" y="16798"/>
                  <a:pt x="20527" y="16798"/>
                </a:cubicBezTo>
                <a:cubicBezTo>
                  <a:pt x="20608" y="16637"/>
                  <a:pt x="20608" y="16637"/>
                  <a:pt x="20608" y="16637"/>
                </a:cubicBezTo>
                <a:cubicBezTo>
                  <a:pt x="20689" y="16557"/>
                  <a:pt x="20770" y="16557"/>
                  <a:pt x="20770" y="16557"/>
                </a:cubicBezTo>
                <a:cubicBezTo>
                  <a:pt x="20933" y="16637"/>
                  <a:pt x="20933" y="16637"/>
                  <a:pt x="20933" y="16637"/>
                </a:cubicBezTo>
                <a:cubicBezTo>
                  <a:pt x="20933" y="16637"/>
                  <a:pt x="21095" y="16637"/>
                  <a:pt x="21095" y="16637"/>
                </a:cubicBezTo>
                <a:cubicBezTo>
                  <a:pt x="21176" y="16637"/>
                  <a:pt x="21419" y="16557"/>
                  <a:pt x="21419" y="16557"/>
                </a:cubicBezTo>
                <a:cubicBezTo>
                  <a:pt x="21419" y="16637"/>
                  <a:pt x="21582" y="16798"/>
                  <a:pt x="21663" y="16798"/>
                </a:cubicBezTo>
                <a:cubicBezTo>
                  <a:pt x="21663" y="16878"/>
                  <a:pt x="21825" y="17119"/>
                  <a:pt x="21825" y="17119"/>
                </a:cubicBezTo>
                <a:cubicBezTo>
                  <a:pt x="21825" y="17119"/>
                  <a:pt x="21825" y="17200"/>
                  <a:pt x="21825" y="17361"/>
                </a:cubicBezTo>
                <a:cubicBezTo>
                  <a:pt x="21825" y="17441"/>
                  <a:pt x="21906" y="17521"/>
                  <a:pt x="21906" y="17521"/>
                </a:cubicBezTo>
                <a:cubicBezTo>
                  <a:pt x="22068" y="17682"/>
                  <a:pt x="22068" y="17682"/>
                  <a:pt x="22068" y="17682"/>
                </a:cubicBezTo>
                <a:cubicBezTo>
                  <a:pt x="22474" y="18325"/>
                  <a:pt x="22474" y="18325"/>
                  <a:pt x="22474" y="18325"/>
                </a:cubicBezTo>
                <a:cubicBezTo>
                  <a:pt x="22636" y="18486"/>
                  <a:pt x="22636" y="18486"/>
                  <a:pt x="22636" y="18486"/>
                </a:cubicBezTo>
                <a:cubicBezTo>
                  <a:pt x="22799" y="18325"/>
                  <a:pt x="22799" y="18325"/>
                  <a:pt x="22799" y="18325"/>
                </a:cubicBezTo>
                <a:cubicBezTo>
                  <a:pt x="23042" y="18325"/>
                  <a:pt x="23042" y="18325"/>
                  <a:pt x="23042" y="18325"/>
                </a:cubicBezTo>
                <a:cubicBezTo>
                  <a:pt x="23286" y="18888"/>
                  <a:pt x="23286" y="18888"/>
                  <a:pt x="23286" y="18888"/>
                </a:cubicBezTo>
                <a:cubicBezTo>
                  <a:pt x="23529" y="19611"/>
                  <a:pt x="23529" y="19611"/>
                  <a:pt x="23529" y="19611"/>
                </a:cubicBezTo>
                <a:cubicBezTo>
                  <a:pt x="23367" y="20576"/>
                  <a:pt x="23367" y="20576"/>
                  <a:pt x="23367" y="20576"/>
                </a:cubicBezTo>
                <a:cubicBezTo>
                  <a:pt x="23367" y="21219"/>
                  <a:pt x="23367" y="21219"/>
                  <a:pt x="23367" y="21219"/>
                </a:cubicBezTo>
                <a:cubicBezTo>
                  <a:pt x="23367" y="21219"/>
                  <a:pt x="23204" y="21701"/>
                  <a:pt x="23204" y="21781"/>
                </a:cubicBezTo>
                <a:cubicBezTo>
                  <a:pt x="23204" y="21942"/>
                  <a:pt x="22799" y="22505"/>
                  <a:pt x="22799" y="22505"/>
                </a:cubicBezTo>
                <a:cubicBezTo>
                  <a:pt x="22799" y="22505"/>
                  <a:pt x="22555" y="22987"/>
                  <a:pt x="22474" y="23067"/>
                </a:cubicBezTo>
                <a:cubicBezTo>
                  <a:pt x="22393" y="23228"/>
                  <a:pt x="22068" y="23871"/>
                  <a:pt x="22068" y="23871"/>
                </a:cubicBezTo>
                <a:cubicBezTo>
                  <a:pt x="21095" y="24835"/>
                  <a:pt x="21095" y="24835"/>
                  <a:pt x="21095" y="24835"/>
                </a:cubicBezTo>
                <a:cubicBezTo>
                  <a:pt x="21095" y="24835"/>
                  <a:pt x="20608" y="25077"/>
                  <a:pt x="20446" y="25157"/>
                </a:cubicBezTo>
                <a:cubicBezTo>
                  <a:pt x="20365" y="25318"/>
                  <a:pt x="19553" y="25398"/>
                  <a:pt x="19553" y="25398"/>
                </a:cubicBezTo>
                <a:cubicBezTo>
                  <a:pt x="18904" y="25398"/>
                  <a:pt x="18904" y="25398"/>
                  <a:pt x="18904" y="25398"/>
                </a:cubicBezTo>
                <a:cubicBezTo>
                  <a:pt x="17931" y="25157"/>
                  <a:pt x="17931" y="25157"/>
                  <a:pt x="17931" y="25157"/>
                </a:cubicBezTo>
                <a:cubicBezTo>
                  <a:pt x="17363" y="25318"/>
                  <a:pt x="17363" y="25318"/>
                  <a:pt x="17363" y="25318"/>
                </a:cubicBezTo>
                <a:cubicBezTo>
                  <a:pt x="16632" y="25559"/>
                  <a:pt x="16632" y="25559"/>
                  <a:pt x="16632" y="25559"/>
                </a:cubicBezTo>
                <a:cubicBezTo>
                  <a:pt x="15983" y="25559"/>
                  <a:pt x="15983" y="25559"/>
                  <a:pt x="15983" y="25559"/>
                </a:cubicBezTo>
                <a:cubicBezTo>
                  <a:pt x="15172" y="25720"/>
                  <a:pt x="15172" y="25720"/>
                  <a:pt x="15172" y="25720"/>
                </a:cubicBezTo>
                <a:cubicBezTo>
                  <a:pt x="15172" y="25720"/>
                  <a:pt x="15010" y="25720"/>
                  <a:pt x="14847" y="25720"/>
                </a:cubicBezTo>
                <a:cubicBezTo>
                  <a:pt x="14766" y="25720"/>
                  <a:pt x="14279" y="25559"/>
                  <a:pt x="14279" y="25559"/>
                </a:cubicBezTo>
                <a:cubicBezTo>
                  <a:pt x="13711" y="25398"/>
                  <a:pt x="13711" y="25398"/>
                  <a:pt x="13711" y="25398"/>
                </a:cubicBezTo>
                <a:cubicBezTo>
                  <a:pt x="13306" y="25398"/>
                  <a:pt x="13306" y="25398"/>
                  <a:pt x="13306" y="25398"/>
                </a:cubicBezTo>
                <a:cubicBezTo>
                  <a:pt x="13225" y="25720"/>
                  <a:pt x="13225" y="25720"/>
                  <a:pt x="13225" y="25720"/>
                </a:cubicBezTo>
                <a:cubicBezTo>
                  <a:pt x="13225" y="25720"/>
                  <a:pt x="13225" y="25720"/>
                  <a:pt x="13062" y="25720"/>
                </a:cubicBezTo>
                <a:cubicBezTo>
                  <a:pt x="12900" y="25720"/>
                  <a:pt x="12738" y="25720"/>
                  <a:pt x="12738" y="25720"/>
                </a:cubicBezTo>
                <a:cubicBezTo>
                  <a:pt x="12738" y="25398"/>
                  <a:pt x="12738" y="25398"/>
                  <a:pt x="12738" y="25398"/>
                </a:cubicBezTo>
                <a:cubicBezTo>
                  <a:pt x="12170" y="25398"/>
                  <a:pt x="12170" y="25398"/>
                  <a:pt x="12170" y="25398"/>
                </a:cubicBezTo>
                <a:cubicBezTo>
                  <a:pt x="12170" y="25398"/>
                  <a:pt x="11926" y="25478"/>
                  <a:pt x="11764" y="25478"/>
                </a:cubicBezTo>
                <a:cubicBezTo>
                  <a:pt x="11521" y="25478"/>
                  <a:pt x="11277" y="25237"/>
                  <a:pt x="11196" y="25237"/>
                </a:cubicBezTo>
                <a:cubicBezTo>
                  <a:pt x="11115" y="25237"/>
                  <a:pt x="11115" y="25318"/>
                  <a:pt x="11115" y="25318"/>
                </a:cubicBezTo>
                <a:cubicBezTo>
                  <a:pt x="11115" y="25559"/>
                  <a:pt x="11115" y="25559"/>
                  <a:pt x="11115" y="25559"/>
                </a:cubicBezTo>
                <a:cubicBezTo>
                  <a:pt x="10709" y="25559"/>
                  <a:pt x="10709" y="25559"/>
                  <a:pt x="10709" y="25559"/>
                </a:cubicBezTo>
                <a:cubicBezTo>
                  <a:pt x="10223" y="25398"/>
                  <a:pt x="10223" y="25398"/>
                  <a:pt x="10223" y="25398"/>
                </a:cubicBezTo>
                <a:cubicBezTo>
                  <a:pt x="9817" y="25077"/>
                  <a:pt x="9817" y="25077"/>
                  <a:pt x="9817" y="25077"/>
                </a:cubicBezTo>
                <a:cubicBezTo>
                  <a:pt x="9492" y="24755"/>
                  <a:pt x="9492" y="24755"/>
                  <a:pt x="9492" y="24755"/>
                </a:cubicBezTo>
                <a:cubicBezTo>
                  <a:pt x="9492" y="24594"/>
                  <a:pt x="9492" y="24594"/>
                  <a:pt x="9492" y="24594"/>
                </a:cubicBezTo>
                <a:cubicBezTo>
                  <a:pt x="9087" y="24594"/>
                  <a:pt x="9087" y="24594"/>
                  <a:pt x="9087" y="24594"/>
                </a:cubicBezTo>
                <a:cubicBezTo>
                  <a:pt x="8519" y="24594"/>
                  <a:pt x="8519" y="24594"/>
                  <a:pt x="8519" y="24594"/>
                </a:cubicBezTo>
                <a:cubicBezTo>
                  <a:pt x="8194" y="24755"/>
                  <a:pt x="8194" y="24755"/>
                  <a:pt x="8194" y="24755"/>
                </a:cubicBezTo>
                <a:cubicBezTo>
                  <a:pt x="8600" y="24835"/>
                  <a:pt x="8600" y="24835"/>
                  <a:pt x="8600" y="24835"/>
                </a:cubicBezTo>
                <a:cubicBezTo>
                  <a:pt x="8843" y="24916"/>
                  <a:pt x="8843" y="24916"/>
                  <a:pt x="8843" y="24916"/>
                </a:cubicBezTo>
                <a:cubicBezTo>
                  <a:pt x="8843" y="24916"/>
                  <a:pt x="9168" y="24835"/>
                  <a:pt x="9168" y="25077"/>
                </a:cubicBezTo>
                <a:cubicBezTo>
                  <a:pt x="9168" y="25237"/>
                  <a:pt x="9006" y="25237"/>
                  <a:pt x="9168" y="25398"/>
                </a:cubicBezTo>
                <a:cubicBezTo>
                  <a:pt x="9249" y="25559"/>
                  <a:pt x="9574" y="25720"/>
                  <a:pt x="9574" y="25720"/>
                </a:cubicBezTo>
                <a:cubicBezTo>
                  <a:pt x="9574" y="25720"/>
                  <a:pt x="9736" y="25720"/>
                  <a:pt x="9817" y="25720"/>
                </a:cubicBezTo>
                <a:cubicBezTo>
                  <a:pt x="9898" y="25720"/>
                  <a:pt x="9979" y="25720"/>
                  <a:pt x="9979" y="25720"/>
                </a:cubicBezTo>
                <a:cubicBezTo>
                  <a:pt x="10141" y="25961"/>
                  <a:pt x="10141" y="25961"/>
                  <a:pt x="10141" y="25961"/>
                </a:cubicBezTo>
                <a:cubicBezTo>
                  <a:pt x="10141" y="25961"/>
                  <a:pt x="10060" y="26041"/>
                  <a:pt x="10223" y="26041"/>
                </a:cubicBezTo>
                <a:cubicBezTo>
                  <a:pt x="10304" y="26041"/>
                  <a:pt x="10709" y="26041"/>
                  <a:pt x="10709" y="26041"/>
                </a:cubicBezTo>
                <a:cubicBezTo>
                  <a:pt x="11115" y="26202"/>
                  <a:pt x="11115" y="26202"/>
                  <a:pt x="11115" y="26202"/>
                </a:cubicBezTo>
                <a:cubicBezTo>
                  <a:pt x="11115" y="26443"/>
                  <a:pt x="11115" y="26443"/>
                  <a:pt x="11115" y="26443"/>
                </a:cubicBezTo>
                <a:cubicBezTo>
                  <a:pt x="11115" y="26443"/>
                  <a:pt x="11034" y="26604"/>
                  <a:pt x="11196" y="26604"/>
                </a:cubicBezTo>
                <a:cubicBezTo>
                  <a:pt x="11277" y="26684"/>
                  <a:pt x="11602" y="26604"/>
                  <a:pt x="11602" y="26604"/>
                </a:cubicBezTo>
                <a:cubicBezTo>
                  <a:pt x="11602" y="26604"/>
                  <a:pt x="11521" y="26523"/>
                  <a:pt x="11683" y="26604"/>
                </a:cubicBezTo>
                <a:cubicBezTo>
                  <a:pt x="11764" y="26684"/>
                  <a:pt x="11845" y="26764"/>
                  <a:pt x="11845" y="26764"/>
                </a:cubicBezTo>
                <a:cubicBezTo>
                  <a:pt x="11845" y="26764"/>
                  <a:pt x="11926" y="26925"/>
                  <a:pt x="11926" y="27006"/>
                </a:cubicBezTo>
                <a:cubicBezTo>
                  <a:pt x="11926" y="27086"/>
                  <a:pt x="12008" y="27247"/>
                  <a:pt x="12008" y="27247"/>
                </a:cubicBezTo>
                <a:cubicBezTo>
                  <a:pt x="12008" y="27247"/>
                  <a:pt x="11764" y="27327"/>
                  <a:pt x="12170" y="27327"/>
                </a:cubicBezTo>
                <a:cubicBezTo>
                  <a:pt x="12576" y="27327"/>
                  <a:pt x="12576" y="27327"/>
                  <a:pt x="12576" y="27327"/>
                </a:cubicBezTo>
                <a:cubicBezTo>
                  <a:pt x="12900" y="27327"/>
                  <a:pt x="12900" y="27327"/>
                  <a:pt x="12900" y="27327"/>
                </a:cubicBezTo>
                <a:cubicBezTo>
                  <a:pt x="13225" y="27407"/>
                  <a:pt x="13225" y="27407"/>
                  <a:pt x="13225" y="27407"/>
                </a:cubicBezTo>
                <a:cubicBezTo>
                  <a:pt x="13793" y="27649"/>
                  <a:pt x="13793" y="27649"/>
                  <a:pt x="13793" y="27649"/>
                </a:cubicBezTo>
                <a:cubicBezTo>
                  <a:pt x="14361" y="27970"/>
                  <a:pt x="14361" y="27970"/>
                  <a:pt x="14361" y="27970"/>
                </a:cubicBezTo>
                <a:cubicBezTo>
                  <a:pt x="14361" y="27970"/>
                  <a:pt x="14279" y="28211"/>
                  <a:pt x="14442" y="28211"/>
                </a:cubicBezTo>
                <a:cubicBezTo>
                  <a:pt x="14523" y="28211"/>
                  <a:pt x="14847" y="28211"/>
                  <a:pt x="14847" y="28211"/>
                </a:cubicBezTo>
                <a:cubicBezTo>
                  <a:pt x="15091" y="28854"/>
                  <a:pt x="15091" y="28854"/>
                  <a:pt x="15091" y="28854"/>
                </a:cubicBezTo>
                <a:cubicBezTo>
                  <a:pt x="14685" y="28854"/>
                  <a:pt x="14685" y="28854"/>
                  <a:pt x="14685" y="28854"/>
                </a:cubicBezTo>
                <a:cubicBezTo>
                  <a:pt x="14929" y="29497"/>
                  <a:pt x="14929" y="29497"/>
                  <a:pt x="14929" y="29497"/>
                </a:cubicBezTo>
                <a:cubicBezTo>
                  <a:pt x="15091" y="29819"/>
                  <a:pt x="15091" y="29819"/>
                  <a:pt x="15091" y="29819"/>
                </a:cubicBezTo>
                <a:cubicBezTo>
                  <a:pt x="15010" y="30221"/>
                  <a:pt x="15010" y="30221"/>
                  <a:pt x="15010" y="30221"/>
                </a:cubicBezTo>
                <a:cubicBezTo>
                  <a:pt x="14766" y="30462"/>
                  <a:pt x="14766" y="30462"/>
                  <a:pt x="14766" y="30462"/>
                </a:cubicBezTo>
                <a:cubicBezTo>
                  <a:pt x="14766" y="30462"/>
                  <a:pt x="14766" y="30622"/>
                  <a:pt x="14766" y="30622"/>
                </a:cubicBezTo>
                <a:cubicBezTo>
                  <a:pt x="14766" y="30703"/>
                  <a:pt x="14929" y="30703"/>
                  <a:pt x="14929" y="30703"/>
                </a:cubicBezTo>
                <a:cubicBezTo>
                  <a:pt x="14929" y="30703"/>
                  <a:pt x="15091" y="30864"/>
                  <a:pt x="15091" y="30944"/>
                </a:cubicBezTo>
                <a:cubicBezTo>
                  <a:pt x="15091" y="31024"/>
                  <a:pt x="15334" y="31105"/>
                  <a:pt x="15334" y="31185"/>
                </a:cubicBezTo>
                <a:cubicBezTo>
                  <a:pt x="15415" y="31265"/>
                  <a:pt x="15659" y="31507"/>
                  <a:pt x="15659" y="31507"/>
                </a:cubicBezTo>
                <a:cubicBezTo>
                  <a:pt x="15740" y="31667"/>
                  <a:pt x="15740" y="31667"/>
                  <a:pt x="15740" y="31667"/>
                </a:cubicBezTo>
                <a:cubicBezTo>
                  <a:pt x="16064" y="31828"/>
                  <a:pt x="16064" y="31828"/>
                  <a:pt x="16064" y="31828"/>
                </a:cubicBezTo>
                <a:cubicBezTo>
                  <a:pt x="16064" y="31828"/>
                  <a:pt x="16064" y="31828"/>
                  <a:pt x="16064" y="31908"/>
                </a:cubicBezTo>
                <a:cubicBezTo>
                  <a:pt x="16064" y="32069"/>
                  <a:pt x="16227" y="32230"/>
                  <a:pt x="16227" y="32230"/>
                </a:cubicBezTo>
                <a:cubicBezTo>
                  <a:pt x="16551" y="32471"/>
                  <a:pt x="16551" y="32471"/>
                  <a:pt x="16551" y="32471"/>
                </a:cubicBezTo>
                <a:cubicBezTo>
                  <a:pt x="16551" y="32471"/>
                  <a:pt x="16551" y="32391"/>
                  <a:pt x="16551" y="32551"/>
                </a:cubicBezTo>
                <a:cubicBezTo>
                  <a:pt x="16551" y="32712"/>
                  <a:pt x="16551" y="32953"/>
                  <a:pt x="16551" y="32953"/>
                </a:cubicBezTo>
                <a:cubicBezTo>
                  <a:pt x="16876" y="32953"/>
                  <a:pt x="16876" y="32953"/>
                  <a:pt x="16876" y="32953"/>
                </a:cubicBezTo>
                <a:cubicBezTo>
                  <a:pt x="16795" y="33275"/>
                  <a:pt x="16795" y="33275"/>
                  <a:pt x="16795" y="33275"/>
                </a:cubicBezTo>
                <a:cubicBezTo>
                  <a:pt x="16795" y="33275"/>
                  <a:pt x="16632" y="33275"/>
                  <a:pt x="16795" y="33516"/>
                </a:cubicBezTo>
                <a:cubicBezTo>
                  <a:pt x="16957" y="33677"/>
                  <a:pt x="16957" y="33837"/>
                  <a:pt x="16957" y="33837"/>
                </a:cubicBezTo>
                <a:cubicBezTo>
                  <a:pt x="17525" y="34239"/>
                  <a:pt x="17525" y="34239"/>
                  <a:pt x="17525" y="34239"/>
                </a:cubicBezTo>
                <a:cubicBezTo>
                  <a:pt x="17849" y="34239"/>
                  <a:pt x="17849" y="34239"/>
                  <a:pt x="17849" y="34239"/>
                </a:cubicBezTo>
                <a:cubicBezTo>
                  <a:pt x="18174" y="34159"/>
                  <a:pt x="18174" y="34159"/>
                  <a:pt x="18174" y="34159"/>
                </a:cubicBezTo>
                <a:cubicBezTo>
                  <a:pt x="18336" y="33837"/>
                  <a:pt x="18336" y="33837"/>
                  <a:pt x="18336" y="33837"/>
                </a:cubicBezTo>
                <a:cubicBezTo>
                  <a:pt x="18336" y="33837"/>
                  <a:pt x="18580" y="33837"/>
                  <a:pt x="18823" y="33918"/>
                </a:cubicBezTo>
                <a:cubicBezTo>
                  <a:pt x="18985" y="33998"/>
                  <a:pt x="19310" y="33918"/>
                  <a:pt x="19310" y="33918"/>
                </a:cubicBezTo>
                <a:cubicBezTo>
                  <a:pt x="19310" y="33918"/>
                  <a:pt x="19310" y="33918"/>
                  <a:pt x="19310" y="34079"/>
                </a:cubicBezTo>
                <a:cubicBezTo>
                  <a:pt x="19391" y="34239"/>
                  <a:pt x="19553" y="34159"/>
                  <a:pt x="19553" y="34159"/>
                </a:cubicBezTo>
                <a:cubicBezTo>
                  <a:pt x="19553" y="34159"/>
                  <a:pt x="19797" y="34159"/>
                  <a:pt x="19797" y="34239"/>
                </a:cubicBezTo>
                <a:cubicBezTo>
                  <a:pt x="19797" y="34320"/>
                  <a:pt x="19959" y="34400"/>
                  <a:pt x="20040" y="34561"/>
                </a:cubicBezTo>
                <a:cubicBezTo>
                  <a:pt x="20121" y="34722"/>
                  <a:pt x="20121" y="34641"/>
                  <a:pt x="20202" y="34722"/>
                </a:cubicBezTo>
                <a:cubicBezTo>
                  <a:pt x="20202" y="34802"/>
                  <a:pt x="19878" y="34882"/>
                  <a:pt x="20283" y="34882"/>
                </a:cubicBezTo>
                <a:cubicBezTo>
                  <a:pt x="20608" y="34963"/>
                  <a:pt x="21419" y="35043"/>
                  <a:pt x="21419" y="35043"/>
                </a:cubicBezTo>
                <a:cubicBezTo>
                  <a:pt x="21419" y="35043"/>
                  <a:pt x="21906" y="34882"/>
                  <a:pt x="22150" y="34882"/>
                </a:cubicBezTo>
                <a:cubicBezTo>
                  <a:pt x="22393" y="34882"/>
                  <a:pt x="22393" y="34963"/>
                  <a:pt x="22393" y="34963"/>
                </a:cubicBezTo>
                <a:cubicBezTo>
                  <a:pt x="22636" y="34963"/>
                  <a:pt x="22636" y="34963"/>
                  <a:pt x="22636" y="34963"/>
                </a:cubicBezTo>
                <a:cubicBezTo>
                  <a:pt x="22636" y="34963"/>
                  <a:pt x="22799" y="34882"/>
                  <a:pt x="22799" y="34802"/>
                </a:cubicBezTo>
                <a:cubicBezTo>
                  <a:pt x="22799" y="34722"/>
                  <a:pt x="22880" y="34480"/>
                  <a:pt x="22880" y="34480"/>
                </a:cubicBezTo>
                <a:cubicBezTo>
                  <a:pt x="22880" y="34480"/>
                  <a:pt x="22799" y="34320"/>
                  <a:pt x="22961" y="34320"/>
                </a:cubicBezTo>
                <a:cubicBezTo>
                  <a:pt x="23123" y="34320"/>
                  <a:pt x="23204" y="34239"/>
                  <a:pt x="23204" y="34239"/>
                </a:cubicBezTo>
                <a:cubicBezTo>
                  <a:pt x="23448" y="34079"/>
                  <a:pt x="23448" y="34079"/>
                  <a:pt x="23448" y="34079"/>
                </a:cubicBezTo>
                <a:cubicBezTo>
                  <a:pt x="23367" y="33436"/>
                  <a:pt x="23367" y="33436"/>
                  <a:pt x="23367" y="33436"/>
                </a:cubicBezTo>
                <a:cubicBezTo>
                  <a:pt x="23367" y="33436"/>
                  <a:pt x="23367" y="33194"/>
                  <a:pt x="23286" y="33114"/>
                </a:cubicBezTo>
                <a:cubicBezTo>
                  <a:pt x="23123" y="33034"/>
                  <a:pt x="22880" y="32793"/>
                  <a:pt x="22880" y="32793"/>
                </a:cubicBezTo>
                <a:cubicBezTo>
                  <a:pt x="22799" y="32551"/>
                  <a:pt x="22799" y="32551"/>
                  <a:pt x="22799" y="32551"/>
                </a:cubicBezTo>
                <a:cubicBezTo>
                  <a:pt x="22474" y="32310"/>
                  <a:pt x="22474" y="32310"/>
                  <a:pt x="22474" y="32310"/>
                </a:cubicBezTo>
                <a:cubicBezTo>
                  <a:pt x="22474" y="32310"/>
                  <a:pt x="22393" y="32150"/>
                  <a:pt x="22312" y="32150"/>
                </a:cubicBezTo>
                <a:cubicBezTo>
                  <a:pt x="22231" y="32230"/>
                  <a:pt x="22312" y="32230"/>
                  <a:pt x="22150" y="32471"/>
                </a:cubicBezTo>
                <a:cubicBezTo>
                  <a:pt x="21987" y="32632"/>
                  <a:pt x="21744" y="32712"/>
                  <a:pt x="21744" y="32712"/>
                </a:cubicBezTo>
                <a:cubicBezTo>
                  <a:pt x="21257" y="32873"/>
                  <a:pt x="21257" y="32873"/>
                  <a:pt x="21257" y="32873"/>
                </a:cubicBezTo>
                <a:cubicBezTo>
                  <a:pt x="21257" y="32873"/>
                  <a:pt x="20933" y="32712"/>
                  <a:pt x="20851" y="32551"/>
                </a:cubicBezTo>
                <a:cubicBezTo>
                  <a:pt x="20770" y="32471"/>
                  <a:pt x="20202" y="31989"/>
                  <a:pt x="20202" y="31989"/>
                </a:cubicBezTo>
                <a:cubicBezTo>
                  <a:pt x="20202" y="31989"/>
                  <a:pt x="19878" y="31748"/>
                  <a:pt x="19797" y="31748"/>
                </a:cubicBezTo>
                <a:cubicBezTo>
                  <a:pt x="19634" y="31748"/>
                  <a:pt x="19472" y="31748"/>
                  <a:pt x="19472" y="31748"/>
                </a:cubicBezTo>
                <a:cubicBezTo>
                  <a:pt x="19229" y="31346"/>
                  <a:pt x="19229" y="31346"/>
                  <a:pt x="19229" y="31346"/>
                </a:cubicBezTo>
                <a:cubicBezTo>
                  <a:pt x="19148" y="31265"/>
                  <a:pt x="19148" y="31265"/>
                  <a:pt x="19148" y="31265"/>
                </a:cubicBezTo>
                <a:cubicBezTo>
                  <a:pt x="19148" y="31265"/>
                  <a:pt x="18904" y="31024"/>
                  <a:pt x="19066" y="31024"/>
                </a:cubicBezTo>
                <a:cubicBezTo>
                  <a:pt x="19310" y="31024"/>
                  <a:pt x="19391" y="30783"/>
                  <a:pt x="19391" y="30783"/>
                </a:cubicBezTo>
                <a:cubicBezTo>
                  <a:pt x="19391" y="30542"/>
                  <a:pt x="19391" y="30542"/>
                  <a:pt x="19391" y="30542"/>
                </a:cubicBezTo>
                <a:cubicBezTo>
                  <a:pt x="19391" y="30381"/>
                  <a:pt x="19391" y="30381"/>
                  <a:pt x="19391" y="30381"/>
                </a:cubicBezTo>
                <a:cubicBezTo>
                  <a:pt x="19310" y="29979"/>
                  <a:pt x="19310" y="29979"/>
                  <a:pt x="19310" y="29979"/>
                </a:cubicBezTo>
                <a:cubicBezTo>
                  <a:pt x="19310" y="29979"/>
                  <a:pt x="19229" y="29578"/>
                  <a:pt x="19310" y="29497"/>
                </a:cubicBezTo>
                <a:cubicBezTo>
                  <a:pt x="19472" y="29497"/>
                  <a:pt x="19959" y="29417"/>
                  <a:pt x="19959" y="29417"/>
                </a:cubicBezTo>
                <a:cubicBezTo>
                  <a:pt x="19959" y="29417"/>
                  <a:pt x="20202" y="29497"/>
                  <a:pt x="20446" y="29578"/>
                </a:cubicBezTo>
                <a:cubicBezTo>
                  <a:pt x="20608" y="29578"/>
                  <a:pt x="20770" y="29658"/>
                  <a:pt x="20770" y="29658"/>
                </a:cubicBezTo>
                <a:cubicBezTo>
                  <a:pt x="20770" y="29658"/>
                  <a:pt x="21257" y="29899"/>
                  <a:pt x="21338" y="29979"/>
                </a:cubicBezTo>
                <a:cubicBezTo>
                  <a:pt x="21338" y="30060"/>
                  <a:pt x="21501" y="30140"/>
                  <a:pt x="21663" y="30221"/>
                </a:cubicBezTo>
                <a:cubicBezTo>
                  <a:pt x="21906" y="30381"/>
                  <a:pt x="22393" y="30221"/>
                  <a:pt x="22393" y="30221"/>
                </a:cubicBezTo>
                <a:cubicBezTo>
                  <a:pt x="22393" y="30221"/>
                  <a:pt x="22636" y="30140"/>
                  <a:pt x="22799" y="30140"/>
                </a:cubicBezTo>
                <a:cubicBezTo>
                  <a:pt x="22880" y="30140"/>
                  <a:pt x="23610" y="30140"/>
                  <a:pt x="23610" y="30140"/>
                </a:cubicBezTo>
                <a:cubicBezTo>
                  <a:pt x="23610" y="30140"/>
                  <a:pt x="23935" y="30140"/>
                  <a:pt x="24016" y="30140"/>
                </a:cubicBezTo>
                <a:cubicBezTo>
                  <a:pt x="24097" y="30140"/>
                  <a:pt x="24421" y="30140"/>
                  <a:pt x="24421" y="30140"/>
                </a:cubicBezTo>
                <a:cubicBezTo>
                  <a:pt x="25070" y="30301"/>
                  <a:pt x="25070" y="30301"/>
                  <a:pt x="25070" y="30301"/>
                </a:cubicBezTo>
                <a:cubicBezTo>
                  <a:pt x="25557" y="30060"/>
                  <a:pt x="25557" y="30060"/>
                  <a:pt x="25557" y="30060"/>
                </a:cubicBezTo>
                <a:cubicBezTo>
                  <a:pt x="25557" y="30060"/>
                  <a:pt x="25557" y="29658"/>
                  <a:pt x="25720" y="29658"/>
                </a:cubicBezTo>
                <a:cubicBezTo>
                  <a:pt x="25801" y="29658"/>
                  <a:pt x="25963" y="29658"/>
                  <a:pt x="26125" y="29658"/>
                </a:cubicBezTo>
                <a:cubicBezTo>
                  <a:pt x="26288" y="29738"/>
                  <a:pt x="26774" y="29578"/>
                  <a:pt x="26774" y="29578"/>
                </a:cubicBezTo>
                <a:cubicBezTo>
                  <a:pt x="26288" y="28935"/>
                  <a:pt x="26288" y="28935"/>
                  <a:pt x="26288" y="28935"/>
                </a:cubicBezTo>
                <a:cubicBezTo>
                  <a:pt x="26288" y="28935"/>
                  <a:pt x="26288" y="28935"/>
                  <a:pt x="26125" y="28613"/>
                </a:cubicBezTo>
                <a:cubicBezTo>
                  <a:pt x="26044" y="28292"/>
                  <a:pt x="25801" y="27970"/>
                  <a:pt x="25801" y="27970"/>
                </a:cubicBezTo>
                <a:cubicBezTo>
                  <a:pt x="25801" y="27970"/>
                  <a:pt x="25476" y="27890"/>
                  <a:pt x="25233" y="27809"/>
                </a:cubicBezTo>
                <a:cubicBezTo>
                  <a:pt x="24989" y="27729"/>
                  <a:pt x="25152" y="27809"/>
                  <a:pt x="24989" y="27649"/>
                </a:cubicBezTo>
                <a:cubicBezTo>
                  <a:pt x="24827" y="27568"/>
                  <a:pt x="24097" y="27166"/>
                  <a:pt x="24097" y="27166"/>
                </a:cubicBezTo>
                <a:cubicBezTo>
                  <a:pt x="24097" y="27166"/>
                  <a:pt x="23772" y="27086"/>
                  <a:pt x="23691" y="26925"/>
                </a:cubicBezTo>
                <a:cubicBezTo>
                  <a:pt x="23610" y="26684"/>
                  <a:pt x="23691" y="25961"/>
                  <a:pt x="23691" y="25961"/>
                </a:cubicBezTo>
                <a:cubicBezTo>
                  <a:pt x="23772" y="25559"/>
                  <a:pt x="23772" y="25559"/>
                  <a:pt x="23772" y="25559"/>
                </a:cubicBezTo>
                <a:cubicBezTo>
                  <a:pt x="24178" y="24755"/>
                  <a:pt x="24178" y="24755"/>
                  <a:pt x="24178" y="24755"/>
                </a:cubicBezTo>
                <a:cubicBezTo>
                  <a:pt x="24340" y="24032"/>
                  <a:pt x="24340" y="24032"/>
                  <a:pt x="24340" y="24032"/>
                </a:cubicBezTo>
                <a:cubicBezTo>
                  <a:pt x="25152" y="23067"/>
                  <a:pt x="25152" y="23067"/>
                  <a:pt x="25152" y="23067"/>
                </a:cubicBezTo>
                <a:cubicBezTo>
                  <a:pt x="25395" y="22344"/>
                  <a:pt x="25395" y="22344"/>
                  <a:pt x="25395" y="22344"/>
                </a:cubicBezTo>
                <a:cubicBezTo>
                  <a:pt x="25557" y="21620"/>
                  <a:pt x="25557" y="21620"/>
                  <a:pt x="25557" y="21620"/>
                </a:cubicBezTo>
                <a:cubicBezTo>
                  <a:pt x="25557" y="20897"/>
                  <a:pt x="25557" y="20897"/>
                  <a:pt x="25557" y="20897"/>
                </a:cubicBezTo>
                <a:cubicBezTo>
                  <a:pt x="25557" y="20334"/>
                  <a:pt x="25557" y="20334"/>
                  <a:pt x="25557" y="20334"/>
                </a:cubicBezTo>
                <a:cubicBezTo>
                  <a:pt x="26612" y="20334"/>
                  <a:pt x="26612" y="20334"/>
                  <a:pt x="26612" y="20334"/>
                </a:cubicBezTo>
                <a:cubicBezTo>
                  <a:pt x="26612" y="20576"/>
                  <a:pt x="26612" y="20576"/>
                  <a:pt x="26612" y="20576"/>
                </a:cubicBezTo>
                <a:cubicBezTo>
                  <a:pt x="26612" y="20576"/>
                  <a:pt x="26774" y="20254"/>
                  <a:pt x="26855" y="20254"/>
                </a:cubicBezTo>
                <a:cubicBezTo>
                  <a:pt x="26937" y="20254"/>
                  <a:pt x="27586" y="19852"/>
                  <a:pt x="27586" y="19852"/>
                </a:cubicBezTo>
                <a:cubicBezTo>
                  <a:pt x="27829" y="20013"/>
                  <a:pt x="27829" y="20013"/>
                  <a:pt x="27829" y="20013"/>
                </a:cubicBezTo>
                <a:cubicBezTo>
                  <a:pt x="28478" y="20174"/>
                  <a:pt x="28478" y="20174"/>
                  <a:pt x="28478" y="20174"/>
                </a:cubicBezTo>
                <a:cubicBezTo>
                  <a:pt x="28478" y="20174"/>
                  <a:pt x="28722" y="20254"/>
                  <a:pt x="28640" y="20415"/>
                </a:cubicBezTo>
                <a:cubicBezTo>
                  <a:pt x="28559" y="20576"/>
                  <a:pt x="28559" y="20576"/>
                  <a:pt x="28640" y="20576"/>
                </a:cubicBezTo>
                <a:cubicBezTo>
                  <a:pt x="28722" y="20576"/>
                  <a:pt x="29046" y="20334"/>
                  <a:pt x="29046" y="20334"/>
                </a:cubicBezTo>
                <a:cubicBezTo>
                  <a:pt x="29614" y="20576"/>
                  <a:pt x="29614" y="20576"/>
                  <a:pt x="29614" y="20576"/>
                </a:cubicBezTo>
                <a:cubicBezTo>
                  <a:pt x="29127" y="20013"/>
                  <a:pt x="29127" y="20013"/>
                  <a:pt x="29127" y="20013"/>
                </a:cubicBezTo>
                <a:cubicBezTo>
                  <a:pt x="29127" y="20013"/>
                  <a:pt x="29046" y="19611"/>
                  <a:pt x="29046" y="19450"/>
                </a:cubicBezTo>
                <a:cubicBezTo>
                  <a:pt x="29046" y="19290"/>
                  <a:pt x="28965" y="18647"/>
                  <a:pt x="28965" y="18647"/>
                </a:cubicBezTo>
                <a:cubicBezTo>
                  <a:pt x="28884" y="18164"/>
                  <a:pt x="28884" y="18164"/>
                  <a:pt x="28884" y="18164"/>
                </a:cubicBezTo>
                <a:cubicBezTo>
                  <a:pt x="28722" y="17762"/>
                  <a:pt x="28722" y="17762"/>
                  <a:pt x="28722" y="17762"/>
                </a:cubicBezTo>
                <a:cubicBezTo>
                  <a:pt x="28478" y="17521"/>
                  <a:pt x="28478" y="17521"/>
                  <a:pt x="28478" y="17521"/>
                </a:cubicBezTo>
                <a:cubicBezTo>
                  <a:pt x="28397" y="17119"/>
                  <a:pt x="28397" y="17119"/>
                  <a:pt x="28397" y="17119"/>
                </a:cubicBezTo>
                <a:cubicBezTo>
                  <a:pt x="28235" y="16798"/>
                  <a:pt x="28235" y="16798"/>
                  <a:pt x="28235" y="16798"/>
                </a:cubicBezTo>
                <a:cubicBezTo>
                  <a:pt x="27667" y="16476"/>
                  <a:pt x="27667" y="16476"/>
                  <a:pt x="27667" y="16476"/>
                </a:cubicBezTo>
                <a:cubicBezTo>
                  <a:pt x="27261" y="16396"/>
                  <a:pt x="27261" y="16396"/>
                  <a:pt x="27261" y="16396"/>
                </a:cubicBezTo>
                <a:cubicBezTo>
                  <a:pt x="26937" y="16476"/>
                  <a:pt x="26937" y="16476"/>
                  <a:pt x="26937" y="16476"/>
                </a:cubicBezTo>
                <a:cubicBezTo>
                  <a:pt x="26612" y="16476"/>
                  <a:pt x="26612" y="16476"/>
                  <a:pt x="26612" y="16476"/>
                </a:cubicBezTo>
                <a:cubicBezTo>
                  <a:pt x="26369" y="16075"/>
                  <a:pt x="26369" y="16075"/>
                  <a:pt x="26369" y="16075"/>
                </a:cubicBezTo>
                <a:cubicBezTo>
                  <a:pt x="26369" y="16075"/>
                  <a:pt x="26288" y="15512"/>
                  <a:pt x="26288" y="15432"/>
                </a:cubicBezTo>
                <a:cubicBezTo>
                  <a:pt x="26288" y="15351"/>
                  <a:pt x="26125" y="14789"/>
                  <a:pt x="26125" y="14789"/>
                </a:cubicBezTo>
                <a:cubicBezTo>
                  <a:pt x="26044" y="14146"/>
                  <a:pt x="26044" y="14146"/>
                  <a:pt x="26044" y="14146"/>
                </a:cubicBezTo>
                <a:cubicBezTo>
                  <a:pt x="25801" y="13503"/>
                  <a:pt x="25801" y="13503"/>
                  <a:pt x="25801" y="13503"/>
                </a:cubicBezTo>
                <a:cubicBezTo>
                  <a:pt x="25801" y="13503"/>
                  <a:pt x="25638" y="13101"/>
                  <a:pt x="25557" y="12940"/>
                </a:cubicBezTo>
                <a:cubicBezTo>
                  <a:pt x="25476" y="12779"/>
                  <a:pt x="25314" y="12458"/>
                  <a:pt x="25314" y="12458"/>
                </a:cubicBezTo>
                <a:cubicBezTo>
                  <a:pt x="25152" y="11895"/>
                  <a:pt x="25152" y="11895"/>
                  <a:pt x="25152" y="11895"/>
                </a:cubicBezTo>
                <a:cubicBezTo>
                  <a:pt x="24503" y="11734"/>
                  <a:pt x="24503" y="11734"/>
                  <a:pt x="24503" y="11734"/>
                </a:cubicBezTo>
                <a:cubicBezTo>
                  <a:pt x="23448" y="11413"/>
                  <a:pt x="23448" y="11413"/>
                  <a:pt x="23448" y="11413"/>
                </a:cubicBezTo>
                <a:cubicBezTo>
                  <a:pt x="22880" y="11172"/>
                  <a:pt x="22880" y="11172"/>
                  <a:pt x="22880" y="11172"/>
                </a:cubicBezTo>
                <a:cubicBezTo>
                  <a:pt x="22961" y="10931"/>
                  <a:pt x="22961" y="10931"/>
                  <a:pt x="22961" y="10931"/>
                </a:cubicBezTo>
                <a:cubicBezTo>
                  <a:pt x="23286" y="10850"/>
                  <a:pt x="23286" y="10850"/>
                  <a:pt x="23286" y="10850"/>
                </a:cubicBezTo>
                <a:cubicBezTo>
                  <a:pt x="23286" y="10850"/>
                  <a:pt x="23448" y="10850"/>
                  <a:pt x="23610" y="10850"/>
                </a:cubicBezTo>
                <a:cubicBezTo>
                  <a:pt x="23853" y="10850"/>
                  <a:pt x="24016" y="10850"/>
                  <a:pt x="24178" y="10850"/>
                </a:cubicBezTo>
                <a:cubicBezTo>
                  <a:pt x="24340" y="10850"/>
                  <a:pt x="24584" y="10850"/>
                  <a:pt x="24584" y="10850"/>
                </a:cubicBezTo>
                <a:cubicBezTo>
                  <a:pt x="24908" y="10448"/>
                  <a:pt x="24908" y="10448"/>
                  <a:pt x="24908" y="10448"/>
                </a:cubicBezTo>
                <a:cubicBezTo>
                  <a:pt x="26125" y="9805"/>
                  <a:pt x="26125" y="9805"/>
                  <a:pt x="26125" y="9805"/>
                </a:cubicBezTo>
                <a:cubicBezTo>
                  <a:pt x="26693" y="9725"/>
                  <a:pt x="26693" y="9725"/>
                  <a:pt x="26693" y="9725"/>
                </a:cubicBezTo>
                <a:cubicBezTo>
                  <a:pt x="27261" y="9725"/>
                  <a:pt x="27261" y="9725"/>
                  <a:pt x="27261" y="9725"/>
                </a:cubicBezTo>
                <a:cubicBezTo>
                  <a:pt x="27261" y="9725"/>
                  <a:pt x="27261" y="10046"/>
                  <a:pt x="27423" y="10127"/>
                </a:cubicBezTo>
                <a:cubicBezTo>
                  <a:pt x="27586" y="10207"/>
                  <a:pt x="27667" y="10207"/>
                  <a:pt x="27748" y="10288"/>
                </a:cubicBezTo>
                <a:cubicBezTo>
                  <a:pt x="27910" y="10288"/>
                  <a:pt x="28397" y="10368"/>
                  <a:pt x="28397" y="10368"/>
                </a:cubicBezTo>
                <a:cubicBezTo>
                  <a:pt x="28722" y="10529"/>
                  <a:pt x="28722" y="10529"/>
                  <a:pt x="28722" y="10529"/>
                </a:cubicBezTo>
                <a:cubicBezTo>
                  <a:pt x="29046" y="11011"/>
                  <a:pt x="29046" y="11011"/>
                  <a:pt x="29046" y="11011"/>
                </a:cubicBezTo>
                <a:cubicBezTo>
                  <a:pt x="29614" y="11332"/>
                  <a:pt x="29614" y="11332"/>
                  <a:pt x="29614" y="11332"/>
                </a:cubicBezTo>
                <a:cubicBezTo>
                  <a:pt x="29614" y="11332"/>
                  <a:pt x="29695" y="11574"/>
                  <a:pt x="29614" y="11654"/>
                </a:cubicBezTo>
                <a:cubicBezTo>
                  <a:pt x="29533" y="11734"/>
                  <a:pt x="29614" y="11975"/>
                  <a:pt x="29290" y="12136"/>
                </a:cubicBezTo>
                <a:cubicBezTo>
                  <a:pt x="28965" y="12297"/>
                  <a:pt x="28559" y="12618"/>
                  <a:pt x="28478" y="12618"/>
                </a:cubicBezTo>
                <a:cubicBezTo>
                  <a:pt x="28397" y="12699"/>
                  <a:pt x="28154" y="13020"/>
                  <a:pt x="28154" y="13020"/>
                </a:cubicBezTo>
                <a:cubicBezTo>
                  <a:pt x="27991" y="13342"/>
                  <a:pt x="27991" y="13342"/>
                  <a:pt x="27991" y="13342"/>
                </a:cubicBezTo>
                <a:cubicBezTo>
                  <a:pt x="28073" y="13583"/>
                  <a:pt x="28073" y="13583"/>
                  <a:pt x="28073" y="13583"/>
                </a:cubicBezTo>
                <a:cubicBezTo>
                  <a:pt x="28073" y="13583"/>
                  <a:pt x="28073" y="13663"/>
                  <a:pt x="28073" y="13744"/>
                </a:cubicBezTo>
                <a:cubicBezTo>
                  <a:pt x="27991" y="13904"/>
                  <a:pt x="27910" y="14146"/>
                  <a:pt x="27910" y="14146"/>
                </a:cubicBezTo>
                <a:cubicBezTo>
                  <a:pt x="27991" y="14547"/>
                  <a:pt x="27991" y="14547"/>
                  <a:pt x="27991" y="14547"/>
                </a:cubicBezTo>
                <a:cubicBezTo>
                  <a:pt x="27991" y="14547"/>
                  <a:pt x="28073" y="14708"/>
                  <a:pt x="28154" y="14869"/>
                </a:cubicBezTo>
                <a:cubicBezTo>
                  <a:pt x="28154" y="14949"/>
                  <a:pt x="28884" y="15110"/>
                  <a:pt x="28884" y="15110"/>
                </a:cubicBezTo>
                <a:cubicBezTo>
                  <a:pt x="29614" y="15190"/>
                  <a:pt x="29614" y="15190"/>
                  <a:pt x="29614" y="15190"/>
                </a:cubicBezTo>
                <a:cubicBezTo>
                  <a:pt x="30182" y="15753"/>
                  <a:pt x="30182" y="15753"/>
                  <a:pt x="30182" y="15753"/>
                </a:cubicBezTo>
                <a:cubicBezTo>
                  <a:pt x="30669" y="15994"/>
                  <a:pt x="30669" y="15994"/>
                  <a:pt x="30669" y="15994"/>
                </a:cubicBezTo>
                <a:cubicBezTo>
                  <a:pt x="31237" y="15914"/>
                  <a:pt x="31237" y="15914"/>
                  <a:pt x="31237" y="15914"/>
                </a:cubicBezTo>
                <a:cubicBezTo>
                  <a:pt x="31805" y="15512"/>
                  <a:pt x="31805" y="15512"/>
                  <a:pt x="31805" y="15512"/>
                </a:cubicBezTo>
                <a:cubicBezTo>
                  <a:pt x="32210" y="15271"/>
                  <a:pt x="32210" y="15271"/>
                  <a:pt x="32210" y="15271"/>
                </a:cubicBezTo>
                <a:cubicBezTo>
                  <a:pt x="32210" y="15271"/>
                  <a:pt x="32454" y="14949"/>
                  <a:pt x="32535" y="14869"/>
                </a:cubicBezTo>
                <a:cubicBezTo>
                  <a:pt x="32616" y="14789"/>
                  <a:pt x="32860" y="14547"/>
                  <a:pt x="32860" y="14547"/>
                </a:cubicBezTo>
                <a:cubicBezTo>
                  <a:pt x="32860" y="14547"/>
                  <a:pt x="33022" y="14387"/>
                  <a:pt x="33022" y="14306"/>
                </a:cubicBezTo>
                <a:cubicBezTo>
                  <a:pt x="33022" y="14226"/>
                  <a:pt x="32941" y="13583"/>
                  <a:pt x="32941" y="13583"/>
                </a:cubicBezTo>
                <a:cubicBezTo>
                  <a:pt x="32778" y="13101"/>
                  <a:pt x="32778" y="13101"/>
                  <a:pt x="32778" y="13101"/>
                </a:cubicBezTo>
                <a:cubicBezTo>
                  <a:pt x="32535" y="12538"/>
                  <a:pt x="32535" y="12538"/>
                  <a:pt x="32535" y="12538"/>
                </a:cubicBezTo>
                <a:cubicBezTo>
                  <a:pt x="32535" y="12538"/>
                  <a:pt x="32373" y="12297"/>
                  <a:pt x="32373" y="12136"/>
                </a:cubicBezTo>
                <a:cubicBezTo>
                  <a:pt x="32373" y="12056"/>
                  <a:pt x="32292" y="11734"/>
                  <a:pt x="32292" y="11734"/>
                </a:cubicBezTo>
                <a:cubicBezTo>
                  <a:pt x="31967" y="11413"/>
                  <a:pt x="31967" y="11413"/>
                  <a:pt x="31967" y="11413"/>
                </a:cubicBezTo>
                <a:cubicBezTo>
                  <a:pt x="32129" y="11091"/>
                  <a:pt x="32129" y="11091"/>
                  <a:pt x="32129" y="11091"/>
                </a:cubicBezTo>
                <a:cubicBezTo>
                  <a:pt x="32292" y="10850"/>
                  <a:pt x="32292" y="10850"/>
                  <a:pt x="32292" y="10850"/>
                </a:cubicBezTo>
                <a:cubicBezTo>
                  <a:pt x="32697" y="10368"/>
                  <a:pt x="32697" y="10368"/>
                  <a:pt x="32697" y="10368"/>
                </a:cubicBezTo>
                <a:cubicBezTo>
                  <a:pt x="32860" y="10046"/>
                  <a:pt x="32860" y="10046"/>
                  <a:pt x="32860" y="10046"/>
                </a:cubicBezTo>
                <a:cubicBezTo>
                  <a:pt x="32535" y="9645"/>
                  <a:pt x="32535" y="9645"/>
                  <a:pt x="32535" y="9645"/>
                </a:cubicBezTo>
                <a:cubicBezTo>
                  <a:pt x="32292" y="9564"/>
                  <a:pt x="32292" y="9564"/>
                  <a:pt x="32292" y="9564"/>
                </a:cubicBezTo>
                <a:cubicBezTo>
                  <a:pt x="32778" y="9323"/>
                  <a:pt x="32778" y="9323"/>
                  <a:pt x="32778" y="9323"/>
                </a:cubicBezTo>
                <a:cubicBezTo>
                  <a:pt x="33103" y="9162"/>
                  <a:pt x="33103" y="9162"/>
                  <a:pt x="33103" y="9162"/>
                </a:cubicBezTo>
                <a:cubicBezTo>
                  <a:pt x="33509" y="8198"/>
                  <a:pt x="33509" y="8198"/>
                  <a:pt x="33509" y="8198"/>
                </a:cubicBezTo>
                <a:cubicBezTo>
                  <a:pt x="33752" y="7635"/>
                  <a:pt x="33752" y="7635"/>
                  <a:pt x="33752" y="7635"/>
                </a:cubicBezTo>
                <a:cubicBezTo>
                  <a:pt x="34077" y="6751"/>
                  <a:pt x="34077" y="6751"/>
                  <a:pt x="34077" y="6751"/>
                </a:cubicBezTo>
                <a:cubicBezTo>
                  <a:pt x="34077" y="6751"/>
                  <a:pt x="34239" y="6108"/>
                  <a:pt x="34239" y="6028"/>
                </a:cubicBezTo>
                <a:cubicBezTo>
                  <a:pt x="34239" y="5947"/>
                  <a:pt x="34482" y="5787"/>
                  <a:pt x="34482" y="5787"/>
                </a:cubicBezTo>
                <a:cubicBezTo>
                  <a:pt x="34807" y="5385"/>
                  <a:pt x="34807" y="5385"/>
                  <a:pt x="34807" y="5385"/>
                </a:cubicBezTo>
                <a:cubicBezTo>
                  <a:pt x="35050" y="4902"/>
                  <a:pt x="35050" y="4902"/>
                  <a:pt x="35050" y="4902"/>
                </a:cubicBezTo>
                <a:cubicBezTo>
                  <a:pt x="35212" y="4581"/>
                  <a:pt x="35212" y="4581"/>
                  <a:pt x="35212" y="4581"/>
                </a:cubicBezTo>
                <a:cubicBezTo>
                  <a:pt x="35618" y="3938"/>
                  <a:pt x="35618" y="3938"/>
                  <a:pt x="35618" y="3938"/>
                </a:cubicBezTo>
                <a:cubicBezTo>
                  <a:pt x="35943" y="4099"/>
                  <a:pt x="35943" y="4099"/>
                  <a:pt x="35943" y="4099"/>
                </a:cubicBezTo>
                <a:cubicBezTo>
                  <a:pt x="35943" y="4099"/>
                  <a:pt x="36105" y="4259"/>
                  <a:pt x="36105" y="4420"/>
                </a:cubicBezTo>
                <a:cubicBezTo>
                  <a:pt x="36105" y="4581"/>
                  <a:pt x="36024" y="4661"/>
                  <a:pt x="36105" y="4661"/>
                </a:cubicBezTo>
                <a:cubicBezTo>
                  <a:pt x="36267" y="4661"/>
                  <a:pt x="36186" y="4661"/>
                  <a:pt x="36267" y="4581"/>
                </a:cubicBezTo>
                <a:cubicBezTo>
                  <a:pt x="36430" y="4420"/>
                  <a:pt x="36511" y="4099"/>
                  <a:pt x="36511" y="4018"/>
                </a:cubicBezTo>
                <a:cubicBezTo>
                  <a:pt x="36511" y="3938"/>
                  <a:pt x="36673" y="3938"/>
                  <a:pt x="36511" y="3858"/>
                </a:cubicBezTo>
                <a:cubicBezTo>
                  <a:pt x="36267" y="3777"/>
                  <a:pt x="35943" y="3616"/>
                  <a:pt x="35943" y="3616"/>
                </a:cubicBezTo>
                <a:cubicBezTo>
                  <a:pt x="35943" y="3616"/>
                  <a:pt x="35618" y="3536"/>
                  <a:pt x="35618" y="3456"/>
                </a:cubicBezTo>
                <a:cubicBezTo>
                  <a:pt x="35699" y="3375"/>
                  <a:pt x="35943" y="2652"/>
                  <a:pt x="35943" y="2652"/>
                </a:cubicBezTo>
                <a:cubicBezTo>
                  <a:pt x="36267" y="1848"/>
                  <a:pt x="36267" y="1848"/>
                  <a:pt x="36267" y="1848"/>
                </a:cubicBezTo>
                <a:cubicBezTo>
                  <a:pt x="36267" y="1366"/>
                  <a:pt x="36267" y="1366"/>
                  <a:pt x="36267" y="1366"/>
                </a:cubicBezTo>
                <a:cubicBezTo>
                  <a:pt x="36511" y="964"/>
                  <a:pt x="36511" y="964"/>
                  <a:pt x="36511" y="964"/>
                </a:cubicBezTo>
                <a:cubicBezTo>
                  <a:pt x="36754" y="643"/>
                  <a:pt x="36916" y="160"/>
                  <a:pt x="37322" y="0"/>
                </a:cubicBezTo>
                <a:cubicBezTo>
                  <a:pt x="120000" y="0"/>
                  <a:pt x="120000" y="0"/>
                  <a:pt x="120000" y="0"/>
                </a:cubicBezTo>
                <a:cubicBezTo>
                  <a:pt x="120000" y="59156"/>
                  <a:pt x="120000" y="59156"/>
                  <a:pt x="120000" y="59156"/>
                </a:cubicBezTo>
                <a:cubicBezTo>
                  <a:pt x="118864" y="59557"/>
                  <a:pt x="118864" y="59557"/>
                  <a:pt x="118864" y="59557"/>
                </a:cubicBezTo>
                <a:cubicBezTo>
                  <a:pt x="118701" y="59557"/>
                  <a:pt x="116430" y="59236"/>
                  <a:pt x="116511" y="59959"/>
                </a:cubicBezTo>
                <a:cubicBezTo>
                  <a:pt x="116592" y="60361"/>
                  <a:pt x="116997" y="60442"/>
                  <a:pt x="116997" y="60442"/>
                </a:cubicBezTo>
                <a:cubicBezTo>
                  <a:pt x="118052" y="61406"/>
                  <a:pt x="118052" y="61406"/>
                  <a:pt x="118052" y="61406"/>
                </a:cubicBezTo>
                <a:cubicBezTo>
                  <a:pt x="117971" y="61969"/>
                  <a:pt x="117971" y="61969"/>
                  <a:pt x="117971" y="61969"/>
                </a:cubicBezTo>
                <a:cubicBezTo>
                  <a:pt x="118620" y="62129"/>
                  <a:pt x="118620" y="62129"/>
                  <a:pt x="118620" y="62129"/>
                </a:cubicBezTo>
                <a:cubicBezTo>
                  <a:pt x="120000" y="62129"/>
                  <a:pt x="120000" y="62129"/>
                  <a:pt x="120000" y="62129"/>
                </a:cubicBezTo>
                <a:cubicBezTo>
                  <a:pt x="120000" y="63094"/>
                  <a:pt x="120000" y="63094"/>
                  <a:pt x="120000" y="63094"/>
                </a:cubicBezTo>
                <a:cubicBezTo>
                  <a:pt x="119188" y="63174"/>
                  <a:pt x="118296" y="63335"/>
                  <a:pt x="118133" y="63415"/>
                </a:cubicBezTo>
                <a:cubicBezTo>
                  <a:pt x="117241" y="64380"/>
                  <a:pt x="117241" y="64380"/>
                  <a:pt x="117241" y="64380"/>
                </a:cubicBezTo>
                <a:cubicBezTo>
                  <a:pt x="118296" y="65746"/>
                  <a:pt x="118296" y="65746"/>
                  <a:pt x="118296" y="65746"/>
                </a:cubicBezTo>
                <a:cubicBezTo>
                  <a:pt x="118215" y="66630"/>
                  <a:pt x="118215" y="66630"/>
                  <a:pt x="118215" y="66630"/>
                </a:cubicBezTo>
                <a:cubicBezTo>
                  <a:pt x="117322" y="67273"/>
                  <a:pt x="117322" y="67273"/>
                  <a:pt x="117322" y="67273"/>
                </a:cubicBezTo>
                <a:cubicBezTo>
                  <a:pt x="118052" y="67997"/>
                  <a:pt x="118052" y="67997"/>
                  <a:pt x="118052" y="67997"/>
                </a:cubicBezTo>
                <a:cubicBezTo>
                  <a:pt x="119350" y="67997"/>
                  <a:pt x="119350" y="67997"/>
                  <a:pt x="119350" y="67997"/>
                </a:cubicBezTo>
                <a:cubicBezTo>
                  <a:pt x="120000" y="68479"/>
                  <a:pt x="120000" y="68479"/>
                  <a:pt x="120000" y="68479"/>
                </a:cubicBezTo>
                <a:cubicBezTo>
                  <a:pt x="120000" y="72257"/>
                  <a:pt x="120000" y="72257"/>
                  <a:pt x="120000" y="72257"/>
                </a:cubicBezTo>
                <a:cubicBezTo>
                  <a:pt x="119756" y="72257"/>
                  <a:pt x="119432" y="72337"/>
                  <a:pt x="119026" y="72337"/>
                </a:cubicBezTo>
                <a:cubicBezTo>
                  <a:pt x="118458" y="73302"/>
                  <a:pt x="118458" y="73302"/>
                  <a:pt x="118458" y="73302"/>
                </a:cubicBezTo>
                <a:cubicBezTo>
                  <a:pt x="114320" y="72578"/>
                  <a:pt x="114320" y="72578"/>
                  <a:pt x="114320" y="72578"/>
                </a:cubicBezTo>
                <a:cubicBezTo>
                  <a:pt x="112941" y="71774"/>
                  <a:pt x="112941" y="71774"/>
                  <a:pt x="112941" y="71774"/>
                </a:cubicBezTo>
                <a:cubicBezTo>
                  <a:pt x="111886" y="72498"/>
                  <a:pt x="112129" y="72176"/>
                  <a:pt x="111237" y="73141"/>
                </a:cubicBezTo>
                <a:cubicBezTo>
                  <a:pt x="108803" y="72498"/>
                  <a:pt x="108803" y="72498"/>
                  <a:pt x="108803" y="72498"/>
                </a:cubicBezTo>
                <a:cubicBezTo>
                  <a:pt x="107261" y="73221"/>
                  <a:pt x="107261" y="73221"/>
                  <a:pt x="107261" y="73221"/>
                </a:cubicBezTo>
                <a:cubicBezTo>
                  <a:pt x="105476" y="74989"/>
                  <a:pt x="105476" y="74989"/>
                  <a:pt x="105476" y="74989"/>
                </a:cubicBezTo>
                <a:cubicBezTo>
                  <a:pt x="102474" y="74829"/>
                  <a:pt x="102474" y="74829"/>
                  <a:pt x="102474" y="74829"/>
                </a:cubicBezTo>
                <a:cubicBezTo>
                  <a:pt x="101825" y="73945"/>
                  <a:pt x="101825" y="73945"/>
                  <a:pt x="101825" y="73945"/>
                </a:cubicBezTo>
                <a:cubicBezTo>
                  <a:pt x="101663" y="74748"/>
                  <a:pt x="101663" y="74748"/>
                  <a:pt x="101663" y="74748"/>
                </a:cubicBezTo>
                <a:cubicBezTo>
                  <a:pt x="102312" y="75552"/>
                  <a:pt x="102312" y="75552"/>
                  <a:pt x="102312" y="75552"/>
                </a:cubicBezTo>
                <a:cubicBezTo>
                  <a:pt x="101176" y="76115"/>
                  <a:pt x="101176" y="76115"/>
                  <a:pt x="101176" y="76115"/>
                </a:cubicBezTo>
                <a:cubicBezTo>
                  <a:pt x="100770" y="74989"/>
                  <a:pt x="100770" y="74989"/>
                  <a:pt x="100770" y="74989"/>
                </a:cubicBezTo>
                <a:cubicBezTo>
                  <a:pt x="99797" y="73784"/>
                  <a:pt x="99797" y="73784"/>
                  <a:pt x="99797" y="73784"/>
                </a:cubicBezTo>
                <a:cubicBezTo>
                  <a:pt x="98336" y="73462"/>
                  <a:pt x="98336" y="73462"/>
                  <a:pt x="98336" y="73462"/>
                </a:cubicBezTo>
                <a:cubicBezTo>
                  <a:pt x="97525" y="72900"/>
                  <a:pt x="97525" y="72900"/>
                  <a:pt x="97525" y="72900"/>
                </a:cubicBezTo>
                <a:cubicBezTo>
                  <a:pt x="97363" y="72819"/>
                  <a:pt x="94361" y="73141"/>
                  <a:pt x="93793" y="73221"/>
                </a:cubicBezTo>
                <a:cubicBezTo>
                  <a:pt x="93062" y="72739"/>
                  <a:pt x="92981" y="72739"/>
                  <a:pt x="92170" y="72337"/>
                </a:cubicBezTo>
                <a:cubicBezTo>
                  <a:pt x="91359" y="72980"/>
                  <a:pt x="91359" y="72980"/>
                  <a:pt x="91359" y="72980"/>
                </a:cubicBezTo>
                <a:cubicBezTo>
                  <a:pt x="91359" y="72980"/>
                  <a:pt x="90953" y="73703"/>
                  <a:pt x="90304" y="73703"/>
                </a:cubicBezTo>
                <a:cubicBezTo>
                  <a:pt x="89574" y="73703"/>
                  <a:pt x="89655" y="72739"/>
                  <a:pt x="89655" y="72739"/>
                </a:cubicBezTo>
                <a:cubicBezTo>
                  <a:pt x="88600" y="72900"/>
                  <a:pt x="88600" y="72900"/>
                  <a:pt x="88600" y="72900"/>
                </a:cubicBezTo>
                <a:cubicBezTo>
                  <a:pt x="87221" y="74829"/>
                  <a:pt x="87221" y="74829"/>
                  <a:pt x="87221" y="74829"/>
                </a:cubicBezTo>
                <a:cubicBezTo>
                  <a:pt x="85517" y="76275"/>
                  <a:pt x="85517" y="76275"/>
                  <a:pt x="85517" y="76275"/>
                </a:cubicBezTo>
                <a:cubicBezTo>
                  <a:pt x="84543" y="77722"/>
                  <a:pt x="84543" y="77722"/>
                  <a:pt x="84543" y="77722"/>
                </a:cubicBezTo>
                <a:cubicBezTo>
                  <a:pt x="82677" y="78446"/>
                  <a:pt x="82677" y="78446"/>
                  <a:pt x="82677" y="78446"/>
                </a:cubicBezTo>
                <a:cubicBezTo>
                  <a:pt x="82758" y="79089"/>
                  <a:pt x="82758" y="79089"/>
                  <a:pt x="82758" y="79089"/>
                </a:cubicBezTo>
                <a:cubicBezTo>
                  <a:pt x="84624" y="80696"/>
                  <a:pt x="84624" y="80696"/>
                  <a:pt x="84624" y="80696"/>
                </a:cubicBezTo>
                <a:cubicBezTo>
                  <a:pt x="83326" y="81580"/>
                  <a:pt x="83326" y="81580"/>
                  <a:pt x="83326" y="81580"/>
                </a:cubicBezTo>
                <a:cubicBezTo>
                  <a:pt x="81379" y="79571"/>
                  <a:pt x="82109" y="81098"/>
                  <a:pt x="79675" y="79249"/>
                </a:cubicBezTo>
                <a:cubicBezTo>
                  <a:pt x="79269" y="80696"/>
                  <a:pt x="79188" y="80294"/>
                  <a:pt x="79432" y="81500"/>
                </a:cubicBezTo>
                <a:cubicBezTo>
                  <a:pt x="78377" y="82223"/>
                  <a:pt x="78377" y="82223"/>
                  <a:pt x="78377" y="82223"/>
                </a:cubicBezTo>
                <a:cubicBezTo>
                  <a:pt x="78945" y="84393"/>
                  <a:pt x="78539" y="83670"/>
                  <a:pt x="79918" y="85117"/>
                </a:cubicBezTo>
                <a:cubicBezTo>
                  <a:pt x="79107" y="86805"/>
                  <a:pt x="79269" y="86081"/>
                  <a:pt x="79350" y="88091"/>
                </a:cubicBezTo>
                <a:cubicBezTo>
                  <a:pt x="81217" y="88653"/>
                  <a:pt x="81217" y="88653"/>
                  <a:pt x="81217" y="88653"/>
                </a:cubicBezTo>
                <a:cubicBezTo>
                  <a:pt x="81703" y="89778"/>
                  <a:pt x="81703" y="89778"/>
                  <a:pt x="81703" y="89778"/>
                </a:cubicBezTo>
                <a:cubicBezTo>
                  <a:pt x="82920" y="90341"/>
                  <a:pt x="82920" y="90341"/>
                  <a:pt x="82920" y="90341"/>
                </a:cubicBezTo>
                <a:cubicBezTo>
                  <a:pt x="84137" y="89537"/>
                  <a:pt x="84137" y="89537"/>
                  <a:pt x="84137" y="89537"/>
                </a:cubicBezTo>
                <a:cubicBezTo>
                  <a:pt x="85922" y="90421"/>
                  <a:pt x="85922" y="90421"/>
                  <a:pt x="85922" y="90421"/>
                </a:cubicBezTo>
                <a:cubicBezTo>
                  <a:pt x="88275" y="92190"/>
                  <a:pt x="88275" y="92190"/>
                  <a:pt x="88275" y="92190"/>
                </a:cubicBezTo>
                <a:cubicBezTo>
                  <a:pt x="89655" y="93878"/>
                  <a:pt x="89655" y="93878"/>
                  <a:pt x="89655" y="93878"/>
                </a:cubicBezTo>
                <a:cubicBezTo>
                  <a:pt x="88843" y="93235"/>
                  <a:pt x="88843" y="93235"/>
                  <a:pt x="88843" y="93235"/>
                </a:cubicBezTo>
                <a:cubicBezTo>
                  <a:pt x="88356" y="93476"/>
                  <a:pt x="88356" y="93476"/>
                  <a:pt x="88356" y="93476"/>
                </a:cubicBezTo>
                <a:cubicBezTo>
                  <a:pt x="88681" y="94038"/>
                  <a:pt x="88681" y="94038"/>
                  <a:pt x="88681" y="94038"/>
                </a:cubicBezTo>
                <a:cubicBezTo>
                  <a:pt x="90385" y="94521"/>
                  <a:pt x="90385" y="94521"/>
                  <a:pt x="90385" y="94521"/>
                </a:cubicBezTo>
                <a:cubicBezTo>
                  <a:pt x="90304" y="95807"/>
                  <a:pt x="90304" y="95807"/>
                  <a:pt x="90304" y="95807"/>
                </a:cubicBezTo>
                <a:cubicBezTo>
                  <a:pt x="89006" y="100629"/>
                  <a:pt x="89006" y="100629"/>
                  <a:pt x="89006" y="100629"/>
                </a:cubicBezTo>
                <a:cubicBezTo>
                  <a:pt x="87951" y="102880"/>
                  <a:pt x="87951" y="102880"/>
                  <a:pt x="87951" y="102880"/>
                </a:cubicBezTo>
                <a:cubicBezTo>
                  <a:pt x="87707" y="104246"/>
                  <a:pt x="87707" y="104246"/>
                  <a:pt x="87707" y="104246"/>
                </a:cubicBezTo>
                <a:cubicBezTo>
                  <a:pt x="87545" y="105612"/>
                  <a:pt x="87545" y="105612"/>
                  <a:pt x="87545" y="105612"/>
                </a:cubicBezTo>
                <a:cubicBezTo>
                  <a:pt x="87870" y="106738"/>
                  <a:pt x="87870" y="106738"/>
                  <a:pt x="87870" y="106738"/>
                </a:cubicBezTo>
                <a:cubicBezTo>
                  <a:pt x="87870" y="106738"/>
                  <a:pt x="87870" y="107059"/>
                  <a:pt x="88194" y="107381"/>
                </a:cubicBezTo>
                <a:cubicBezTo>
                  <a:pt x="88519" y="107702"/>
                  <a:pt x="88600" y="108024"/>
                  <a:pt x="89006" y="108345"/>
                </a:cubicBezTo>
                <a:cubicBezTo>
                  <a:pt x="89411" y="108586"/>
                  <a:pt x="89249" y="108747"/>
                  <a:pt x="90709" y="108827"/>
                </a:cubicBezTo>
                <a:cubicBezTo>
                  <a:pt x="92089" y="108988"/>
                  <a:pt x="90791" y="109631"/>
                  <a:pt x="90872" y="109872"/>
                </a:cubicBezTo>
                <a:cubicBezTo>
                  <a:pt x="90953" y="110033"/>
                  <a:pt x="91034" y="111158"/>
                  <a:pt x="91602" y="112283"/>
                </a:cubicBezTo>
                <a:cubicBezTo>
                  <a:pt x="92170" y="113409"/>
                  <a:pt x="92494" y="113248"/>
                  <a:pt x="93387" y="113730"/>
                </a:cubicBezTo>
                <a:cubicBezTo>
                  <a:pt x="94279" y="114132"/>
                  <a:pt x="93874" y="114293"/>
                  <a:pt x="94442" y="115418"/>
                </a:cubicBezTo>
                <a:cubicBezTo>
                  <a:pt x="95010" y="116463"/>
                  <a:pt x="96389" y="115981"/>
                  <a:pt x="96632" y="115981"/>
                </a:cubicBezTo>
                <a:cubicBezTo>
                  <a:pt x="96795" y="115981"/>
                  <a:pt x="96957" y="116222"/>
                  <a:pt x="97200" y="116543"/>
                </a:cubicBezTo>
                <a:cubicBezTo>
                  <a:pt x="97200" y="116543"/>
                  <a:pt x="97200" y="116543"/>
                  <a:pt x="97200" y="116543"/>
                </a:cubicBezTo>
                <a:cubicBezTo>
                  <a:pt x="97200" y="116543"/>
                  <a:pt x="96713" y="117026"/>
                  <a:pt x="96551" y="117106"/>
                </a:cubicBezTo>
                <a:cubicBezTo>
                  <a:pt x="96470" y="117186"/>
                  <a:pt x="96389" y="117267"/>
                  <a:pt x="96308" y="117347"/>
                </a:cubicBezTo>
                <a:cubicBezTo>
                  <a:pt x="96227" y="117508"/>
                  <a:pt x="96470" y="117588"/>
                  <a:pt x="96308" y="117669"/>
                </a:cubicBezTo>
                <a:cubicBezTo>
                  <a:pt x="96146" y="117749"/>
                  <a:pt x="95983" y="118070"/>
                  <a:pt x="95983" y="118231"/>
                </a:cubicBezTo>
                <a:cubicBezTo>
                  <a:pt x="96064" y="118392"/>
                  <a:pt x="95902" y="118633"/>
                  <a:pt x="95902" y="118633"/>
                </a:cubicBezTo>
                <a:cubicBezTo>
                  <a:pt x="95902" y="118633"/>
                  <a:pt x="95578" y="119035"/>
                  <a:pt x="95172" y="119035"/>
                </a:cubicBezTo>
                <a:cubicBezTo>
                  <a:pt x="94847" y="119115"/>
                  <a:pt x="94604" y="118955"/>
                  <a:pt x="94279" y="118874"/>
                </a:cubicBezTo>
                <a:cubicBezTo>
                  <a:pt x="93955" y="118794"/>
                  <a:pt x="93955" y="118794"/>
                  <a:pt x="93955" y="118794"/>
                </a:cubicBezTo>
                <a:cubicBezTo>
                  <a:pt x="93955" y="118794"/>
                  <a:pt x="93711" y="118794"/>
                  <a:pt x="93387" y="118713"/>
                </a:cubicBezTo>
                <a:cubicBezTo>
                  <a:pt x="93062" y="118553"/>
                  <a:pt x="93306" y="118553"/>
                  <a:pt x="93306" y="118553"/>
                </a:cubicBezTo>
                <a:cubicBezTo>
                  <a:pt x="92981" y="118231"/>
                  <a:pt x="92981" y="118231"/>
                  <a:pt x="92981" y="118231"/>
                </a:cubicBezTo>
                <a:cubicBezTo>
                  <a:pt x="92657" y="117829"/>
                  <a:pt x="92657" y="117829"/>
                  <a:pt x="92657" y="117829"/>
                </a:cubicBezTo>
                <a:cubicBezTo>
                  <a:pt x="92657" y="117829"/>
                  <a:pt x="92576" y="117749"/>
                  <a:pt x="92576" y="117588"/>
                </a:cubicBezTo>
                <a:cubicBezTo>
                  <a:pt x="92494" y="117427"/>
                  <a:pt x="92494" y="117588"/>
                  <a:pt x="92332" y="117588"/>
                </a:cubicBezTo>
                <a:cubicBezTo>
                  <a:pt x="92170" y="117588"/>
                  <a:pt x="92089" y="117669"/>
                  <a:pt x="91926" y="117588"/>
                </a:cubicBezTo>
                <a:cubicBezTo>
                  <a:pt x="91845" y="117508"/>
                  <a:pt x="91845" y="117427"/>
                  <a:pt x="91845" y="117347"/>
                </a:cubicBezTo>
                <a:cubicBezTo>
                  <a:pt x="91845" y="117267"/>
                  <a:pt x="91602" y="117106"/>
                  <a:pt x="91359" y="117106"/>
                </a:cubicBezTo>
                <a:cubicBezTo>
                  <a:pt x="91115" y="117026"/>
                  <a:pt x="91196" y="116865"/>
                  <a:pt x="90872" y="116865"/>
                </a:cubicBezTo>
                <a:cubicBezTo>
                  <a:pt x="90547" y="116865"/>
                  <a:pt x="90791" y="116624"/>
                  <a:pt x="90791" y="116463"/>
                </a:cubicBezTo>
                <a:cubicBezTo>
                  <a:pt x="90709" y="116383"/>
                  <a:pt x="90466" y="116624"/>
                  <a:pt x="90385" y="116704"/>
                </a:cubicBezTo>
                <a:cubicBezTo>
                  <a:pt x="90304" y="116784"/>
                  <a:pt x="90223" y="116945"/>
                  <a:pt x="90060" y="116945"/>
                </a:cubicBezTo>
                <a:cubicBezTo>
                  <a:pt x="89979" y="117026"/>
                  <a:pt x="89898" y="116543"/>
                  <a:pt x="89898" y="116543"/>
                </a:cubicBezTo>
                <a:cubicBezTo>
                  <a:pt x="89898" y="116543"/>
                  <a:pt x="89898" y="116543"/>
                  <a:pt x="89574" y="116543"/>
                </a:cubicBezTo>
                <a:cubicBezTo>
                  <a:pt x="89168" y="116543"/>
                  <a:pt x="89411" y="116704"/>
                  <a:pt x="89411" y="116704"/>
                </a:cubicBezTo>
                <a:cubicBezTo>
                  <a:pt x="89168" y="117267"/>
                  <a:pt x="89168" y="117267"/>
                  <a:pt x="89168" y="117267"/>
                </a:cubicBezTo>
                <a:cubicBezTo>
                  <a:pt x="88762" y="117588"/>
                  <a:pt x="88762" y="117588"/>
                  <a:pt x="88762" y="117588"/>
                </a:cubicBezTo>
                <a:cubicBezTo>
                  <a:pt x="88762" y="117588"/>
                  <a:pt x="88843" y="117829"/>
                  <a:pt x="88924" y="117990"/>
                </a:cubicBezTo>
                <a:cubicBezTo>
                  <a:pt x="88924" y="118151"/>
                  <a:pt x="89168" y="118231"/>
                  <a:pt x="89168" y="118231"/>
                </a:cubicBezTo>
                <a:cubicBezTo>
                  <a:pt x="89168" y="118231"/>
                  <a:pt x="89411" y="118392"/>
                  <a:pt x="89655" y="118553"/>
                </a:cubicBezTo>
                <a:cubicBezTo>
                  <a:pt x="89898" y="118713"/>
                  <a:pt x="89817" y="118713"/>
                  <a:pt x="89979" y="118713"/>
                </a:cubicBezTo>
                <a:cubicBezTo>
                  <a:pt x="90141" y="118794"/>
                  <a:pt x="90385" y="118874"/>
                  <a:pt x="90709" y="119035"/>
                </a:cubicBezTo>
                <a:cubicBezTo>
                  <a:pt x="91034" y="119115"/>
                  <a:pt x="90872" y="119035"/>
                  <a:pt x="91359" y="119437"/>
                </a:cubicBezTo>
                <a:cubicBezTo>
                  <a:pt x="91764" y="119758"/>
                  <a:pt x="91277" y="119437"/>
                  <a:pt x="91196" y="119678"/>
                </a:cubicBezTo>
                <a:cubicBezTo>
                  <a:pt x="91115" y="120000"/>
                  <a:pt x="90628" y="119356"/>
                  <a:pt x="90304" y="119517"/>
                </a:cubicBezTo>
                <a:cubicBezTo>
                  <a:pt x="89979" y="119598"/>
                  <a:pt x="89898" y="119356"/>
                  <a:pt x="89655" y="119437"/>
                </a:cubicBezTo>
                <a:cubicBezTo>
                  <a:pt x="89655" y="119437"/>
                  <a:pt x="89655" y="119437"/>
                  <a:pt x="89655" y="119437"/>
                </a:cubicBezTo>
                <a:cubicBezTo>
                  <a:pt x="89574" y="119437"/>
                  <a:pt x="89574" y="119437"/>
                  <a:pt x="89574" y="119437"/>
                </a:cubicBezTo>
                <a:cubicBezTo>
                  <a:pt x="89574" y="119356"/>
                  <a:pt x="89492" y="119276"/>
                  <a:pt x="89492" y="119196"/>
                </a:cubicBezTo>
                <a:cubicBezTo>
                  <a:pt x="89411" y="119115"/>
                  <a:pt x="89006" y="119115"/>
                  <a:pt x="89006" y="119115"/>
                </a:cubicBezTo>
                <a:cubicBezTo>
                  <a:pt x="88681" y="119035"/>
                  <a:pt x="88681" y="119035"/>
                  <a:pt x="88681" y="119035"/>
                </a:cubicBezTo>
                <a:cubicBezTo>
                  <a:pt x="88438" y="118955"/>
                  <a:pt x="88438" y="118955"/>
                  <a:pt x="88438" y="118955"/>
                </a:cubicBezTo>
                <a:cubicBezTo>
                  <a:pt x="88194" y="118553"/>
                  <a:pt x="88194" y="118553"/>
                  <a:pt x="88194" y="118553"/>
                </a:cubicBezTo>
                <a:cubicBezTo>
                  <a:pt x="87951" y="118392"/>
                  <a:pt x="87951" y="118392"/>
                  <a:pt x="87951" y="118392"/>
                </a:cubicBezTo>
                <a:cubicBezTo>
                  <a:pt x="87707" y="118070"/>
                  <a:pt x="87707" y="118070"/>
                  <a:pt x="87707" y="118070"/>
                </a:cubicBezTo>
                <a:cubicBezTo>
                  <a:pt x="87789" y="117910"/>
                  <a:pt x="87789" y="117910"/>
                  <a:pt x="87789" y="117910"/>
                </a:cubicBezTo>
                <a:cubicBezTo>
                  <a:pt x="88032" y="117588"/>
                  <a:pt x="88032" y="117588"/>
                  <a:pt x="88032" y="117588"/>
                </a:cubicBezTo>
                <a:cubicBezTo>
                  <a:pt x="88032" y="117588"/>
                  <a:pt x="88113" y="117588"/>
                  <a:pt x="88194" y="117427"/>
                </a:cubicBezTo>
                <a:cubicBezTo>
                  <a:pt x="88356" y="117186"/>
                  <a:pt x="88194" y="117186"/>
                  <a:pt x="88194" y="117186"/>
                </a:cubicBezTo>
                <a:cubicBezTo>
                  <a:pt x="88194" y="117186"/>
                  <a:pt x="87870" y="117026"/>
                  <a:pt x="87707" y="116945"/>
                </a:cubicBezTo>
                <a:cubicBezTo>
                  <a:pt x="87545" y="116865"/>
                  <a:pt x="87302" y="117106"/>
                  <a:pt x="87302" y="117106"/>
                </a:cubicBezTo>
                <a:cubicBezTo>
                  <a:pt x="86815" y="117026"/>
                  <a:pt x="86815" y="117026"/>
                  <a:pt x="86815" y="117026"/>
                </a:cubicBezTo>
                <a:cubicBezTo>
                  <a:pt x="86409" y="117026"/>
                  <a:pt x="86409" y="117026"/>
                  <a:pt x="86409" y="117026"/>
                </a:cubicBezTo>
                <a:cubicBezTo>
                  <a:pt x="86085" y="116704"/>
                  <a:pt x="86085" y="116704"/>
                  <a:pt x="86085" y="116704"/>
                </a:cubicBezTo>
                <a:cubicBezTo>
                  <a:pt x="85517" y="116543"/>
                  <a:pt x="85517" y="116543"/>
                  <a:pt x="85517" y="116543"/>
                </a:cubicBezTo>
                <a:cubicBezTo>
                  <a:pt x="85192" y="116383"/>
                  <a:pt x="85192" y="116383"/>
                  <a:pt x="85192" y="116383"/>
                </a:cubicBezTo>
                <a:cubicBezTo>
                  <a:pt x="85192" y="116383"/>
                  <a:pt x="85192" y="115740"/>
                  <a:pt x="85192" y="115659"/>
                </a:cubicBezTo>
                <a:cubicBezTo>
                  <a:pt x="85192" y="115498"/>
                  <a:pt x="85192" y="115257"/>
                  <a:pt x="85192" y="115257"/>
                </a:cubicBezTo>
                <a:cubicBezTo>
                  <a:pt x="85192" y="115257"/>
                  <a:pt x="84705" y="115177"/>
                  <a:pt x="84462" y="115257"/>
                </a:cubicBezTo>
                <a:cubicBezTo>
                  <a:pt x="84300" y="115338"/>
                  <a:pt x="84056" y="115257"/>
                  <a:pt x="84056" y="115257"/>
                </a:cubicBezTo>
                <a:cubicBezTo>
                  <a:pt x="84056" y="115257"/>
                  <a:pt x="83407" y="115177"/>
                  <a:pt x="83326" y="115016"/>
                </a:cubicBezTo>
                <a:cubicBezTo>
                  <a:pt x="83326" y="114855"/>
                  <a:pt x="83326" y="114936"/>
                  <a:pt x="83245" y="114936"/>
                </a:cubicBezTo>
                <a:cubicBezTo>
                  <a:pt x="83083" y="114936"/>
                  <a:pt x="82596" y="114936"/>
                  <a:pt x="82596" y="114936"/>
                </a:cubicBezTo>
                <a:cubicBezTo>
                  <a:pt x="82109" y="114775"/>
                  <a:pt x="82109" y="114775"/>
                  <a:pt x="82109" y="114775"/>
                </a:cubicBezTo>
                <a:cubicBezTo>
                  <a:pt x="82109" y="115498"/>
                  <a:pt x="82109" y="115498"/>
                  <a:pt x="82109" y="115498"/>
                </a:cubicBezTo>
                <a:cubicBezTo>
                  <a:pt x="82028" y="115338"/>
                  <a:pt x="82028" y="115338"/>
                  <a:pt x="82028" y="115338"/>
                </a:cubicBezTo>
                <a:cubicBezTo>
                  <a:pt x="81217" y="115257"/>
                  <a:pt x="81217" y="115257"/>
                  <a:pt x="81217" y="115257"/>
                </a:cubicBezTo>
                <a:cubicBezTo>
                  <a:pt x="80730" y="115498"/>
                  <a:pt x="80730" y="115498"/>
                  <a:pt x="80730" y="115498"/>
                </a:cubicBezTo>
                <a:cubicBezTo>
                  <a:pt x="80324" y="115659"/>
                  <a:pt x="80324" y="115659"/>
                  <a:pt x="80324" y="115659"/>
                </a:cubicBezTo>
                <a:cubicBezTo>
                  <a:pt x="80324" y="115900"/>
                  <a:pt x="80324" y="115900"/>
                  <a:pt x="80324" y="115900"/>
                </a:cubicBezTo>
                <a:cubicBezTo>
                  <a:pt x="80162" y="116141"/>
                  <a:pt x="80162" y="116141"/>
                  <a:pt x="80162" y="116141"/>
                </a:cubicBezTo>
                <a:cubicBezTo>
                  <a:pt x="80162" y="116141"/>
                  <a:pt x="79918" y="116222"/>
                  <a:pt x="79756" y="116222"/>
                </a:cubicBezTo>
                <a:cubicBezTo>
                  <a:pt x="79756" y="116302"/>
                  <a:pt x="79675" y="116463"/>
                  <a:pt x="79675" y="116543"/>
                </a:cubicBezTo>
                <a:cubicBezTo>
                  <a:pt x="79594" y="116624"/>
                  <a:pt x="79432" y="116624"/>
                  <a:pt x="79432" y="116624"/>
                </a:cubicBezTo>
                <a:cubicBezTo>
                  <a:pt x="79107" y="116543"/>
                  <a:pt x="79107" y="116543"/>
                  <a:pt x="79107" y="116543"/>
                </a:cubicBezTo>
                <a:cubicBezTo>
                  <a:pt x="78864" y="116543"/>
                  <a:pt x="78864" y="116543"/>
                  <a:pt x="78864" y="116543"/>
                </a:cubicBezTo>
                <a:cubicBezTo>
                  <a:pt x="78701" y="116383"/>
                  <a:pt x="78701" y="116383"/>
                  <a:pt x="78701" y="116383"/>
                </a:cubicBezTo>
                <a:cubicBezTo>
                  <a:pt x="78864" y="116061"/>
                  <a:pt x="78864" y="116061"/>
                  <a:pt x="78864" y="116061"/>
                </a:cubicBezTo>
                <a:cubicBezTo>
                  <a:pt x="78864" y="115900"/>
                  <a:pt x="78864" y="115900"/>
                  <a:pt x="78864" y="115900"/>
                </a:cubicBezTo>
                <a:cubicBezTo>
                  <a:pt x="78864" y="115900"/>
                  <a:pt x="78864" y="115900"/>
                  <a:pt x="78864" y="115900"/>
                </a:cubicBezTo>
                <a:cubicBezTo>
                  <a:pt x="78864" y="115900"/>
                  <a:pt x="78864" y="115900"/>
                  <a:pt x="78864" y="115900"/>
                </a:cubicBezTo>
                <a:cubicBezTo>
                  <a:pt x="78377" y="115900"/>
                  <a:pt x="78377" y="115900"/>
                  <a:pt x="78377" y="115900"/>
                </a:cubicBezTo>
                <a:cubicBezTo>
                  <a:pt x="77890" y="115740"/>
                  <a:pt x="77890" y="115740"/>
                  <a:pt x="77890" y="115740"/>
                </a:cubicBezTo>
                <a:cubicBezTo>
                  <a:pt x="76835" y="115659"/>
                  <a:pt x="76835" y="115659"/>
                  <a:pt x="76835" y="115659"/>
                </a:cubicBezTo>
                <a:cubicBezTo>
                  <a:pt x="76186" y="115498"/>
                  <a:pt x="76186" y="115498"/>
                  <a:pt x="76186" y="115498"/>
                </a:cubicBezTo>
                <a:cubicBezTo>
                  <a:pt x="75780" y="115097"/>
                  <a:pt x="75780" y="115097"/>
                  <a:pt x="75780" y="115097"/>
                </a:cubicBezTo>
                <a:cubicBezTo>
                  <a:pt x="75131" y="114936"/>
                  <a:pt x="75131" y="114936"/>
                  <a:pt x="75131" y="114936"/>
                </a:cubicBezTo>
                <a:cubicBezTo>
                  <a:pt x="74563" y="115338"/>
                  <a:pt x="74563" y="115338"/>
                  <a:pt x="74563" y="115338"/>
                </a:cubicBezTo>
                <a:cubicBezTo>
                  <a:pt x="74563" y="115338"/>
                  <a:pt x="73995" y="115097"/>
                  <a:pt x="73752" y="115097"/>
                </a:cubicBezTo>
                <a:cubicBezTo>
                  <a:pt x="73590" y="115177"/>
                  <a:pt x="73265" y="115257"/>
                  <a:pt x="73184" y="115338"/>
                </a:cubicBezTo>
                <a:cubicBezTo>
                  <a:pt x="73103" y="115338"/>
                  <a:pt x="73103" y="115418"/>
                  <a:pt x="73022" y="115418"/>
                </a:cubicBezTo>
                <a:cubicBezTo>
                  <a:pt x="73022" y="115418"/>
                  <a:pt x="73022" y="115418"/>
                  <a:pt x="73022" y="115418"/>
                </a:cubicBezTo>
                <a:cubicBezTo>
                  <a:pt x="73022" y="115418"/>
                  <a:pt x="73022" y="115418"/>
                  <a:pt x="73022" y="115418"/>
                </a:cubicBezTo>
                <a:cubicBezTo>
                  <a:pt x="73022" y="115418"/>
                  <a:pt x="73022" y="115418"/>
                  <a:pt x="73022" y="11541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3022" y="115498"/>
                  <a:pt x="73022" y="115498"/>
                  <a:pt x="73022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498"/>
                  <a:pt x="72941" y="115498"/>
                  <a:pt x="72941" y="115498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941" y="115579"/>
                  <a:pt x="72941" y="115579"/>
                  <a:pt x="72941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860" y="115579"/>
                  <a:pt x="72860" y="115579"/>
                  <a:pt x="72860" y="115579"/>
                </a:cubicBezTo>
                <a:cubicBezTo>
                  <a:pt x="72697" y="115659"/>
                  <a:pt x="72535" y="115579"/>
                  <a:pt x="72373" y="115579"/>
                </a:cubicBezTo>
                <a:cubicBezTo>
                  <a:pt x="72292" y="115659"/>
                  <a:pt x="72210" y="115740"/>
                  <a:pt x="72048" y="115740"/>
                </a:cubicBezTo>
                <a:cubicBezTo>
                  <a:pt x="71886" y="115740"/>
                  <a:pt x="71805" y="115659"/>
                  <a:pt x="71643" y="115659"/>
                </a:cubicBezTo>
                <a:cubicBezTo>
                  <a:pt x="71561" y="115740"/>
                  <a:pt x="71480" y="115820"/>
                  <a:pt x="71318" y="115820"/>
                </a:cubicBezTo>
                <a:cubicBezTo>
                  <a:pt x="71156" y="115820"/>
                  <a:pt x="71075" y="115659"/>
                  <a:pt x="71075" y="115659"/>
                </a:cubicBezTo>
                <a:cubicBezTo>
                  <a:pt x="70831" y="115659"/>
                  <a:pt x="70831" y="115659"/>
                  <a:pt x="70831" y="115659"/>
                </a:cubicBezTo>
                <a:cubicBezTo>
                  <a:pt x="70588" y="115418"/>
                  <a:pt x="70588" y="115418"/>
                  <a:pt x="70588" y="115418"/>
                </a:cubicBezTo>
                <a:cubicBezTo>
                  <a:pt x="70588" y="115418"/>
                  <a:pt x="70507" y="115579"/>
                  <a:pt x="70263" y="115579"/>
                </a:cubicBezTo>
                <a:cubicBezTo>
                  <a:pt x="70101" y="115498"/>
                  <a:pt x="69939" y="115418"/>
                  <a:pt x="69776" y="115498"/>
                </a:cubicBezTo>
                <a:cubicBezTo>
                  <a:pt x="69614" y="115498"/>
                  <a:pt x="69371" y="115579"/>
                  <a:pt x="69371" y="115579"/>
                </a:cubicBezTo>
                <a:cubicBezTo>
                  <a:pt x="68722" y="115338"/>
                  <a:pt x="68722" y="115338"/>
                  <a:pt x="68722" y="115338"/>
                </a:cubicBezTo>
                <a:cubicBezTo>
                  <a:pt x="68316" y="115257"/>
                  <a:pt x="68316" y="115257"/>
                  <a:pt x="68316" y="115257"/>
                </a:cubicBezTo>
                <a:cubicBezTo>
                  <a:pt x="67991" y="115177"/>
                  <a:pt x="67991" y="115177"/>
                  <a:pt x="67991" y="115177"/>
                </a:cubicBezTo>
                <a:cubicBezTo>
                  <a:pt x="67829" y="115418"/>
                  <a:pt x="67829" y="115418"/>
                  <a:pt x="67829" y="115418"/>
                </a:cubicBezTo>
                <a:cubicBezTo>
                  <a:pt x="67423" y="115418"/>
                  <a:pt x="67423" y="115418"/>
                  <a:pt x="67423" y="115418"/>
                </a:cubicBezTo>
                <a:cubicBezTo>
                  <a:pt x="67423" y="115418"/>
                  <a:pt x="66937" y="115257"/>
                  <a:pt x="66612" y="115338"/>
                </a:cubicBezTo>
                <a:cubicBezTo>
                  <a:pt x="66531" y="115338"/>
                  <a:pt x="66288" y="115579"/>
                  <a:pt x="66206" y="115579"/>
                </a:cubicBezTo>
                <a:cubicBezTo>
                  <a:pt x="66125" y="115659"/>
                  <a:pt x="66450" y="115900"/>
                  <a:pt x="66288" y="115900"/>
                </a:cubicBezTo>
                <a:cubicBezTo>
                  <a:pt x="63853" y="115659"/>
                  <a:pt x="61014" y="114695"/>
                  <a:pt x="58580" y="114052"/>
                </a:cubicBezTo>
                <a:cubicBezTo>
                  <a:pt x="58580" y="114052"/>
                  <a:pt x="56551" y="113569"/>
                  <a:pt x="56227" y="113569"/>
                </a:cubicBezTo>
                <a:cubicBezTo>
                  <a:pt x="55902" y="113569"/>
                  <a:pt x="55253" y="112685"/>
                  <a:pt x="55253" y="112444"/>
                </a:cubicBezTo>
                <a:cubicBezTo>
                  <a:pt x="55253" y="112203"/>
                  <a:pt x="55172" y="111480"/>
                  <a:pt x="55496" y="111319"/>
                </a:cubicBezTo>
                <a:cubicBezTo>
                  <a:pt x="55821" y="111158"/>
                  <a:pt x="55821" y="111158"/>
                  <a:pt x="56389" y="110676"/>
                </a:cubicBezTo>
                <a:cubicBezTo>
                  <a:pt x="56876" y="110113"/>
                  <a:pt x="56876" y="109711"/>
                  <a:pt x="56876" y="109711"/>
                </a:cubicBezTo>
                <a:cubicBezTo>
                  <a:pt x="55659" y="108988"/>
                  <a:pt x="55659" y="108988"/>
                  <a:pt x="55659" y="108988"/>
                </a:cubicBezTo>
                <a:cubicBezTo>
                  <a:pt x="55659" y="108988"/>
                  <a:pt x="54279" y="109711"/>
                  <a:pt x="54036" y="109551"/>
                </a:cubicBezTo>
                <a:cubicBezTo>
                  <a:pt x="53711" y="109390"/>
                  <a:pt x="52413" y="110274"/>
                  <a:pt x="52413" y="110274"/>
                </a:cubicBezTo>
                <a:cubicBezTo>
                  <a:pt x="51115" y="110354"/>
                  <a:pt x="51115" y="110354"/>
                  <a:pt x="51115" y="110354"/>
                </a:cubicBezTo>
                <a:cubicBezTo>
                  <a:pt x="51115" y="110194"/>
                  <a:pt x="51115" y="110194"/>
                  <a:pt x="51115" y="110194"/>
                </a:cubicBezTo>
                <a:cubicBezTo>
                  <a:pt x="51115" y="110194"/>
                  <a:pt x="51359" y="109390"/>
                  <a:pt x="51683" y="109551"/>
                </a:cubicBezTo>
                <a:cubicBezTo>
                  <a:pt x="52008" y="108586"/>
                  <a:pt x="52008" y="108586"/>
                  <a:pt x="52008" y="108586"/>
                </a:cubicBezTo>
                <a:cubicBezTo>
                  <a:pt x="51845" y="107461"/>
                  <a:pt x="51845" y="107461"/>
                  <a:pt x="51845" y="107461"/>
                </a:cubicBezTo>
                <a:cubicBezTo>
                  <a:pt x="51521" y="105934"/>
                  <a:pt x="51521" y="105934"/>
                  <a:pt x="51521" y="105934"/>
                </a:cubicBezTo>
                <a:cubicBezTo>
                  <a:pt x="53144" y="105853"/>
                  <a:pt x="53144" y="105853"/>
                  <a:pt x="53144" y="105853"/>
                </a:cubicBezTo>
                <a:cubicBezTo>
                  <a:pt x="54604" y="105050"/>
                  <a:pt x="54604" y="105050"/>
                  <a:pt x="54604" y="105050"/>
                </a:cubicBezTo>
                <a:cubicBezTo>
                  <a:pt x="54117" y="104246"/>
                  <a:pt x="54117" y="104246"/>
                  <a:pt x="54117" y="104246"/>
                </a:cubicBezTo>
                <a:cubicBezTo>
                  <a:pt x="52738" y="104728"/>
                  <a:pt x="52738" y="104728"/>
                  <a:pt x="52738" y="104728"/>
                </a:cubicBezTo>
                <a:cubicBezTo>
                  <a:pt x="51440" y="104487"/>
                  <a:pt x="51440" y="104487"/>
                  <a:pt x="51440" y="104487"/>
                </a:cubicBezTo>
                <a:cubicBezTo>
                  <a:pt x="49736" y="105934"/>
                  <a:pt x="49736" y="105934"/>
                  <a:pt x="49736" y="105934"/>
                </a:cubicBezTo>
                <a:cubicBezTo>
                  <a:pt x="47789" y="105934"/>
                  <a:pt x="47789" y="105934"/>
                  <a:pt x="47789" y="105934"/>
                </a:cubicBezTo>
                <a:cubicBezTo>
                  <a:pt x="47139" y="105853"/>
                  <a:pt x="47139" y="105853"/>
                  <a:pt x="47139" y="105853"/>
                </a:cubicBezTo>
                <a:cubicBezTo>
                  <a:pt x="47221" y="105693"/>
                  <a:pt x="47221" y="105532"/>
                  <a:pt x="47302" y="105532"/>
                </a:cubicBezTo>
                <a:cubicBezTo>
                  <a:pt x="47464" y="105452"/>
                  <a:pt x="48681" y="105050"/>
                  <a:pt x="48681" y="105050"/>
                </a:cubicBezTo>
                <a:cubicBezTo>
                  <a:pt x="49492" y="104567"/>
                  <a:pt x="49492" y="104567"/>
                  <a:pt x="49492" y="104567"/>
                </a:cubicBezTo>
                <a:cubicBezTo>
                  <a:pt x="49492" y="104567"/>
                  <a:pt x="49898" y="104005"/>
                  <a:pt x="50060" y="103924"/>
                </a:cubicBezTo>
                <a:cubicBezTo>
                  <a:pt x="50223" y="103924"/>
                  <a:pt x="50385" y="103603"/>
                  <a:pt x="50547" y="103201"/>
                </a:cubicBezTo>
                <a:cubicBezTo>
                  <a:pt x="50791" y="102880"/>
                  <a:pt x="50953" y="102638"/>
                  <a:pt x="50953" y="102638"/>
                </a:cubicBezTo>
                <a:cubicBezTo>
                  <a:pt x="50953" y="102638"/>
                  <a:pt x="51926" y="102397"/>
                  <a:pt x="51845" y="102317"/>
                </a:cubicBezTo>
                <a:cubicBezTo>
                  <a:pt x="51845" y="102156"/>
                  <a:pt x="51440" y="101835"/>
                  <a:pt x="51926" y="101835"/>
                </a:cubicBezTo>
                <a:cubicBezTo>
                  <a:pt x="52413" y="101835"/>
                  <a:pt x="52413" y="101835"/>
                  <a:pt x="52657" y="101674"/>
                </a:cubicBezTo>
                <a:cubicBezTo>
                  <a:pt x="52819" y="101594"/>
                  <a:pt x="52738" y="101513"/>
                  <a:pt x="52819" y="101272"/>
                </a:cubicBezTo>
                <a:cubicBezTo>
                  <a:pt x="52981" y="101111"/>
                  <a:pt x="53062" y="100870"/>
                  <a:pt x="53062" y="100709"/>
                </a:cubicBezTo>
                <a:cubicBezTo>
                  <a:pt x="52981" y="100549"/>
                  <a:pt x="52576" y="99906"/>
                  <a:pt x="52576" y="99745"/>
                </a:cubicBezTo>
                <a:cubicBezTo>
                  <a:pt x="52494" y="99504"/>
                  <a:pt x="52576" y="99022"/>
                  <a:pt x="52576" y="99022"/>
                </a:cubicBezTo>
                <a:cubicBezTo>
                  <a:pt x="52576" y="99022"/>
                  <a:pt x="52819" y="98941"/>
                  <a:pt x="53062" y="98861"/>
                </a:cubicBezTo>
                <a:cubicBezTo>
                  <a:pt x="53225" y="98700"/>
                  <a:pt x="53549" y="98137"/>
                  <a:pt x="53549" y="98137"/>
                </a:cubicBezTo>
                <a:cubicBezTo>
                  <a:pt x="53630" y="97736"/>
                  <a:pt x="53630" y="97736"/>
                  <a:pt x="53630" y="97736"/>
                </a:cubicBezTo>
                <a:cubicBezTo>
                  <a:pt x="53630" y="97736"/>
                  <a:pt x="53955" y="97494"/>
                  <a:pt x="54036" y="97494"/>
                </a:cubicBezTo>
                <a:cubicBezTo>
                  <a:pt x="54198" y="97414"/>
                  <a:pt x="55496" y="96932"/>
                  <a:pt x="55578" y="96932"/>
                </a:cubicBezTo>
                <a:cubicBezTo>
                  <a:pt x="55659" y="96932"/>
                  <a:pt x="56470" y="97012"/>
                  <a:pt x="56227" y="96610"/>
                </a:cubicBezTo>
                <a:cubicBezTo>
                  <a:pt x="55983" y="96289"/>
                  <a:pt x="55902" y="96128"/>
                  <a:pt x="55821" y="95887"/>
                </a:cubicBezTo>
                <a:cubicBezTo>
                  <a:pt x="55740" y="95646"/>
                  <a:pt x="55740" y="95083"/>
                  <a:pt x="55740" y="95003"/>
                </a:cubicBezTo>
                <a:cubicBezTo>
                  <a:pt x="55821" y="94922"/>
                  <a:pt x="56470" y="94681"/>
                  <a:pt x="55740" y="94601"/>
                </a:cubicBezTo>
                <a:cubicBezTo>
                  <a:pt x="55010" y="94521"/>
                  <a:pt x="55578" y="94279"/>
                  <a:pt x="55415" y="94119"/>
                </a:cubicBezTo>
                <a:cubicBezTo>
                  <a:pt x="55172" y="93958"/>
                  <a:pt x="54685" y="93636"/>
                  <a:pt x="54685" y="93636"/>
                </a:cubicBezTo>
                <a:cubicBezTo>
                  <a:pt x="54442" y="93636"/>
                  <a:pt x="54442" y="93636"/>
                  <a:pt x="54442" y="93636"/>
                </a:cubicBezTo>
                <a:cubicBezTo>
                  <a:pt x="54523" y="92833"/>
                  <a:pt x="54523" y="92833"/>
                  <a:pt x="54523" y="92833"/>
                </a:cubicBezTo>
                <a:cubicBezTo>
                  <a:pt x="54523" y="92833"/>
                  <a:pt x="54766" y="92511"/>
                  <a:pt x="54847" y="92511"/>
                </a:cubicBezTo>
                <a:cubicBezTo>
                  <a:pt x="54929" y="92431"/>
                  <a:pt x="55010" y="92109"/>
                  <a:pt x="54847" y="92109"/>
                </a:cubicBezTo>
                <a:cubicBezTo>
                  <a:pt x="54685" y="92190"/>
                  <a:pt x="54198" y="92270"/>
                  <a:pt x="54198" y="92270"/>
                </a:cubicBezTo>
                <a:cubicBezTo>
                  <a:pt x="54198" y="92270"/>
                  <a:pt x="53793" y="92270"/>
                  <a:pt x="53874" y="92109"/>
                </a:cubicBezTo>
                <a:cubicBezTo>
                  <a:pt x="53874" y="91868"/>
                  <a:pt x="54036" y="91868"/>
                  <a:pt x="54279" y="91627"/>
                </a:cubicBezTo>
                <a:cubicBezTo>
                  <a:pt x="54523" y="91386"/>
                  <a:pt x="54604" y="91225"/>
                  <a:pt x="54604" y="91225"/>
                </a:cubicBezTo>
                <a:cubicBezTo>
                  <a:pt x="54523" y="90743"/>
                  <a:pt x="54523" y="90743"/>
                  <a:pt x="54523" y="90743"/>
                </a:cubicBezTo>
                <a:cubicBezTo>
                  <a:pt x="54523" y="90743"/>
                  <a:pt x="54523" y="90421"/>
                  <a:pt x="54442" y="90421"/>
                </a:cubicBezTo>
                <a:cubicBezTo>
                  <a:pt x="54442" y="90341"/>
                  <a:pt x="53955" y="89377"/>
                  <a:pt x="53955" y="89377"/>
                </a:cubicBezTo>
                <a:cubicBezTo>
                  <a:pt x="53955" y="89377"/>
                  <a:pt x="53468" y="89216"/>
                  <a:pt x="53387" y="89377"/>
                </a:cubicBezTo>
                <a:cubicBezTo>
                  <a:pt x="53387" y="89537"/>
                  <a:pt x="53225" y="89859"/>
                  <a:pt x="53225" y="89859"/>
                </a:cubicBezTo>
                <a:cubicBezTo>
                  <a:pt x="52657" y="89859"/>
                  <a:pt x="52657" y="89859"/>
                  <a:pt x="52657" y="89859"/>
                </a:cubicBezTo>
                <a:cubicBezTo>
                  <a:pt x="52332" y="89618"/>
                  <a:pt x="52332" y="89618"/>
                  <a:pt x="52332" y="89618"/>
                </a:cubicBezTo>
                <a:cubicBezTo>
                  <a:pt x="51683" y="89457"/>
                  <a:pt x="51683" y="89457"/>
                  <a:pt x="51683" y="89457"/>
                </a:cubicBezTo>
                <a:cubicBezTo>
                  <a:pt x="51683" y="89457"/>
                  <a:pt x="51602" y="89537"/>
                  <a:pt x="51521" y="89618"/>
                </a:cubicBezTo>
                <a:cubicBezTo>
                  <a:pt x="51521" y="89698"/>
                  <a:pt x="50872" y="89296"/>
                  <a:pt x="50872" y="89296"/>
                </a:cubicBezTo>
                <a:cubicBezTo>
                  <a:pt x="50872" y="89296"/>
                  <a:pt x="50628" y="89618"/>
                  <a:pt x="50547" y="89698"/>
                </a:cubicBezTo>
                <a:cubicBezTo>
                  <a:pt x="50547" y="89698"/>
                  <a:pt x="49898" y="89537"/>
                  <a:pt x="49898" y="89537"/>
                </a:cubicBezTo>
                <a:cubicBezTo>
                  <a:pt x="49249" y="89618"/>
                  <a:pt x="49249" y="89618"/>
                  <a:pt x="49249" y="89618"/>
                </a:cubicBezTo>
                <a:cubicBezTo>
                  <a:pt x="48681" y="89698"/>
                  <a:pt x="48681" y="89698"/>
                  <a:pt x="48681" y="89698"/>
                </a:cubicBezTo>
                <a:cubicBezTo>
                  <a:pt x="48194" y="89457"/>
                  <a:pt x="48194" y="89457"/>
                  <a:pt x="48194" y="89457"/>
                </a:cubicBezTo>
                <a:cubicBezTo>
                  <a:pt x="48032" y="89698"/>
                  <a:pt x="48032" y="89698"/>
                  <a:pt x="48032" y="89698"/>
                </a:cubicBezTo>
                <a:cubicBezTo>
                  <a:pt x="48113" y="90100"/>
                  <a:pt x="48113" y="90100"/>
                  <a:pt x="48113" y="90100"/>
                </a:cubicBezTo>
                <a:cubicBezTo>
                  <a:pt x="47707" y="90341"/>
                  <a:pt x="47707" y="90341"/>
                  <a:pt x="47707" y="90341"/>
                </a:cubicBezTo>
                <a:cubicBezTo>
                  <a:pt x="47221" y="90020"/>
                  <a:pt x="47221" y="90020"/>
                  <a:pt x="47221" y="90020"/>
                </a:cubicBezTo>
                <a:cubicBezTo>
                  <a:pt x="46815" y="89939"/>
                  <a:pt x="46815" y="89939"/>
                  <a:pt x="46815" y="89939"/>
                </a:cubicBezTo>
                <a:cubicBezTo>
                  <a:pt x="46247" y="89377"/>
                  <a:pt x="46247" y="89377"/>
                  <a:pt x="46247" y="89377"/>
                </a:cubicBezTo>
                <a:cubicBezTo>
                  <a:pt x="45760" y="89216"/>
                  <a:pt x="45760" y="89216"/>
                  <a:pt x="45760" y="89216"/>
                </a:cubicBezTo>
                <a:cubicBezTo>
                  <a:pt x="45273" y="88975"/>
                  <a:pt x="45273" y="88975"/>
                  <a:pt x="45273" y="88975"/>
                </a:cubicBezTo>
                <a:cubicBezTo>
                  <a:pt x="45273" y="88975"/>
                  <a:pt x="45030" y="89618"/>
                  <a:pt x="44949" y="89698"/>
                </a:cubicBezTo>
                <a:cubicBezTo>
                  <a:pt x="44868" y="89698"/>
                  <a:pt x="44462" y="89859"/>
                  <a:pt x="44381" y="89859"/>
                </a:cubicBezTo>
                <a:cubicBezTo>
                  <a:pt x="44219" y="89939"/>
                  <a:pt x="44137" y="90341"/>
                  <a:pt x="44137" y="90341"/>
                </a:cubicBezTo>
                <a:cubicBezTo>
                  <a:pt x="43732" y="90582"/>
                  <a:pt x="43732" y="90582"/>
                  <a:pt x="43732" y="90582"/>
                </a:cubicBezTo>
                <a:cubicBezTo>
                  <a:pt x="43732" y="90582"/>
                  <a:pt x="43488" y="90421"/>
                  <a:pt x="43326" y="90421"/>
                </a:cubicBezTo>
                <a:cubicBezTo>
                  <a:pt x="43245" y="90421"/>
                  <a:pt x="43164" y="90502"/>
                  <a:pt x="43164" y="90502"/>
                </a:cubicBezTo>
                <a:cubicBezTo>
                  <a:pt x="43002" y="90743"/>
                  <a:pt x="43002" y="90743"/>
                  <a:pt x="43002" y="90743"/>
                </a:cubicBezTo>
                <a:cubicBezTo>
                  <a:pt x="43002" y="90743"/>
                  <a:pt x="42920" y="90743"/>
                  <a:pt x="42677" y="90582"/>
                </a:cubicBezTo>
                <a:cubicBezTo>
                  <a:pt x="42515" y="90502"/>
                  <a:pt x="42271" y="90341"/>
                  <a:pt x="42271" y="90341"/>
                </a:cubicBezTo>
                <a:cubicBezTo>
                  <a:pt x="42028" y="90261"/>
                  <a:pt x="42028" y="90261"/>
                  <a:pt x="42028" y="90261"/>
                </a:cubicBezTo>
                <a:cubicBezTo>
                  <a:pt x="42028" y="90261"/>
                  <a:pt x="41298" y="90582"/>
                  <a:pt x="41217" y="90663"/>
                </a:cubicBezTo>
                <a:cubicBezTo>
                  <a:pt x="41217" y="90743"/>
                  <a:pt x="41054" y="90984"/>
                  <a:pt x="41054" y="90984"/>
                </a:cubicBezTo>
                <a:cubicBezTo>
                  <a:pt x="40649" y="90663"/>
                  <a:pt x="40649" y="90663"/>
                  <a:pt x="40649" y="90663"/>
                </a:cubicBezTo>
                <a:cubicBezTo>
                  <a:pt x="40162" y="90341"/>
                  <a:pt x="40162" y="90341"/>
                  <a:pt x="40162" y="90341"/>
                </a:cubicBezTo>
                <a:cubicBezTo>
                  <a:pt x="40081" y="89778"/>
                  <a:pt x="40081" y="89778"/>
                  <a:pt x="40081" y="89778"/>
                </a:cubicBezTo>
                <a:cubicBezTo>
                  <a:pt x="39188" y="88975"/>
                  <a:pt x="39188" y="88975"/>
                  <a:pt x="39188" y="88975"/>
                </a:cubicBezTo>
                <a:cubicBezTo>
                  <a:pt x="39026" y="88171"/>
                  <a:pt x="39026" y="88171"/>
                  <a:pt x="39026" y="88171"/>
                </a:cubicBezTo>
                <a:cubicBezTo>
                  <a:pt x="38377" y="87689"/>
                  <a:pt x="38377" y="87689"/>
                  <a:pt x="38377" y="87689"/>
                </a:cubicBezTo>
                <a:cubicBezTo>
                  <a:pt x="37971" y="88171"/>
                  <a:pt x="37971" y="88171"/>
                  <a:pt x="37971" y="88171"/>
                </a:cubicBezTo>
                <a:cubicBezTo>
                  <a:pt x="37322" y="88091"/>
                  <a:pt x="37322" y="88091"/>
                  <a:pt x="37322" y="88091"/>
                </a:cubicBezTo>
                <a:close/>
                <a:moveTo>
                  <a:pt x="28965" y="5867"/>
                </a:moveTo>
                <a:cubicBezTo>
                  <a:pt x="28965" y="5867"/>
                  <a:pt x="28965" y="5867"/>
                  <a:pt x="28965" y="5867"/>
                </a:cubicBezTo>
                <a:cubicBezTo>
                  <a:pt x="29046" y="5947"/>
                  <a:pt x="29046" y="5947"/>
                  <a:pt x="29046" y="5947"/>
                </a:cubicBezTo>
                <a:cubicBezTo>
                  <a:pt x="29046" y="5947"/>
                  <a:pt x="29533" y="6430"/>
                  <a:pt x="29939" y="6430"/>
                </a:cubicBezTo>
                <a:cubicBezTo>
                  <a:pt x="30344" y="6430"/>
                  <a:pt x="30020" y="6430"/>
                  <a:pt x="30425" y="6349"/>
                </a:cubicBezTo>
                <a:cubicBezTo>
                  <a:pt x="30750" y="6188"/>
                  <a:pt x="30831" y="5947"/>
                  <a:pt x="30993" y="5706"/>
                </a:cubicBezTo>
                <a:cubicBezTo>
                  <a:pt x="31156" y="5465"/>
                  <a:pt x="31156" y="5465"/>
                  <a:pt x="31156" y="5224"/>
                </a:cubicBezTo>
                <a:cubicBezTo>
                  <a:pt x="31156" y="4983"/>
                  <a:pt x="31156" y="4581"/>
                  <a:pt x="31156" y="4340"/>
                </a:cubicBezTo>
                <a:cubicBezTo>
                  <a:pt x="31156" y="4099"/>
                  <a:pt x="31399" y="4179"/>
                  <a:pt x="31643" y="4179"/>
                </a:cubicBezTo>
                <a:cubicBezTo>
                  <a:pt x="31805" y="4179"/>
                  <a:pt x="31480" y="3536"/>
                  <a:pt x="31480" y="3536"/>
                </a:cubicBezTo>
                <a:cubicBezTo>
                  <a:pt x="31480" y="3536"/>
                  <a:pt x="30750" y="3215"/>
                  <a:pt x="30425" y="3215"/>
                </a:cubicBezTo>
                <a:cubicBezTo>
                  <a:pt x="30101" y="3215"/>
                  <a:pt x="29371" y="3134"/>
                  <a:pt x="29371" y="3134"/>
                </a:cubicBezTo>
                <a:cubicBezTo>
                  <a:pt x="28478" y="4259"/>
                  <a:pt x="28478" y="4259"/>
                  <a:pt x="28478" y="4259"/>
                </a:cubicBezTo>
                <a:cubicBezTo>
                  <a:pt x="28478" y="4259"/>
                  <a:pt x="28803" y="5787"/>
                  <a:pt x="28965" y="5867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3050;p256">
            <a:extLst>
              <a:ext uri="{FF2B5EF4-FFF2-40B4-BE49-F238E27FC236}">
                <a16:creationId xmlns:a16="http://schemas.microsoft.com/office/drawing/2014/main" id="{53DF4647-D196-8A9B-FE27-874B93ADB1C4}"/>
              </a:ext>
            </a:extLst>
          </p:cNvPr>
          <p:cNvSpPr/>
          <p:nvPr/>
        </p:nvSpPr>
        <p:spPr>
          <a:xfrm>
            <a:off x="6560453" y="1671809"/>
            <a:ext cx="1066971" cy="195466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0103" y="109309"/>
                </a:moveTo>
                <a:cubicBezTo>
                  <a:pt x="28453" y="109963"/>
                  <a:pt x="28453" y="109963"/>
                  <a:pt x="28453" y="109963"/>
                </a:cubicBezTo>
                <a:cubicBezTo>
                  <a:pt x="28453" y="110836"/>
                  <a:pt x="28453" y="110836"/>
                  <a:pt x="28453" y="110836"/>
                </a:cubicBezTo>
                <a:cubicBezTo>
                  <a:pt x="27628" y="111709"/>
                  <a:pt x="27628" y="111709"/>
                  <a:pt x="27628" y="111709"/>
                </a:cubicBezTo>
                <a:cubicBezTo>
                  <a:pt x="27628" y="111709"/>
                  <a:pt x="26804" y="111927"/>
                  <a:pt x="26804" y="112145"/>
                </a:cubicBezTo>
                <a:cubicBezTo>
                  <a:pt x="26391" y="112363"/>
                  <a:pt x="24742" y="113018"/>
                  <a:pt x="24742" y="113018"/>
                </a:cubicBezTo>
                <a:cubicBezTo>
                  <a:pt x="24742" y="113018"/>
                  <a:pt x="24742" y="113236"/>
                  <a:pt x="24329" y="113236"/>
                </a:cubicBezTo>
                <a:cubicBezTo>
                  <a:pt x="23917" y="113236"/>
                  <a:pt x="21030" y="113890"/>
                  <a:pt x="21030" y="113890"/>
                </a:cubicBezTo>
                <a:cubicBezTo>
                  <a:pt x="20206" y="114763"/>
                  <a:pt x="20206" y="114763"/>
                  <a:pt x="20206" y="114763"/>
                </a:cubicBezTo>
                <a:cubicBezTo>
                  <a:pt x="18556" y="114981"/>
                  <a:pt x="18556" y="114981"/>
                  <a:pt x="18556" y="114981"/>
                </a:cubicBezTo>
                <a:cubicBezTo>
                  <a:pt x="17319" y="116072"/>
                  <a:pt x="17319" y="116072"/>
                  <a:pt x="17319" y="116072"/>
                </a:cubicBezTo>
                <a:cubicBezTo>
                  <a:pt x="15257" y="116509"/>
                  <a:pt x="15257" y="116509"/>
                  <a:pt x="15257" y="116509"/>
                </a:cubicBezTo>
                <a:cubicBezTo>
                  <a:pt x="13608" y="116727"/>
                  <a:pt x="13608" y="116727"/>
                  <a:pt x="13608" y="116727"/>
                </a:cubicBezTo>
                <a:cubicBezTo>
                  <a:pt x="11958" y="116290"/>
                  <a:pt x="11958" y="116290"/>
                  <a:pt x="11958" y="116290"/>
                </a:cubicBezTo>
                <a:cubicBezTo>
                  <a:pt x="10721" y="116727"/>
                  <a:pt x="10721" y="116727"/>
                  <a:pt x="10721" y="116727"/>
                </a:cubicBezTo>
                <a:cubicBezTo>
                  <a:pt x="9484" y="117163"/>
                  <a:pt x="9484" y="117163"/>
                  <a:pt x="9484" y="117163"/>
                </a:cubicBezTo>
                <a:cubicBezTo>
                  <a:pt x="9896" y="118036"/>
                  <a:pt x="9896" y="118036"/>
                  <a:pt x="9896" y="118036"/>
                </a:cubicBezTo>
                <a:cubicBezTo>
                  <a:pt x="11134" y="118472"/>
                  <a:pt x="11134" y="118472"/>
                  <a:pt x="11134" y="118472"/>
                </a:cubicBezTo>
                <a:cubicBezTo>
                  <a:pt x="11958" y="117818"/>
                  <a:pt x="11958" y="117818"/>
                  <a:pt x="11958" y="117818"/>
                </a:cubicBezTo>
                <a:cubicBezTo>
                  <a:pt x="14432" y="118254"/>
                  <a:pt x="14432" y="118254"/>
                  <a:pt x="14432" y="118254"/>
                </a:cubicBezTo>
                <a:cubicBezTo>
                  <a:pt x="14432" y="118254"/>
                  <a:pt x="15257" y="118909"/>
                  <a:pt x="15670" y="119127"/>
                </a:cubicBezTo>
                <a:cubicBezTo>
                  <a:pt x="15670" y="119345"/>
                  <a:pt x="15670" y="120000"/>
                  <a:pt x="16082" y="120000"/>
                </a:cubicBezTo>
                <a:cubicBezTo>
                  <a:pt x="16494" y="119781"/>
                  <a:pt x="18556" y="119127"/>
                  <a:pt x="18556" y="119127"/>
                </a:cubicBezTo>
                <a:cubicBezTo>
                  <a:pt x="17731" y="118254"/>
                  <a:pt x="17731" y="118254"/>
                  <a:pt x="17731" y="118254"/>
                </a:cubicBezTo>
                <a:cubicBezTo>
                  <a:pt x="17731" y="118254"/>
                  <a:pt x="18969" y="118036"/>
                  <a:pt x="19793" y="118036"/>
                </a:cubicBezTo>
                <a:cubicBezTo>
                  <a:pt x="20618" y="118036"/>
                  <a:pt x="21443" y="118254"/>
                  <a:pt x="21855" y="117818"/>
                </a:cubicBezTo>
                <a:cubicBezTo>
                  <a:pt x="21855" y="117600"/>
                  <a:pt x="23092" y="117600"/>
                  <a:pt x="23092" y="117600"/>
                </a:cubicBezTo>
                <a:cubicBezTo>
                  <a:pt x="23092" y="117600"/>
                  <a:pt x="23917" y="116945"/>
                  <a:pt x="23917" y="116945"/>
                </a:cubicBezTo>
                <a:cubicBezTo>
                  <a:pt x="23917" y="116727"/>
                  <a:pt x="25154" y="116290"/>
                  <a:pt x="25154" y="116290"/>
                </a:cubicBezTo>
                <a:cubicBezTo>
                  <a:pt x="25154" y="116290"/>
                  <a:pt x="28041" y="116945"/>
                  <a:pt x="28453" y="116945"/>
                </a:cubicBezTo>
                <a:cubicBezTo>
                  <a:pt x="28865" y="116945"/>
                  <a:pt x="31752" y="116509"/>
                  <a:pt x="31752" y="116509"/>
                </a:cubicBezTo>
                <a:cubicBezTo>
                  <a:pt x="32989" y="117163"/>
                  <a:pt x="32989" y="117163"/>
                  <a:pt x="32989" y="117163"/>
                </a:cubicBezTo>
                <a:cubicBezTo>
                  <a:pt x="32989" y="117163"/>
                  <a:pt x="32989" y="117600"/>
                  <a:pt x="33814" y="117818"/>
                </a:cubicBezTo>
                <a:cubicBezTo>
                  <a:pt x="34639" y="117818"/>
                  <a:pt x="35051" y="117818"/>
                  <a:pt x="35051" y="117818"/>
                </a:cubicBezTo>
                <a:cubicBezTo>
                  <a:pt x="36288" y="118690"/>
                  <a:pt x="36288" y="118690"/>
                  <a:pt x="36288" y="118690"/>
                </a:cubicBezTo>
                <a:cubicBezTo>
                  <a:pt x="37525" y="119127"/>
                  <a:pt x="37525" y="119127"/>
                  <a:pt x="37525" y="119127"/>
                </a:cubicBezTo>
                <a:cubicBezTo>
                  <a:pt x="37525" y="119127"/>
                  <a:pt x="38762" y="119127"/>
                  <a:pt x="38762" y="118909"/>
                </a:cubicBezTo>
                <a:cubicBezTo>
                  <a:pt x="38762" y="118690"/>
                  <a:pt x="39175" y="118254"/>
                  <a:pt x="39587" y="118036"/>
                </a:cubicBezTo>
                <a:cubicBezTo>
                  <a:pt x="40000" y="118036"/>
                  <a:pt x="41237" y="117818"/>
                  <a:pt x="41237" y="117818"/>
                </a:cubicBezTo>
                <a:cubicBezTo>
                  <a:pt x="41237" y="117818"/>
                  <a:pt x="41237" y="117381"/>
                  <a:pt x="41237" y="117163"/>
                </a:cubicBezTo>
                <a:cubicBezTo>
                  <a:pt x="41237" y="116727"/>
                  <a:pt x="41237" y="116072"/>
                  <a:pt x="41649" y="115854"/>
                </a:cubicBezTo>
                <a:cubicBezTo>
                  <a:pt x="41649" y="115854"/>
                  <a:pt x="42886" y="114981"/>
                  <a:pt x="42886" y="114981"/>
                </a:cubicBezTo>
                <a:cubicBezTo>
                  <a:pt x="44948" y="114763"/>
                  <a:pt x="44948" y="114763"/>
                  <a:pt x="44948" y="114763"/>
                </a:cubicBezTo>
                <a:cubicBezTo>
                  <a:pt x="49896" y="114545"/>
                  <a:pt x="49896" y="114545"/>
                  <a:pt x="49896" y="114545"/>
                </a:cubicBezTo>
                <a:cubicBezTo>
                  <a:pt x="51546" y="114545"/>
                  <a:pt x="51546" y="114545"/>
                  <a:pt x="51546" y="114545"/>
                </a:cubicBezTo>
                <a:cubicBezTo>
                  <a:pt x="53608" y="115418"/>
                  <a:pt x="53608" y="115418"/>
                  <a:pt x="53608" y="115418"/>
                </a:cubicBezTo>
                <a:cubicBezTo>
                  <a:pt x="55670" y="116509"/>
                  <a:pt x="55670" y="116509"/>
                  <a:pt x="55670" y="116509"/>
                </a:cubicBezTo>
                <a:cubicBezTo>
                  <a:pt x="55670" y="116509"/>
                  <a:pt x="56907" y="117381"/>
                  <a:pt x="56907" y="117163"/>
                </a:cubicBezTo>
                <a:cubicBezTo>
                  <a:pt x="57319" y="116727"/>
                  <a:pt x="57731" y="115854"/>
                  <a:pt x="58144" y="115854"/>
                </a:cubicBezTo>
                <a:cubicBezTo>
                  <a:pt x="58556" y="115854"/>
                  <a:pt x="59793" y="116727"/>
                  <a:pt x="59793" y="116727"/>
                </a:cubicBezTo>
                <a:cubicBezTo>
                  <a:pt x="61443" y="116945"/>
                  <a:pt x="61443" y="116945"/>
                  <a:pt x="61443" y="116945"/>
                </a:cubicBezTo>
                <a:cubicBezTo>
                  <a:pt x="62680" y="116945"/>
                  <a:pt x="62680" y="116945"/>
                  <a:pt x="62680" y="116945"/>
                </a:cubicBezTo>
                <a:cubicBezTo>
                  <a:pt x="63917" y="116290"/>
                  <a:pt x="63917" y="116290"/>
                  <a:pt x="63917" y="116290"/>
                </a:cubicBezTo>
                <a:cubicBezTo>
                  <a:pt x="63092" y="115636"/>
                  <a:pt x="63092" y="115636"/>
                  <a:pt x="63092" y="115636"/>
                </a:cubicBezTo>
                <a:cubicBezTo>
                  <a:pt x="64742" y="115854"/>
                  <a:pt x="64742" y="115854"/>
                  <a:pt x="64742" y="115854"/>
                </a:cubicBezTo>
                <a:cubicBezTo>
                  <a:pt x="69278" y="116072"/>
                  <a:pt x="69278" y="116072"/>
                  <a:pt x="69278" y="116072"/>
                </a:cubicBezTo>
                <a:cubicBezTo>
                  <a:pt x="71340" y="115854"/>
                  <a:pt x="71340" y="115854"/>
                  <a:pt x="71340" y="115854"/>
                </a:cubicBezTo>
                <a:cubicBezTo>
                  <a:pt x="72989" y="115636"/>
                  <a:pt x="72989" y="115636"/>
                  <a:pt x="72989" y="115636"/>
                </a:cubicBezTo>
                <a:cubicBezTo>
                  <a:pt x="72989" y="116072"/>
                  <a:pt x="72989" y="116072"/>
                  <a:pt x="72989" y="116072"/>
                </a:cubicBezTo>
                <a:cubicBezTo>
                  <a:pt x="70515" y="116509"/>
                  <a:pt x="70515" y="116509"/>
                  <a:pt x="70515" y="116509"/>
                </a:cubicBezTo>
                <a:cubicBezTo>
                  <a:pt x="70515" y="116509"/>
                  <a:pt x="69278" y="116509"/>
                  <a:pt x="69690" y="116727"/>
                </a:cubicBezTo>
                <a:cubicBezTo>
                  <a:pt x="70103" y="117163"/>
                  <a:pt x="72164" y="117600"/>
                  <a:pt x="72164" y="117600"/>
                </a:cubicBezTo>
                <a:cubicBezTo>
                  <a:pt x="72164" y="117600"/>
                  <a:pt x="70927" y="117818"/>
                  <a:pt x="72577" y="117818"/>
                </a:cubicBezTo>
                <a:cubicBezTo>
                  <a:pt x="74226" y="117818"/>
                  <a:pt x="75051" y="117600"/>
                  <a:pt x="75051" y="117600"/>
                </a:cubicBezTo>
                <a:cubicBezTo>
                  <a:pt x="76288" y="116945"/>
                  <a:pt x="76288" y="116945"/>
                  <a:pt x="76288" y="116945"/>
                </a:cubicBezTo>
                <a:cubicBezTo>
                  <a:pt x="75463" y="116509"/>
                  <a:pt x="75463" y="116509"/>
                  <a:pt x="75463" y="116509"/>
                </a:cubicBezTo>
                <a:cubicBezTo>
                  <a:pt x="73402" y="116290"/>
                  <a:pt x="73402" y="116290"/>
                  <a:pt x="73402" y="116290"/>
                </a:cubicBezTo>
                <a:cubicBezTo>
                  <a:pt x="73814" y="115418"/>
                  <a:pt x="73814" y="115418"/>
                  <a:pt x="73814" y="115418"/>
                </a:cubicBezTo>
                <a:cubicBezTo>
                  <a:pt x="74226" y="115418"/>
                  <a:pt x="74226" y="115418"/>
                  <a:pt x="74226" y="115418"/>
                </a:cubicBezTo>
                <a:cubicBezTo>
                  <a:pt x="75463" y="116072"/>
                  <a:pt x="75463" y="116072"/>
                  <a:pt x="75463" y="116072"/>
                </a:cubicBezTo>
                <a:cubicBezTo>
                  <a:pt x="76701" y="115636"/>
                  <a:pt x="76701" y="115636"/>
                  <a:pt x="76701" y="115636"/>
                </a:cubicBezTo>
                <a:cubicBezTo>
                  <a:pt x="78350" y="115854"/>
                  <a:pt x="78350" y="115854"/>
                  <a:pt x="78350" y="115854"/>
                </a:cubicBezTo>
                <a:cubicBezTo>
                  <a:pt x="79175" y="116727"/>
                  <a:pt x="79175" y="116727"/>
                  <a:pt x="79175" y="116727"/>
                </a:cubicBezTo>
                <a:cubicBezTo>
                  <a:pt x="79175" y="116727"/>
                  <a:pt x="80000" y="117163"/>
                  <a:pt x="80824" y="116727"/>
                </a:cubicBezTo>
                <a:cubicBezTo>
                  <a:pt x="81649" y="116509"/>
                  <a:pt x="82474" y="116290"/>
                  <a:pt x="82474" y="116290"/>
                </a:cubicBezTo>
                <a:cubicBezTo>
                  <a:pt x="87422" y="116509"/>
                  <a:pt x="87422" y="116509"/>
                  <a:pt x="87422" y="116509"/>
                </a:cubicBezTo>
                <a:cubicBezTo>
                  <a:pt x="87422" y="116509"/>
                  <a:pt x="89896" y="116290"/>
                  <a:pt x="90309" y="116727"/>
                </a:cubicBezTo>
                <a:cubicBezTo>
                  <a:pt x="90721" y="116945"/>
                  <a:pt x="91958" y="117381"/>
                  <a:pt x="91958" y="117381"/>
                </a:cubicBezTo>
                <a:cubicBezTo>
                  <a:pt x="94020" y="117600"/>
                  <a:pt x="94020" y="117600"/>
                  <a:pt x="94020" y="117600"/>
                </a:cubicBezTo>
                <a:cubicBezTo>
                  <a:pt x="96082" y="117600"/>
                  <a:pt x="96082" y="117600"/>
                  <a:pt x="96082" y="117600"/>
                </a:cubicBezTo>
                <a:cubicBezTo>
                  <a:pt x="96082" y="117600"/>
                  <a:pt x="96907" y="117163"/>
                  <a:pt x="97319" y="116945"/>
                </a:cubicBezTo>
                <a:cubicBezTo>
                  <a:pt x="98144" y="116945"/>
                  <a:pt x="99381" y="116509"/>
                  <a:pt x="99793" y="116509"/>
                </a:cubicBezTo>
                <a:cubicBezTo>
                  <a:pt x="100618" y="116509"/>
                  <a:pt x="102680" y="116290"/>
                  <a:pt x="102680" y="116290"/>
                </a:cubicBezTo>
                <a:cubicBezTo>
                  <a:pt x="103092" y="116290"/>
                  <a:pt x="103505" y="116509"/>
                  <a:pt x="104329" y="116290"/>
                </a:cubicBezTo>
                <a:cubicBezTo>
                  <a:pt x="104742" y="116290"/>
                  <a:pt x="105979" y="115200"/>
                  <a:pt x="105979" y="115200"/>
                </a:cubicBezTo>
                <a:cubicBezTo>
                  <a:pt x="105979" y="115200"/>
                  <a:pt x="106391" y="114763"/>
                  <a:pt x="107216" y="114763"/>
                </a:cubicBezTo>
                <a:cubicBezTo>
                  <a:pt x="108041" y="114763"/>
                  <a:pt x="109278" y="114763"/>
                  <a:pt x="109690" y="114545"/>
                </a:cubicBezTo>
                <a:cubicBezTo>
                  <a:pt x="110103" y="114109"/>
                  <a:pt x="110515" y="113890"/>
                  <a:pt x="110927" y="113672"/>
                </a:cubicBezTo>
                <a:cubicBezTo>
                  <a:pt x="111340" y="113454"/>
                  <a:pt x="112164" y="112800"/>
                  <a:pt x="111752" y="112581"/>
                </a:cubicBezTo>
                <a:cubicBezTo>
                  <a:pt x="111752" y="112363"/>
                  <a:pt x="112164" y="111490"/>
                  <a:pt x="112164" y="111490"/>
                </a:cubicBezTo>
                <a:cubicBezTo>
                  <a:pt x="112164" y="111490"/>
                  <a:pt x="110927" y="111490"/>
                  <a:pt x="110515" y="111490"/>
                </a:cubicBezTo>
                <a:cubicBezTo>
                  <a:pt x="110103" y="111272"/>
                  <a:pt x="108453" y="111490"/>
                  <a:pt x="108041" y="111272"/>
                </a:cubicBezTo>
                <a:cubicBezTo>
                  <a:pt x="107628" y="111272"/>
                  <a:pt x="105979" y="111272"/>
                  <a:pt x="105979" y="111272"/>
                </a:cubicBezTo>
                <a:cubicBezTo>
                  <a:pt x="105567" y="110836"/>
                  <a:pt x="105567" y="110836"/>
                  <a:pt x="105567" y="110836"/>
                </a:cubicBezTo>
                <a:cubicBezTo>
                  <a:pt x="105567" y="110836"/>
                  <a:pt x="105154" y="110618"/>
                  <a:pt x="104742" y="110400"/>
                </a:cubicBezTo>
                <a:cubicBezTo>
                  <a:pt x="104329" y="110400"/>
                  <a:pt x="104742" y="110400"/>
                  <a:pt x="103917" y="110181"/>
                </a:cubicBezTo>
                <a:cubicBezTo>
                  <a:pt x="103505" y="110181"/>
                  <a:pt x="102680" y="109745"/>
                  <a:pt x="102680" y="109745"/>
                </a:cubicBezTo>
                <a:cubicBezTo>
                  <a:pt x="101443" y="109527"/>
                  <a:pt x="101443" y="109527"/>
                  <a:pt x="101443" y="109527"/>
                </a:cubicBezTo>
                <a:cubicBezTo>
                  <a:pt x="99793" y="109527"/>
                  <a:pt x="99793" y="109527"/>
                  <a:pt x="99793" y="109527"/>
                </a:cubicBezTo>
                <a:cubicBezTo>
                  <a:pt x="101443" y="109090"/>
                  <a:pt x="101443" y="109090"/>
                  <a:pt x="101443" y="109090"/>
                </a:cubicBezTo>
                <a:cubicBezTo>
                  <a:pt x="101443" y="109090"/>
                  <a:pt x="103092" y="109090"/>
                  <a:pt x="103505" y="109090"/>
                </a:cubicBezTo>
                <a:cubicBezTo>
                  <a:pt x="103917" y="109309"/>
                  <a:pt x="105567" y="109309"/>
                  <a:pt x="105567" y="109090"/>
                </a:cubicBezTo>
                <a:cubicBezTo>
                  <a:pt x="105979" y="109090"/>
                  <a:pt x="107216" y="108000"/>
                  <a:pt x="107216" y="108000"/>
                </a:cubicBezTo>
                <a:cubicBezTo>
                  <a:pt x="106804" y="107345"/>
                  <a:pt x="106804" y="107345"/>
                  <a:pt x="106804" y="107345"/>
                </a:cubicBezTo>
                <a:cubicBezTo>
                  <a:pt x="105979" y="106909"/>
                  <a:pt x="105979" y="106909"/>
                  <a:pt x="105979" y="106909"/>
                </a:cubicBezTo>
                <a:cubicBezTo>
                  <a:pt x="104329" y="107127"/>
                  <a:pt x="104329" y="107127"/>
                  <a:pt x="104329" y="107127"/>
                </a:cubicBezTo>
                <a:cubicBezTo>
                  <a:pt x="106804" y="106472"/>
                  <a:pt x="106804" y="106472"/>
                  <a:pt x="106804" y="106472"/>
                </a:cubicBezTo>
                <a:cubicBezTo>
                  <a:pt x="107628" y="106036"/>
                  <a:pt x="107628" y="106036"/>
                  <a:pt x="107628" y="106036"/>
                </a:cubicBezTo>
                <a:cubicBezTo>
                  <a:pt x="108865" y="106472"/>
                  <a:pt x="108865" y="106472"/>
                  <a:pt x="108865" y="106472"/>
                </a:cubicBezTo>
                <a:cubicBezTo>
                  <a:pt x="108865" y="106472"/>
                  <a:pt x="110927" y="106690"/>
                  <a:pt x="110927" y="106472"/>
                </a:cubicBezTo>
                <a:cubicBezTo>
                  <a:pt x="111340" y="106254"/>
                  <a:pt x="111752" y="105818"/>
                  <a:pt x="111752" y="105818"/>
                </a:cubicBezTo>
                <a:cubicBezTo>
                  <a:pt x="111752" y="105163"/>
                  <a:pt x="111752" y="105163"/>
                  <a:pt x="111752" y="105163"/>
                </a:cubicBezTo>
                <a:cubicBezTo>
                  <a:pt x="115876" y="103636"/>
                  <a:pt x="115876" y="103636"/>
                  <a:pt x="115876" y="103636"/>
                </a:cubicBezTo>
                <a:cubicBezTo>
                  <a:pt x="117525" y="102327"/>
                  <a:pt x="117525" y="102327"/>
                  <a:pt x="117525" y="102327"/>
                </a:cubicBezTo>
                <a:cubicBezTo>
                  <a:pt x="117938" y="101018"/>
                  <a:pt x="117938" y="101018"/>
                  <a:pt x="117938" y="101018"/>
                </a:cubicBezTo>
                <a:cubicBezTo>
                  <a:pt x="120000" y="99054"/>
                  <a:pt x="120000" y="99054"/>
                  <a:pt x="120000" y="99054"/>
                </a:cubicBezTo>
                <a:cubicBezTo>
                  <a:pt x="119587" y="96436"/>
                  <a:pt x="119587" y="96436"/>
                  <a:pt x="119587" y="96436"/>
                </a:cubicBezTo>
                <a:cubicBezTo>
                  <a:pt x="117525" y="94690"/>
                  <a:pt x="117525" y="94690"/>
                  <a:pt x="117525" y="94690"/>
                </a:cubicBezTo>
                <a:cubicBezTo>
                  <a:pt x="117525" y="94690"/>
                  <a:pt x="115051" y="93600"/>
                  <a:pt x="114226" y="93381"/>
                </a:cubicBezTo>
                <a:cubicBezTo>
                  <a:pt x="113402" y="93381"/>
                  <a:pt x="108865" y="92727"/>
                  <a:pt x="108865" y="92727"/>
                </a:cubicBezTo>
                <a:cubicBezTo>
                  <a:pt x="105567" y="92290"/>
                  <a:pt x="105567" y="92290"/>
                  <a:pt x="105567" y="92290"/>
                </a:cubicBezTo>
                <a:cubicBezTo>
                  <a:pt x="103917" y="92727"/>
                  <a:pt x="103917" y="92727"/>
                  <a:pt x="103917" y="92727"/>
                </a:cubicBezTo>
                <a:cubicBezTo>
                  <a:pt x="103505" y="93381"/>
                  <a:pt x="103505" y="93381"/>
                  <a:pt x="103505" y="93381"/>
                </a:cubicBezTo>
                <a:cubicBezTo>
                  <a:pt x="102268" y="93818"/>
                  <a:pt x="102268" y="93818"/>
                  <a:pt x="102268" y="93818"/>
                </a:cubicBezTo>
                <a:cubicBezTo>
                  <a:pt x="102268" y="93818"/>
                  <a:pt x="101030" y="94254"/>
                  <a:pt x="101030" y="94254"/>
                </a:cubicBezTo>
                <a:cubicBezTo>
                  <a:pt x="100618" y="94254"/>
                  <a:pt x="99793" y="93600"/>
                  <a:pt x="99793" y="93600"/>
                </a:cubicBezTo>
                <a:cubicBezTo>
                  <a:pt x="99793" y="93600"/>
                  <a:pt x="98556" y="92945"/>
                  <a:pt x="98556" y="92945"/>
                </a:cubicBezTo>
                <a:cubicBezTo>
                  <a:pt x="98144" y="92945"/>
                  <a:pt x="96907" y="92727"/>
                  <a:pt x="96907" y="92727"/>
                </a:cubicBezTo>
                <a:cubicBezTo>
                  <a:pt x="98556" y="92072"/>
                  <a:pt x="98556" y="92072"/>
                  <a:pt x="98556" y="92072"/>
                </a:cubicBezTo>
                <a:cubicBezTo>
                  <a:pt x="100618" y="91636"/>
                  <a:pt x="100618" y="91636"/>
                  <a:pt x="100618" y="91636"/>
                </a:cubicBezTo>
                <a:cubicBezTo>
                  <a:pt x="100618" y="91636"/>
                  <a:pt x="101443" y="91200"/>
                  <a:pt x="101443" y="90981"/>
                </a:cubicBezTo>
                <a:cubicBezTo>
                  <a:pt x="101855" y="90981"/>
                  <a:pt x="102680" y="90545"/>
                  <a:pt x="102680" y="90545"/>
                </a:cubicBezTo>
                <a:cubicBezTo>
                  <a:pt x="103092" y="88800"/>
                  <a:pt x="103092" y="88800"/>
                  <a:pt x="103092" y="88800"/>
                </a:cubicBezTo>
                <a:cubicBezTo>
                  <a:pt x="102268" y="87054"/>
                  <a:pt x="102268" y="87054"/>
                  <a:pt x="102268" y="87054"/>
                </a:cubicBezTo>
                <a:cubicBezTo>
                  <a:pt x="101030" y="86181"/>
                  <a:pt x="101030" y="86181"/>
                  <a:pt x="101030" y="86181"/>
                </a:cubicBezTo>
                <a:cubicBezTo>
                  <a:pt x="100206" y="85309"/>
                  <a:pt x="100206" y="85309"/>
                  <a:pt x="100206" y="85309"/>
                </a:cubicBezTo>
                <a:cubicBezTo>
                  <a:pt x="99381" y="85309"/>
                  <a:pt x="99381" y="85309"/>
                  <a:pt x="99381" y="85309"/>
                </a:cubicBezTo>
                <a:cubicBezTo>
                  <a:pt x="97731" y="84654"/>
                  <a:pt x="97731" y="84654"/>
                  <a:pt x="97731" y="84654"/>
                </a:cubicBezTo>
                <a:cubicBezTo>
                  <a:pt x="96494" y="83781"/>
                  <a:pt x="96494" y="83781"/>
                  <a:pt x="96494" y="83781"/>
                </a:cubicBezTo>
                <a:cubicBezTo>
                  <a:pt x="96082" y="83127"/>
                  <a:pt x="96082" y="83127"/>
                  <a:pt x="96082" y="83127"/>
                </a:cubicBezTo>
                <a:cubicBezTo>
                  <a:pt x="96494" y="82690"/>
                  <a:pt x="96494" y="82690"/>
                  <a:pt x="96494" y="82690"/>
                </a:cubicBezTo>
                <a:cubicBezTo>
                  <a:pt x="96907" y="82909"/>
                  <a:pt x="96907" y="82909"/>
                  <a:pt x="96907" y="82909"/>
                </a:cubicBezTo>
                <a:cubicBezTo>
                  <a:pt x="96907" y="82909"/>
                  <a:pt x="96907" y="83345"/>
                  <a:pt x="97319" y="83345"/>
                </a:cubicBezTo>
                <a:cubicBezTo>
                  <a:pt x="97319" y="83563"/>
                  <a:pt x="97731" y="83781"/>
                  <a:pt x="97731" y="83781"/>
                </a:cubicBezTo>
                <a:cubicBezTo>
                  <a:pt x="98144" y="84000"/>
                  <a:pt x="99793" y="84436"/>
                  <a:pt x="99793" y="84436"/>
                </a:cubicBezTo>
                <a:cubicBezTo>
                  <a:pt x="100618" y="84436"/>
                  <a:pt x="100618" y="84436"/>
                  <a:pt x="100618" y="84436"/>
                </a:cubicBezTo>
                <a:cubicBezTo>
                  <a:pt x="101443" y="85090"/>
                  <a:pt x="101443" y="85090"/>
                  <a:pt x="101443" y="85090"/>
                </a:cubicBezTo>
                <a:cubicBezTo>
                  <a:pt x="101443" y="85090"/>
                  <a:pt x="101855" y="84436"/>
                  <a:pt x="101855" y="84436"/>
                </a:cubicBezTo>
                <a:cubicBezTo>
                  <a:pt x="101855" y="84218"/>
                  <a:pt x="100618" y="83345"/>
                  <a:pt x="100618" y="83345"/>
                </a:cubicBezTo>
                <a:cubicBezTo>
                  <a:pt x="100206" y="83345"/>
                  <a:pt x="99793" y="82472"/>
                  <a:pt x="99793" y="82472"/>
                </a:cubicBezTo>
                <a:cubicBezTo>
                  <a:pt x="99381" y="82254"/>
                  <a:pt x="98556" y="80945"/>
                  <a:pt x="98556" y="80945"/>
                </a:cubicBezTo>
                <a:cubicBezTo>
                  <a:pt x="98556" y="80945"/>
                  <a:pt x="98144" y="80509"/>
                  <a:pt x="98144" y="80290"/>
                </a:cubicBezTo>
                <a:cubicBezTo>
                  <a:pt x="98144" y="80290"/>
                  <a:pt x="98144" y="79200"/>
                  <a:pt x="98144" y="79200"/>
                </a:cubicBezTo>
                <a:cubicBezTo>
                  <a:pt x="98969" y="78981"/>
                  <a:pt x="98969" y="78981"/>
                  <a:pt x="98969" y="78981"/>
                </a:cubicBezTo>
                <a:cubicBezTo>
                  <a:pt x="99793" y="78545"/>
                  <a:pt x="99793" y="78545"/>
                  <a:pt x="99793" y="78545"/>
                </a:cubicBezTo>
                <a:cubicBezTo>
                  <a:pt x="99793" y="78545"/>
                  <a:pt x="99381" y="78545"/>
                  <a:pt x="99381" y="78327"/>
                </a:cubicBezTo>
                <a:cubicBezTo>
                  <a:pt x="98969" y="77890"/>
                  <a:pt x="98144" y="77454"/>
                  <a:pt x="98144" y="77454"/>
                </a:cubicBezTo>
                <a:cubicBezTo>
                  <a:pt x="98144" y="77454"/>
                  <a:pt x="97319" y="77236"/>
                  <a:pt x="96907" y="77018"/>
                </a:cubicBezTo>
                <a:cubicBezTo>
                  <a:pt x="96907" y="76581"/>
                  <a:pt x="96494" y="76145"/>
                  <a:pt x="96494" y="76145"/>
                </a:cubicBezTo>
                <a:cubicBezTo>
                  <a:pt x="96494" y="75927"/>
                  <a:pt x="96082" y="74618"/>
                  <a:pt x="96082" y="74618"/>
                </a:cubicBezTo>
                <a:cubicBezTo>
                  <a:pt x="94020" y="73527"/>
                  <a:pt x="94020" y="73527"/>
                  <a:pt x="94020" y="73527"/>
                </a:cubicBezTo>
                <a:cubicBezTo>
                  <a:pt x="94020" y="73527"/>
                  <a:pt x="93195" y="73090"/>
                  <a:pt x="92783" y="72872"/>
                </a:cubicBezTo>
                <a:cubicBezTo>
                  <a:pt x="92783" y="72872"/>
                  <a:pt x="91546" y="72654"/>
                  <a:pt x="91546" y="72654"/>
                </a:cubicBezTo>
                <a:cubicBezTo>
                  <a:pt x="91134" y="72654"/>
                  <a:pt x="89072" y="72000"/>
                  <a:pt x="89072" y="72000"/>
                </a:cubicBezTo>
                <a:cubicBezTo>
                  <a:pt x="89072" y="72000"/>
                  <a:pt x="87422" y="70909"/>
                  <a:pt x="87422" y="70690"/>
                </a:cubicBezTo>
                <a:cubicBezTo>
                  <a:pt x="87422" y="70472"/>
                  <a:pt x="86597" y="69163"/>
                  <a:pt x="86597" y="69163"/>
                </a:cubicBezTo>
                <a:cubicBezTo>
                  <a:pt x="86597" y="68290"/>
                  <a:pt x="86597" y="68290"/>
                  <a:pt x="86597" y="68290"/>
                </a:cubicBezTo>
                <a:cubicBezTo>
                  <a:pt x="85773" y="66545"/>
                  <a:pt x="85773" y="66545"/>
                  <a:pt x="85773" y="66545"/>
                </a:cubicBezTo>
                <a:cubicBezTo>
                  <a:pt x="85360" y="64800"/>
                  <a:pt x="85360" y="64800"/>
                  <a:pt x="85360" y="64800"/>
                </a:cubicBezTo>
                <a:cubicBezTo>
                  <a:pt x="85360" y="63054"/>
                  <a:pt x="85360" y="63054"/>
                  <a:pt x="85360" y="63054"/>
                </a:cubicBezTo>
                <a:cubicBezTo>
                  <a:pt x="85360" y="61527"/>
                  <a:pt x="85360" y="61527"/>
                  <a:pt x="85360" y="61527"/>
                </a:cubicBezTo>
                <a:cubicBezTo>
                  <a:pt x="85360" y="60218"/>
                  <a:pt x="85360" y="60218"/>
                  <a:pt x="85360" y="60218"/>
                </a:cubicBezTo>
                <a:cubicBezTo>
                  <a:pt x="83298" y="58909"/>
                  <a:pt x="83298" y="58909"/>
                  <a:pt x="83298" y="58909"/>
                </a:cubicBezTo>
                <a:cubicBezTo>
                  <a:pt x="82474" y="57600"/>
                  <a:pt x="82474" y="57600"/>
                  <a:pt x="82474" y="57600"/>
                </a:cubicBezTo>
                <a:cubicBezTo>
                  <a:pt x="80000" y="56290"/>
                  <a:pt x="80000" y="56290"/>
                  <a:pt x="80000" y="56290"/>
                </a:cubicBezTo>
                <a:cubicBezTo>
                  <a:pt x="78350" y="55200"/>
                  <a:pt x="78350" y="55200"/>
                  <a:pt x="78350" y="55200"/>
                </a:cubicBezTo>
                <a:cubicBezTo>
                  <a:pt x="77113" y="54981"/>
                  <a:pt x="77113" y="54981"/>
                  <a:pt x="77113" y="54981"/>
                </a:cubicBezTo>
                <a:cubicBezTo>
                  <a:pt x="75051" y="53672"/>
                  <a:pt x="75051" y="53672"/>
                  <a:pt x="75051" y="53672"/>
                </a:cubicBezTo>
                <a:cubicBezTo>
                  <a:pt x="73402" y="53454"/>
                  <a:pt x="73402" y="53454"/>
                  <a:pt x="73402" y="53454"/>
                </a:cubicBezTo>
                <a:cubicBezTo>
                  <a:pt x="71752" y="53890"/>
                  <a:pt x="71752" y="53890"/>
                  <a:pt x="71752" y="53890"/>
                </a:cubicBezTo>
                <a:cubicBezTo>
                  <a:pt x="70103" y="54109"/>
                  <a:pt x="70103" y="54109"/>
                  <a:pt x="70103" y="54109"/>
                </a:cubicBezTo>
                <a:cubicBezTo>
                  <a:pt x="68453" y="54327"/>
                  <a:pt x="68453" y="54327"/>
                  <a:pt x="68453" y="54327"/>
                </a:cubicBezTo>
                <a:cubicBezTo>
                  <a:pt x="65567" y="53672"/>
                  <a:pt x="65567" y="53672"/>
                  <a:pt x="65567" y="53672"/>
                </a:cubicBezTo>
                <a:cubicBezTo>
                  <a:pt x="64329" y="53018"/>
                  <a:pt x="64329" y="53018"/>
                  <a:pt x="64329" y="53018"/>
                </a:cubicBezTo>
                <a:cubicBezTo>
                  <a:pt x="62680" y="52800"/>
                  <a:pt x="62680" y="52800"/>
                  <a:pt x="62680" y="52800"/>
                </a:cubicBezTo>
                <a:cubicBezTo>
                  <a:pt x="61855" y="52800"/>
                  <a:pt x="61855" y="52800"/>
                  <a:pt x="61855" y="52800"/>
                </a:cubicBezTo>
                <a:cubicBezTo>
                  <a:pt x="61855" y="52800"/>
                  <a:pt x="61855" y="52581"/>
                  <a:pt x="61855" y="52581"/>
                </a:cubicBezTo>
                <a:cubicBezTo>
                  <a:pt x="61855" y="52581"/>
                  <a:pt x="62680" y="52581"/>
                  <a:pt x="62680" y="52581"/>
                </a:cubicBezTo>
                <a:cubicBezTo>
                  <a:pt x="62680" y="52581"/>
                  <a:pt x="63505" y="52800"/>
                  <a:pt x="63917" y="52800"/>
                </a:cubicBezTo>
                <a:cubicBezTo>
                  <a:pt x="63917" y="52800"/>
                  <a:pt x="65154" y="53018"/>
                  <a:pt x="65154" y="53018"/>
                </a:cubicBezTo>
                <a:cubicBezTo>
                  <a:pt x="65154" y="53018"/>
                  <a:pt x="65567" y="53236"/>
                  <a:pt x="65979" y="53236"/>
                </a:cubicBezTo>
                <a:cubicBezTo>
                  <a:pt x="66391" y="53236"/>
                  <a:pt x="67628" y="53236"/>
                  <a:pt x="67628" y="53236"/>
                </a:cubicBezTo>
                <a:cubicBezTo>
                  <a:pt x="68865" y="52800"/>
                  <a:pt x="68865" y="52800"/>
                  <a:pt x="68865" y="52800"/>
                </a:cubicBezTo>
                <a:cubicBezTo>
                  <a:pt x="69278" y="52145"/>
                  <a:pt x="69278" y="52145"/>
                  <a:pt x="69278" y="52145"/>
                </a:cubicBezTo>
                <a:cubicBezTo>
                  <a:pt x="70515" y="51927"/>
                  <a:pt x="70515" y="51927"/>
                  <a:pt x="70515" y="51927"/>
                </a:cubicBezTo>
                <a:cubicBezTo>
                  <a:pt x="71340" y="51709"/>
                  <a:pt x="71340" y="51709"/>
                  <a:pt x="71340" y="51709"/>
                </a:cubicBezTo>
                <a:cubicBezTo>
                  <a:pt x="72164" y="51709"/>
                  <a:pt x="72164" y="51709"/>
                  <a:pt x="72164" y="51709"/>
                </a:cubicBezTo>
                <a:cubicBezTo>
                  <a:pt x="72164" y="51709"/>
                  <a:pt x="72577" y="52145"/>
                  <a:pt x="73402" y="51927"/>
                </a:cubicBezTo>
                <a:cubicBezTo>
                  <a:pt x="74226" y="51927"/>
                  <a:pt x="74639" y="51709"/>
                  <a:pt x="74639" y="51709"/>
                </a:cubicBezTo>
                <a:cubicBezTo>
                  <a:pt x="74639" y="51709"/>
                  <a:pt x="76288" y="51272"/>
                  <a:pt x="75876" y="51272"/>
                </a:cubicBezTo>
                <a:cubicBezTo>
                  <a:pt x="75876" y="51054"/>
                  <a:pt x="75876" y="50836"/>
                  <a:pt x="75463" y="50836"/>
                </a:cubicBezTo>
                <a:cubicBezTo>
                  <a:pt x="75463" y="50618"/>
                  <a:pt x="74639" y="50181"/>
                  <a:pt x="74639" y="50181"/>
                </a:cubicBezTo>
                <a:cubicBezTo>
                  <a:pt x="74639" y="50181"/>
                  <a:pt x="74226" y="50181"/>
                  <a:pt x="74226" y="49963"/>
                </a:cubicBezTo>
                <a:cubicBezTo>
                  <a:pt x="74226" y="49745"/>
                  <a:pt x="74226" y="49309"/>
                  <a:pt x="74226" y="49309"/>
                </a:cubicBezTo>
                <a:cubicBezTo>
                  <a:pt x="73402" y="48872"/>
                  <a:pt x="73402" y="48872"/>
                  <a:pt x="73402" y="48872"/>
                </a:cubicBezTo>
                <a:cubicBezTo>
                  <a:pt x="73402" y="48872"/>
                  <a:pt x="72989" y="48872"/>
                  <a:pt x="72577" y="48872"/>
                </a:cubicBezTo>
                <a:cubicBezTo>
                  <a:pt x="72164" y="48872"/>
                  <a:pt x="71752" y="49090"/>
                  <a:pt x="71752" y="49090"/>
                </a:cubicBezTo>
                <a:cubicBezTo>
                  <a:pt x="70103" y="49309"/>
                  <a:pt x="70103" y="49309"/>
                  <a:pt x="70103" y="49309"/>
                </a:cubicBezTo>
                <a:cubicBezTo>
                  <a:pt x="68041" y="49527"/>
                  <a:pt x="68041" y="49527"/>
                  <a:pt x="68041" y="49527"/>
                </a:cubicBezTo>
                <a:cubicBezTo>
                  <a:pt x="68041" y="49309"/>
                  <a:pt x="68041" y="49309"/>
                  <a:pt x="68041" y="49309"/>
                </a:cubicBezTo>
                <a:cubicBezTo>
                  <a:pt x="70103" y="49090"/>
                  <a:pt x="70103" y="49090"/>
                  <a:pt x="70103" y="49090"/>
                </a:cubicBezTo>
                <a:cubicBezTo>
                  <a:pt x="71340" y="48654"/>
                  <a:pt x="71340" y="48654"/>
                  <a:pt x="71340" y="48654"/>
                </a:cubicBezTo>
                <a:cubicBezTo>
                  <a:pt x="71340" y="48654"/>
                  <a:pt x="71340" y="48436"/>
                  <a:pt x="71752" y="48436"/>
                </a:cubicBezTo>
                <a:cubicBezTo>
                  <a:pt x="72164" y="48436"/>
                  <a:pt x="73402" y="48654"/>
                  <a:pt x="73402" y="48654"/>
                </a:cubicBezTo>
                <a:cubicBezTo>
                  <a:pt x="73814" y="48654"/>
                  <a:pt x="75463" y="48654"/>
                  <a:pt x="75463" y="48654"/>
                </a:cubicBezTo>
                <a:cubicBezTo>
                  <a:pt x="75463" y="48654"/>
                  <a:pt x="76701" y="48218"/>
                  <a:pt x="76701" y="48000"/>
                </a:cubicBezTo>
                <a:cubicBezTo>
                  <a:pt x="77113" y="48000"/>
                  <a:pt x="78762" y="47563"/>
                  <a:pt x="78762" y="47563"/>
                </a:cubicBezTo>
                <a:cubicBezTo>
                  <a:pt x="78762" y="46909"/>
                  <a:pt x="78762" y="46909"/>
                  <a:pt x="78762" y="46909"/>
                </a:cubicBezTo>
                <a:cubicBezTo>
                  <a:pt x="78762" y="46909"/>
                  <a:pt x="79175" y="46254"/>
                  <a:pt x="79587" y="46254"/>
                </a:cubicBezTo>
                <a:cubicBezTo>
                  <a:pt x="79587" y="46254"/>
                  <a:pt x="81237" y="45600"/>
                  <a:pt x="81237" y="45600"/>
                </a:cubicBezTo>
                <a:cubicBezTo>
                  <a:pt x="82886" y="44727"/>
                  <a:pt x="82886" y="44727"/>
                  <a:pt x="82886" y="44727"/>
                </a:cubicBezTo>
                <a:cubicBezTo>
                  <a:pt x="83711" y="43636"/>
                  <a:pt x="83711" y="43636"/>
                  <a:pt x="83711" y="43636"/>
                </a:cubicBezTo>
                <a:cubicBezTo>
                  <a:pt x="84536" y="42763"/>
                  <a:pt x="84536" y="42763"/>
                  <a:pt x="84536" y="42763"/>
                </a:cubicBezTo>
                <a:cubicBezTo>
                  <a:pt x="84536" y="42763"/>
                  <a:pt x="86185" y="42109"/>
                  <a:pt x="85773" y="41890"/>
                </a:cubicBezTo>
                <a:cubicBezTo>
                  <a:pt x="85773" y="41454"/>
                  <a:pt x="85773" y="40800"/>
                  <a:pt x="85773" y="40800"/>
                </a:cubicBezTo>
                <a:cubicBezTo>
                  <a:pt x="85773" y="40800"/>
                  <a:pt x="87010" y="40363"/>
                  <a:pt x="87422" y="40145"/>
                </a:cubicBezTo>
                <a:cubicBezTo>
                  <a:pt x="87422" y="39927"/>
                  <a:pt x="90309" y="38836"/>
                  <a:pt x="90309" y="38836"/>
                </a:cubicBezTo>
                <a:cubicBezTo>
                  <a:pt x="90721" y="37745"/>
                  <a:pt x="90721" y="37745"/>
                  <a:pt x="90721" y="37745"/>
                </a:cubicBezTo>
                <a:cubicBezTo>
                  <a:pt x="90309" y="37309"/>
                  <a:pt x="90309" y="37309"/>
                  <a:pt x="90309" y="37309"/>
                </a:cubicBezTo>
                <a:cubicBezTo>
                  <a:pt x="89896" y="36654"/>
                  <a:pt x="89896" y="36654"/>
                  <a:pt x="89896" y="36654"/>
                </a:cubicBezTo>
                <a:cubicBezTo>
                  <a:pt x="89072" y="36000"/>
                  <a:pt x="89072" y="36000"/>
                  <a:pt x="89072" y="36000"/>
                </a:cubicBezTo>
                <a:cubicBezTo>
                  <a:pt x="88247" y="35345"/>
                  <a:pt x="88247" y="35345"/>
                  <a:pt x="88247" y="35345"/>
                </a:cubicBezTo>
                <a:cubicBezTo>
                  <a:pt x="86597" y="35345"/>
                  <a:pt x="86597" y="35345"/>
                  <a:pt x="86597" y="35345"/>
                </a:cubicBezTo>
                <a:cubicBezTo>
                  <a:pt x="86597" y="35345"/>
                  <a:pt x="86185" y="35781"/>
                  <a:pt x="86185" y="35563"/>
                </a:cubicBezTo>
                <a:cubicBezTo>
                  <a:pt x="85773" y="35563"/>
                  <a:pt x="84948" y="35127"/>
                  <a:pt x="84948" y="35127"/>
                </a:cubicBezTo>
                <a:cubicBezTo>
                  <a:pt x="83298" y="35345"/>
                  <a:pt x="83298" y="35345"/>
                  <a:pt x="83298" y="35345"/>
                </a:cubicBezTo>
                <a:cubicBezTo>
                  <a:pt x="81237" y="35127"/>
                  <a:pt x="81237" y="35127"/>
                  <a:pt x="81237" y="35127"/>
                </a:cubicBezTo>
                <a:cubicBezTo>
                  <a:pt x="80824" y="34690"/>
                  <a:pt x="80824" y="34690"/>
                  <a:pt x="80824" y="34690"/>
                </a:cubicBezTo>
                <a:cubicBezTo>
                  <a:pt x="79175" y="34690"/>
                  <a:pt x="79175" y="34690"/>
                  <a:pt x="79175" y="34690"/>
                </a:cubicBezTo>
                <a:cubicBezTo>
                  <a:pt x="78350" y="34472"/>
                  <a:pt x="78350" y="34472"/>
                  <a:pt x="78350" y="34472"/>
                </a:cubicBezTo>
                <a:cubicBezTo>
                  <a:pt x="76701" y="34690"/>
                  <a:pt x="76701" y="34690"/>
                  <a:pt x="76701" y="34690"/>
                </a:cubicBezTo>
                <a:cubicBezTo>
                  <a:pt x="75463" y="34690"/>
                  <a:pt x="75463" y="34690"/>
                  <a:pt x="75463" y="34690"/>
                </a:cubicBezTo>
                <a:cubicBezTo>
                  <a:pt x="74639" y="34472"/>
                  <a:pt x="74639" y="34472"/>
                  <a:pt x="74639" y="34472"/>
                </a:cubicBezTo>
                <a:cubicBezTo>
                  <a:pt x="73402" y="33818"/>
                  <a:pt x="73402" y="33818"/>
                  <a:pt x="73402" y="33818"/>
                </a:cubicBezTo>
                <a:cubicBezTo>
                  <a:pt x="70927" y="33818"/>
                  <a:pt x="70927" y="33818"/>
                  <a:pt x="70927" y="33818"/>
                </a:cubicBezTo>
                <a:cubicBezTo>
                  <a:pt x="70515" y="34254"/>
                  <a:pt x="70515" y="34254"/>
                  <a:pt x="70515" y="34254"/>
                </a:cubicBezTo>
                <a:cubicBezTo>
                  <a:pt x="68865" y="34254"/>
                  <a:pt x="68865" y="34254"/>
                  <a:pt x="68865" y="34254"/>
                </a:cubicBezTo>
                <a:cubicBezTo>
                  <a:pt x="68865" y="34254"/>
                  <a:pt x="68453" y="34254"/>
                  <a:pt x="68041" y="34254"/>
                </a:cubicBezTo>
                <a:cubicBezTo>
                  <a:pt x="68041" y="34254"/>
                  <a:pt x="67216" y="34472"/>
                  <a:pt x="67216" y="34472"/>
                </a:cubicBezTo>
                <a:cubicBezTo>
                  <a:pt x="66391" y="34690"/>
                  <a:pt x="66391" y="34690"/>
                  <a:pt x="66391" y="34690"/>
                </a:cubicBezTo>
                <a:cubicBezTo>
                  <a:pt x="65567" y="34690"/>
                  <a:pt x="65567" y="34690"/>
                  <a:pt x="65567" y="34690"/>
                </a:cubicBezTo>
                <a:cubicBezTo>
                  <a:pt x="63917" y="34472"/>
                  <a:pt x="63917" y="34472"/>
                  <a:pt x="63917" y="34472"/>
                </a:cubicBezTo>
                <a:cubicBezTo>
                  <a:pt x="63092" y="35127"/>
                  <a:pt x="63092" y="35127"/>
                  <a:pt x="63092" y="35127"/>
                </a:cubicBezTo>
                <a:cubicBezTo>
                  <a:pt x="61855" y="35345"/>
                  <a:pt x="61855" y="35345"/>
                  <a:pt x="61855" y="35345"/>
                </a:cubicBezTo>
                <a:cubicBezTo>
                  <a:pt x="60618" y="36000"/>
                  <a:pt x="60618" y="36000"/>
                  <a:pt x="60618" y="36000"/>
                </a:cubicBezTo>
                <a:cubicBezTo>
                  <a:pt x="61030" y="35345"/>
                  <a:pt x="61030" y="35345"/>
                  <a:pt x="61030" y="35345"/>
                </a:cubicBezTo>
                <a:cubicBezTo>
                  <a:pt x="61855" y="34909"/>
                  <a:pt x="61855" y="34909"/>
                  <a:pt x="61855" y="34909"/>
                </a:cubicBezTo>
                <a:cubicBezTo>
                  <a:pt x="63092" y="34690"/>
                  <a:pt x="63092" y="34690"/>
                  <a:pt x="63092" y="34690"/>
                </a:cubicBezTo>
                <a:cubicBezTo>
                  <a:pt x="63917" y="34036"/>
                  <a:pt x="63917" y="34036"/>
                  <a:pt x="63917" y="34036"/>
                </a:cubicBezTo>
                <a:cubicBezTo>
                  <a:pt x="63917" y="34036"/>
                  <a:pt x="64742" y="33818"/>
                  <a:pt x="64742" y="33600"/>
                </a:cubicBezTo>
                <a:cubicBezTo>
                  <a:pt x="65154" y="33600"/>
                  <a:pt x="65979" y="33163"/>
                  <a:pt x="65979" y="33163"/>
                </a:cubicBezTo>
                <a:cubicBezTo>
                  <a:pt x="64742" y="32945"/>
                  <a:pt x="64742" y="32945"/>
                  <a:pt x="64742" y="32945"/>
                </a:cubicBezTo>
                <a:cubicBezTo>
                  <a:pt x="63505" y="33381"/>
                  <a:pt x="63505" y="33381"/>
                  <a:pt x="63505" y="33381"/>
                </a:cubicBezTo>
                <a:cubicBezTo>
                  <a:pt x="63505" y="33381"/>
                  <a:pt x="63092" y="33381"/>
                  <a:pt x="62680" y="33381"/>
                </a:cubicBezTo>
                <a:cubicBezTo>
                  <a:pt x="62680" y="33381"/>
                  <a:pt x="61443" y="33600"/>
                  <a:pt x="61443" y="33600"/>
                </a:cubicBezTo>
                <a:cubicBezTo>
                  <a:pt x="58969" y="34036"/>
                  <a:pt x="58969" y="34036"/>
                  <a:pt x="58969" y="34036"/>
                </a:cubicBezTo>
                <a:cubicBezTo>
                  <a:pt x="61443" y="33381"/>
                  <a:pt x="61443" y="33381"/>
                  <a:pt x="61443" y="33381"/>
                </a:cubicBezTo>
                <a:cubicBezTo>
                  <a:pt x="61443" y="33381"/>
                  <a:pt x="62268" y="33163"/>
                  <a:pt x="62680" y="32945"/>
                </a:cubicBezTo>
                <a:cubicBezTo>
                  <a:pt x="63092" y="32945"/>
                  <a:pt x="63917" y="32727"/>
                  <a:pt x="63917" y="32727"/>
                </a:cubicBezTo>
                <a:cubicBezTo>
                  <a:pt x="64329" y="32727"/>
                  <a:pt x="65154" y="32509"/>
                  <a:pt x="65154" y="32509"/>
                </a:cubicBezTo>
                <a:cubicBezTo>
                  <a:pt x="65567" y="32727"/>
                  <a:pt x="66391" y="32945"/>
                  <a:pt x="66804" y="32727"/>
                </a:cubicBezTo>
                <a:cubicBezTo>
                  <a:pt x="66804" y="32727"/>
                  <a:pt x="67216" y="32290"/>
                  <a:pt x="67628" y="32290"/>
                </a:cubicBezTo>
                <a:cubicBezTo>
                  <a:pt x="67628" y="32072"/>
                  <a:pt x="68453" y="31636"/>
                  <a:pt x="68453" y="31636"/>
                </a:cubicBezTo>
                <a:cubicBezTo>
                  <a:pt x="65979" y="31636"/>
                  <a:pt x="65979" y="31636"/>
                  <a:pt x="65979" y="31636"/>
                </a:cubicBezTo>
                <a:cubicBezTo>
                  <a:pt x="65979" y="31636"/>
                  <a:pt x="65567" y="31854"/>
                  <a:pt x="65154" y="31854"/>
                </a:cubicBezTo>
                <a:cubicBezTo>
                  <a:pt x="64742" y="31636"/>
                  <a:pt x="63917" y="31636"/>
                  <a:pt x="63505" y="31418"/>
                </a:cubicBezTo>
                <a:cubicBezTo>
                  <a:pt x="63505" y="31418"/>
                  <a:pt x="63092" y="31200"/>
                  <a:pt x="63092" y="31200"/>
                </a:cubicBezTo>
                <a:cubicBezTo>
                  <a:pt x="62680" y="31200"/>
                  <a:pt x="61855" y="30763"/>
                  <a:pt x="61855" y="30763"/>
                </a:cubicBezTo>
                <a:cubicBezTo>
                  <a:pt x="62268" y="30545"/>
                  <a:pt x="62268" y="30545"/>
                  <a:pt x="62268" y="30545"/>
                </a:cubicBezTo>
                <a:cubicBezTo>
                  <a:pt x="63092" y="30981"/>
                  <a:pt x="63092" y="30981"/>
                  <a:pt x="63092" y="30981"/>
                </a:cubicBezTo>
                <a:cubicBezTo>
                  <a:pt x="63092" y="30981"/>
                  <a:pt x="63505" y="31200"/>
                  <a:pt x="63917" y="31200"/>
                </a:cubicBezTo>
                <a:cubicBezTo>
                  <a:pt x="64329" y="31200"/>
                  <a:pt x="64742" y="30981"/>
                  <a:pt x="65567" y="30981"/>
                </a:cubicBezTo>
                <a:cubicBezTo>
                  <a:pt x="65979" y="31200"/>
                  <a:pt x="66804" y="30545"/>
                  <a:pt x="66804" y="30545"/>
                </a:cubicBezTo>
                <a:cubicBezTo>
                  <a:pt x="66804" y="30545"/>
                  <a:pt x="65979" y="30545"/>
                  <a:pt x="67216" y="30327"/>
                </a:cubicBezTo>
                <a:cubicBezTo>
                  <a:pt x="68041" y="29890"/>
                  <a:pt x="67628" y="30109"/>
                  <a:pt x="68453" y="29672"/>
                </a:cubicBezTo>
                <a:cubicBezTo>
                  <a:pt x="69278" y="29454"/>
                  <a:pt x="71340" y="28800"/>
                  <a:pt x="71340" y="28800"/>
                </a:cubicBezTo>
                <a:cubicBezTo>
                  <a:pt x="73814" y="28363"/>
                  <a:pt x="73814" y="28363"/>
                  <a:pt x="73814" y="28363"/>
                </a:cubicBezTo>
                <a:cubicBezTo>
                  <a:pt x="75463" y="27272"/>
                  <a:pt x="75463" y="27272"/>
                  <a:pt x="75463" y="27272"/>
                </a:cubicBezTo>
                <a:cubicBezTo>
                  <a:pt x="76701" y="27272"/>
                  <a:pt x="76701" y="27272"/>
                  <a:pt x="76701" y="27272"/>
                </a:cubicBezTo>
                <a:cubicBezTo>
                  <a:pt x="78350" y="26400"/>
                  <a:pt x="78350" y="26400"/>
                  <a:pt x="78350" y="26400"/>
                </a:cubicBezTo>
                <a:cubicBezTo>
                  <a:pt x="79175" y="25963"/>
                  <a:pt x="79175" y="25963"/>
                  <a:pt x="79175" y="25963"/>
                </a:cubicBezTo>
                <a:cubicBezTo>
                  <a:pt x="78762" y="24872"/>
                  <a:pt x="78762" y="24872"/>
                  <a:pt x="78762" y="24872"/>
                </a:cubicBezTo>
                <a:cubicBezTo>
                  <a:pt x="79587" y="24000"/>
                  <a:pt x="79587" y="24000"/>
                  <a:pt x="79587" y="24000"/>
                </a:cubicBezTo>
                <a:cubicBezTo>
                  <a:pt x="79587" y="23345"/>
                  <a:pt x="79587" y="23345"/>
                  <a:pt x="79587" y="23345"/>
                </a:cubicBezTo>
                <a:cubicBezTo>
                  <a:pt x="78350" y="23127"/>
                  <a:pt x="78350" y="23127"/>
                  <a:pt x="78350" y="23127"/>
                </a:cubicBezTo>
                <a:cubicBezTo>
                  <a:pt x="75876" y="23127"/>
                  <a:pt x="75876" y="23127"/>
                  <a:pt x="75876" y="23127"/>
                </a:cubicBezTo>
                <a:cubicBezTo>
                  <a:pt x="75876" y="23127"/>
                  <a:pt x="75463" y="23781"/>
                  <a:pt x="75051" y="23563"/>
                </a:cubicBezTo>
                <a:cubicBezTo>
                  <a:pt x="75051" y="23563"/>
                  <a:pt x="73402" y="22909"/>
                  <a:pt x="72989" y="22909"/>
                </a:cubicBezTo>
                <a:cubicBezTo>
                  <a:pt x="72989" y="22909"/>
                  <a:pt x="71340" y="23563"/>
                  <a:pt x="71340" y="23563"/>
                </a:cubicBezTo>
                <a:cubicBezTo>
                  <a:pt x="70515" y="23563"/>
                  <a:pt x="70515" y="23563"/>
                  <a:pt x="70515" y="23563"/>
                </a:cubicBezTo>
                <a:cubicBezTo>
                  <a:pt x="70515" y="23563"/>
                  <a:pt x="70103" y="23563"/>
                  <a:pt x="69278" y="23563"/>
                </a:cubicBezTo>
                <a:cubicBezTo>
                  <a:pt x="68453" y="23345"/>
                  <a:pt x="66804" y="23127"/>
                  <a:pt x="66804" y="23127"/>
                </a:cubicBezTo>
                <a:cubicBezTo>
                  <a:pt x="65567" y="23563"/>
                  <a:pt x="65567" y="23563"/>
                  <a:pt x="65567" y="23563"/>
                </a:cubicBezTo>
                <a:cubicBezTo>
                  <a:pt x="64742" y="23345"/>
                  <a:pt x="64742" y="23345"/>
                  <a:pt x="64742" y="23345"/>
                </a:cubicBezTo>
                <a:cubicBezTo>
                  <a:pt x="63092" y="24000"/>
                  <a:pt x="63092" y="24000"/>
                  <a:pt x="63092" y="24000"/>
                </a:cubicBezTo>
                <a:cubicBezTo>
                  <a:pt x="63092" y="23563"/>
                  <a:pt x="63092" y="23563"/>
                  <a:pt x="63092" y="23563"/>
                </a:cubicBezTo>
                <a:cubicBezTo>
                  <a:pt x="63917" y="22909"/>
                  <a:pt x="63917" y="22909"/>
                  <a:pt x="63917" y="22909"/>
                </a:cubicBezTo>
                <a:cubicBezTo>
                  <a:pt x="63917" y="22909"/>
                  <a:pt x="63505" y="22690"/>
                  <a:pt x="63092" y="22690"/>
                </a:cubicBezTo>
                <a:cubicBezTo>
                  <a:pt x="63092" y="22690"/>
                  <a:pt x="62268" y="22472"/>
                  <a:pt x="62268" y="22472"/>
                </a:cubicBezTo>
                <a:cubicBezTo>
                  <a:pt x="61443" y="23127"/>
                  <a:pt x="61443" y="23127"/>
                  <a:pt x="61443" y="23127"/>
                </a:cubicBezTo>
                <a:cubicBezTo>
                  <a:pt x="59793" y="23563"/>
                  <a:pt x="59793" y="23563"/>
                  <a:pt x="59793" y="23563"/>
                </a:cubicBezTo>
                <a:cubicBezTo>
                  <a:pt x="60206" y="23345"/>
                  <a:pt x="60206" y="23345"/>
                  <a:pt x="60206" y="23345"/>
                </a:cubicBezTo>
                <a:cubicBezTo>
                  <a:pt x="61443" y="22909"/>
                  <a:pt x="61443" y="22909"/>
                  <a:pt x="61443" y="22909"/>
                </a:cubicBezTo>
                <a:cubicBezTo>
                  <a:pt x="61443" y="22472"/>
                  <a:pt x="61443" y="22472"/>
                  <a:pt x="61443" y="22472"/>
                </a:cubicBezTo>
                <a:cubicBezTo>
                  <a:pt x="61443" y="22472"/>
                  <a:pt x="61030" y="22472"/>
                  <a:pt x="61030" y="22472"/>
                </a:cubicBezTo>
                <a:cubicBezTo>
                  <a:pt x="60618" y="22472"/>
                  <a:pt x="60206" y="22254"/>
                  <a:pt x="60206" y="22254"/>
                </a:cubicBezTo>
                <a:cubicBezTo>
                  <a:pt x="59381" y="22036"/>
                  <a:pt x="59381" y="22036"/>
                  <a:pt x="59381" y="22036"/>
                </a:cubicBezTo>
                <a:cubicBezTo>
                  <a:pt x="58969" y="21600"/>
                  <a:pt x="58969" y="21600"/>
                  <a:pt x="58969" y="21600"/>
                </a:cubicBezTo>
                <a:cubicBezTo>
                  <a:pt x="57731" y="21818"/>
                  <a:pt x="57731" y="21818"/>
                  <a:pt x="57731" y="21818"/>
                </a:cubicBezTo>
                <a:cubicBezTo>
                  <a:pt x="57319" y="22254"/>
                  <a:pt x="57319" y="22254"/>
                  <a:pt x="57319" y="22254"/>
                </a:cubicBezTo>
                <a:cubicBezTo>
                  <a:pt x="56494" y="22472"/>
                  <a:pt x="56494" y="22472"/>
                  <a:pt x="56494" y="22472"/>
                </a:cubicBezTo>
                <a:cubicBezTo>
                  <a:pt x="55670" y="22472"/>
                  <a:pt x="55670" y="22472"/>
                  <a:pt x="55670" y="22472"/>
                </a:cubicBezTo>
                <a:cubicBezTo>
                  <a:pt x="56082" y="23127"/>
                  <a:pt x="56082" y="23127"/>
                  <a:pt x="56082" y="23127"/>
                </a:cubicBezTo>
                <a:cubicBezTo>
                  <a:pt x="55670" y="23781"/>
                  <a:pt x="55670" y="23781"/>
                  <a:pt x="55670" y="23781"/>
                </a:cubicBezTo>
                <a:cubicBezTo>
                  <a:pt x="54432" y="23781"/>
                  <a:pt x="54432" y="23781"/>
                  <a:pt x="54432" y="23781"/>
                </a:cubicBezTo>
                <a:cubicBezTo>
                  <a:pt x="54432" y="23781"/>
                  <a:pt x="54432" y="24654"/>
                  <a:pt x="54845" y="24654"/>
                </a:cubicBezTo>
                <a:cubicBezTo>
                  <a:pt x="54845" y="24654"/>
                  <a:pt x="55257" y="25090"/>
                  <a:pt x="55257" y="25090"/>
                </a:cubicBezTo>
                <a:cubicBezTo>
                  <a:pt x="55257" y="25527"/>
                  <a:pt x="55257" y="25527"/>
                  <a:pt x="55257" y="25527"/>
                </a:cubicBezTo>
                <a:cubicBezTo>
                  <a:pt x="55670" y="25745"/>
                  <a:pt x="55670" y="25745"/>
                  <a:pt x="55670" y="25745"/>
                </a:cubicBezTo>
                <a:cubicBezTo>
                  <a:pt x="55670" y="25745"/>
                  <a:pt x="55257" y="25745"/>
                  <a:pt x="54845" y="25745"/>
                </a:cubicBezTo>
                <a:cubicBezTo>
                  <a:pt x="54845" y="25745"/>
                  <a:pt x="54432" y="25309"/>
                  <a:pt x="54432" y="25309"/>
                </a:cubicBezTo>
                <a:cubicBezTo>
                  <a:pt x="52783" y="25309"/>
                  <a:pt x="52783" y="25309"/>
                  <a:pt x="52783" y="25309"/>
                </a:cubicBezTo>
                <a:cubicBezTo>
                  <a:pt x="52371" y="25309"/>
                  <a:pt x="52371" y="25309"/>
                  <a:pt x="52371" y="25309"/>
                </a:cubicBezTo>
                <a:cubicBezTo>
                  <a:pt x="51958" y="25963"/>
                  <a:pt x="51958" y="25963"/>
                  <a:pt x="51958" y="25963"/>
                </a:cubicBezTo>
                <a:cubicBezTo>
                  <a:pt x="52371" y="26618"/>
                  <a:pt x="52371" y="26618"/>
                  <a:pt x="52371" y="26618"/>
                </a:cubicBezTo>
                <a:cubicBezTo>
                  <a:pt x="51958" y="27054"/>
                  <a:pt x="51958" y="27054"/>
                  <a:pt x="51958" y="27054"/>
                </a:cubicBezTo>
                <a:cubicBezTo>
                  <a:pt x="51546" y="27272"/>
                  <a:pt x="51546" y="27272"/>
                  <a:pt x="51546" y="27272"/>
                </a:cubicBezTo>
                <a:cubicBezTo>
                  <a:pt x="51546" y="27272"/>
                  <a:pt x="50721" y="27709"/>
                  <a:pt x="50721" y="27709"/>
                </a:cubicBezTo>
                <a:cubicBezTo>
                  <a:pt x="50721" y="27927"/>
                  <a:pt x="51134" y="28581"/>
                  <a:pt x="51134" y="28581"/>
                </a:cubicBezTo>
                <a:cubicBezTo>
                  <a:pt x="51134" y="28581"/>
                  <a:pt x="51546" y="29018"/>
                  <a:pt x="51958" y="29018"/>
                </a:cubicBezTo>
                <a:cubicBezTo>
                  <a:pt x="51958" y="29236"/>
                  <a:pt x="52783" y="29454"/>
                  <a:pt x="52783" y="29454"/>
                </a:cubicBezTo>
                <a:cubicBezTo>
                  <a:pt x="52783" y="30109"/>
                  <a:pt x="52783" y="30109"/>
                  <a:pt x="52783" y="30109"/>
                </a:cubicBezTo>
                <a:cubicBezTo>
                  <a:pt x="51958" y="29454"/>
                  <a:pt x="51958" y="29454"/>
                  <a:pt x="51958" y="29454"/>
                </a:cubicBezTo>
                <a:cubicBezTo>
                  <a:pt x="51958" y="29454"/>
                  <a:pt x="51546" y="29236"/>
                  <a:pt x="51134" y="29018"/>
                </a:cubicBezTo>
                <a:cubicBezTo>
                  <a:pt x="51134" y="29018"/>
                  <a:pt x="50721" y="28581"/>
                  <a:pt x="50721" y="28581"/>
                </a:cubicBezTo>
                <a:cubicBezTo>
                  <a:pt x="50721" y="28581"/>
                  <a:pt x="49896" y="28800"/>
                  <a:pt x="49896" y="28800"/>
                </a:cubicBezTo>
                <a:cubicBezTo>
                  <a:pt x="49896" y="28800"/>
                  <a:pt x="49484" y="28800"/>
                  <a:pt x="49896" y="29018"/>
                </a:cubicBezTo>
                <a:cubicBezTo>
                  <a:pt x="49896" y="29236"/>
                  <a:pt x="49072" y="29454"/>
                  <a:pt x="49072" y="29454"/>
                </a:cubicBezTo>
                <a:cubicBezTo>
                  <a:pt x="49072" y="29454"/>
                  <a:pt x="47835" y="29672"/>
                  <a:pt x="47835" y="29454"/>
                </a:cubicBezTo>
                <a:cubicBezTo>
                  <a:pt x="47835" y="29236"/>
                  <a:pt x="47835" y="29018"/>
                  <a:pt x="47422" y="28800"/>
                </a:cubicBezTo>
                <a:cubicBezTo>
                  <a:pt x="47422" y="28800"/>
                  <a:pt x="47010" y="28800"/>
                  <a:pt x="47010" y="28800"/>
                </a:cubicBezTo>
                <a:cubicBezTo>
                  <a:pt x="47010" y="29018"/>
                  <a:pt x="46597" y="29236"/>
                  <a:pt x="46597" y="29236"/>
                </a:cubicBezTo>
                <a:cubicBezTo>
                  <a:pt x="47010" y="29890"/>
                  <a:pt x="47010" y="29890"/>
                  <a:pt x="47010" y="29890"/>
                </a:cubicBezTo>
                <a:cubicBezTo>
                  <a:pt x="47010" y="29890"/>
                  <a:pt x="46597" y="30327"/>
                  <a:pt x="46597" y="30327"/>
                </a:cubicBezTo>
                <a:cubicBezTo>
                  <a:pt x="46597" y="30109"/>
                  <a:pt x="46185" y="29672"/>
                  <a:pt x="46185" y="29454"/>
                </a:cubicBezTo>
                <a:cubicBezTo>
                  <a:pt x="46185" y="29454"/>
                  <a:pt x="46185" y="29018"/>
                  <a:pt x="45773" y="29018"/>
                </a:cubicBezTo>
                <a:cubicBezTo>
                  <a:pt x="45773" y="29018"/>
                  <a:pt x="44948" y="29454"/>
                  <a:pt x="44948" y="29454"/>
                </a:cubicBezTo>
                <a:cubicBezTo>
                  <a:pt x="44948" y="29454"/>
                  <a:pt x="44536" y="29454"/>
                  <a:pt x="44536" y="29672"/>
                </a:cubicBezTo>
                <a:cubicBezTo>
                  <a:pt x="44536" y="29672"/>
                  <a:pt x="44123" y="30327"/>
                  <a:pt x="44536" y="30545"/>
                </a:cubicBezTo>
                <a:cubicBezTo>
                  <a:pt x="44948" y="30763"/>
                  <a:pt x="44948" y="30763"/>
                  <a:pt x="45360" y="30763"/>
                </a:cubicBezTo>
                <a:cubicBezTo>
                  <a:pt x="45773" y="30763"/>
                  <a:pt x="45773" y="30981"/>
                  <a:pt x="45773" y="30981"/>
                </a:cubicBezTo>
                <a:cubicBezTo>
                  <a:pt x="44123" y="30981"/>
                  <a:pt x="44123" y="30981"/>
                  <a:pt x="44123" y="30981"/>
                </a:cubicBezTo>
                <a:cubicBezTo>
                  <a:pt x="44123" y="30981"/>
                  <a:pt x="43711" y="31200"/>
                  <a:pt x="44123" y="31418"/>
                </a:cubicBezTo>
                <a:cubicBezTo>
                  <a:pt x="44123" y="31418"/>
                  <a:pt x="44123" y="31854"/>
                  <a:pt x="44123" y="31854"/>
                </a:cubicBezTo>
                <a:cubicBezTo>
                  <a:pt x="44123" y="31854"/>
                  <a:pt x="44948" y="32290"/>
                  <a:pt x="44948" y="32290"/>
                </a:cubicBezTo>
                <a:cubicBezTo>
                  <a:pt x="44948" y="32290"/>
                  <a:pt x="44536" y="32727"/>
                  <a:pt x="44536" y="32727"/>
                </a:cubicBezTo>
                <a:cubicBezTo>
                  <a:pt x="44536" y="32727"/>
                  <a:pt x="43711" y="32509"/>
                  <a:pt x="43711" y="32509"/>
                </a:cubicBezTo>
                <a:cubicBezTo>
                  <a:pt x="43298" y="32290"/>
                  <a:pt x="43298" y="32509"/>
                  <a:pt x="42886" y="32509"/>
                </a:cubicBezTo>
                <a:cubicBezTo>
                  <a:pt x="42886" y="32727"/>
                  <a:pt x="42474" y="32945"/>
                  <a:pt x="42474" y="33163"/>
                </a:cubicBezTo>
                <a:cubicBezTo>
                  <a:pt x="42474" y="33163"/>
                  <a:pt x="42886" y="33381"/>
                  <a:pt x="42886" y="33600"/>
                </a:cubicBezTo>
                <a:cubicBezTo>
                  <a:pt x="42474" y="34036"/>
                  <a:pt x="42474" y="34472"/>
                  <a:pt x="42474" y="34472"/>
                </a:cubicBezTo>
                <a:cubicBezTo>
                  <a:pt x="42474" y="34472"/>
                  <a:pt x="42061" y="34472"/>
                  <a:pt x="42474" y="34690"/>
                </a:cubicBezTo>
                <a:cubicBezTo>
                  <a:pt x="42886" y="34909"/>
                  <a:pt x="43711" y="34909"/>
                  <a:pt x="44123" y="34909"/>
                </a:cubicBezTo>
                <a:cubicBezTo>
                  <a:pt x="44536" y="34909"/>
                  <a:pt x="44536" y="34909"/>
                  <a:pt x="44536" y="34909"/>
                </a:cubicBezTo>
                <a:cubicBezTo>
                  <a:pt x="44948" y="34909"/>
                  <a:pt x="45360" y="34909"/>
                  <a:pt x="45773" y="35127"/>
                </a:cubicBezTo>
                <a:cubicBezTo>
                  <a:pt x="45773" y="35127"/>
                  <a:pt x="46185" y="35127"/>
                  <a:pt x="46185" y="35127"/>
                </a:cubicBezTo>
                <a:cubicBezTo>
                  <a:pt x="46185" y="35127"/>
                  <a:pt x="45773" y="35563"/>
                  <a:pt x="45360" y="35345"/>
                </a:cubicBezTo>
                <a:cubicBezTo>
                  <a:pt x="44948" y="35127"/>
                  <a:pt x="44123" y="35127"/>
                  <a:pt x="43711" y="35127"/>
                </a:cubicBezTo>
                <a:cubicBezTo>
                  <a:pt x="43298" y="35127"/>
                  <a:pt x="43711" y="35563"/>
                  <a:pt x="43711" y="35563"/>
                </a:cubicBezTo>
                <a:cubicBezTo>
                  <a:pt x="44123" y="36000"/>
                  <a:pt x="44123" y="36000"/>
                  <a:pt x="44123" y="36000"/>
                </a:cubicBezTo>
                <a:cubicBezTo>
                  <a:pt x="44123" y="36000"/>
                  <a:pt x="44536" y="36218"/>
                  <a:pt x="44123" y="36218"/>
                </a:cubicBezTo>
                <a:cubicBezTo>
                  <a:pt x="43711" y="36218"/>
                  <a:pt x="42886" y="36000"/>
                  <a:pt x="42886" y="36000"/>
                </a:cubicBezTo>
                <a:cubicBezTo>
                  <a:pt x="42886" y="36000"/>
                  <a:pt x="42886" y="36000"/>
                  <a:pt x="42474" y="36000"/>
                </a:cubicBezTo>
                <a:cubicBezTo>
                  <a:pt x="42474" y="36000"/>
                  <a:pt x="42061" y="36218"/>
                  <a:pt x="41649" y="36218"/>
                </a:cubicBezTo>
                <a:cubicBezTo>
                  <a:pt x="41237" y="36218"/>
                  <a:pt x="41237" y="36218"/>
                  <a:pt x="40824" y="36000"/>
                </a:cubicBezTo>
                <a:cubicBezTo>
                  <a:pt x="40412" y="36000"/>
                  <a:pt x="39587" y="35563"/>
                  <a:pt x="39587" y="35563"/>
                </a:cubicBezTo>
                <a:cubicBezTo>
                  <a:pt x="39587" y="35563"/>
                  <a:pt x="39175" y="35563"/>
                  <a:pt x="39175" y="35345"/>
                </a:cubicBezTo>
                <a:cubicBezTo>
                  <a:pt x="39175" y="35127"/>
                  <a:pt x="39587" y="34690"/>
                  <a:pt x="39587" y="34690"/>
                </a:cubicBezTo>
                <a:cubicBezTo>
                  <a:pt x="40000" y="34472"/>
                  <a:pt x="39587" y="34472"/>
                  <a:pt x="40000" y="34472"/>
                </a:cubicBezTo>
                <a:cubicBezTo>
                  <a:pt x="40412" y="34472"/>
                  <a:pt x="41649" y="34472"/>
                  <a:pt x="40824" y="34036"/>
                </a:cubicBezTo>
                <a:cubicBezTo>
                  <a:pt x="40412" y="33600"/>
                  <a:pt x="40412" y="33600"/>
                  <a:pt x="40000" y="33600"/>
                </a:cubicBezTo>
                <a:cubicBezTo>
                  <a:pt x="39587" y="33818"/>
                  <a:pt x="38762" y="34036"/>
                  <a:pt x="38762" y="34036"/>
                </a:cubicBezTo>
                <a:cubicBezTo>
                  <a:pt x="38762" y="34036"/>
                  <a:pt x="38350" y="33818"/>
                  <a:pt x="38762" y="33163"/>
                </a:cubicBezTo>
                <a:cubicBezTo>
                  <a:pt x="39175" y="32509"/>
                  <a:pt x="38762" y="32509"/>
                  <a:pt x="39175" y="32290"/>
                </a:cubicBezTo>
                <a:cubicBezTo>
                  <a:pt x="39587" y="32072"/>
                  <a:pt x="40000" y="31854"/>
                  <a:pt x="40000" y="31854"/>
                </a:cubicBezTo>
                <a:cubicBezTo>
                  <a:pt x="40000" y="31854"/>
                  <a:pt x="40000" y="31636"/>
                  <a:pt x="39175" y="31200"/>
                </a:cubicBezTo>
                <a:cubicBezTo>
                  <a:pt x="38762" y="30763"/>
                  <a:pt x="38350" y="30327"/>
                  <a:pt x="38350" y="30327"/>
                </a:cubicBezTo>
                <a:cubicBezTo>
                  <a:pt x="37938" y="30109"/>
                  <a:pt x="37113" y="30545"/>
                  <a:pt x="37113" y="30545"/>
                </a:cubicBezTo>
                <a:cubicBezTo>
                  <a:pt x="37113" y="30763"/>
                  <a:pt x="36701" y="31200"/>
                  <a:pt x="37113" y="31418"/>
                </a:cubicBezTo>
                <a:cubicBezTo>
                  <a:pt x="37113" y="31636"/>
                  <a:pt x="37113" y="31854"/>
                  <a:pt x="36701" y="32072"/>
                </a:cubicBezTo>
                <a:cubicBezTo>
                  <a:pt x="36288" y="32072"/>
                  <a:pt x="36288" y="32290"/>
                  <a:pt x="35876" y="32072"/>
                </a:cubicBezTo>
                <a:cubicBezTo>
                  <a:pt x="35463" y="31854"/>
                  <a:pt x="35876" y="32072"/>
                  <a:pt x="35463" y="31636"/>
                </a:cubicBezTo>
                <a:cubicBezTo>
                  <a:pt x="35051" y="31418"/>
                  <a:pt x="35463" y="31418"/>
                  <a:pt x="35051" y="31418"/>
                </a:cubicBezTo>
                <a:cubicBezTo>
                  <a:pt x="34639" y="31200"/>
                  <a:pt x="34226" y="30981"/>
                  <a:pt x="34226" y="30981"/>
                </a:cubicBezTo>
                <a:cubicBezTo>
                  <a:pt x="34226" y="30981"/>
                  <a:pt x="32989" y="30763"/>
                  <a:pt x="32989" y="30981"/>
                </a:cubicBezTo>
                <a:cubicBezTo>
                  <a:pt x="32989" y="31200"/>
                  <a:pt x="32989" y="31200"/>
                  <a:pt x="33402" y="31418"/>
                </a:cubicBezTo>
                <a:cubicBezTo>
                  <a:pt x="33402" y="31636"/>
                  <a:pt x="33814" y="31636"/>
                  <a:pt x="33814" y="31854"/>
                </a:cubicBezTo>
                <a:cubicBezTo>
                  <a:pt x="33814" y="32072"/>
                  <a:pt x="33402" y="32072"/>
                  <a:pt x="33402" y="32072"/>
                </a:cubicBezTo>
                <a:cubicBezTo>
                  <a:pt x="33402" y="32072"/>
                  <a:pt x="32989" y="31854"/>
                  <a:pt x="32577" y="31854"/>
                </a:cubicBezTo>
                <a:cubicBezTo>
                  <a:pt x="32577" y="31854"/>
                  <a:pt x="31752" y="32290"/>
                  <a:pt x="31752" y="32290"/>
                </a:cubicBezTo>
                <a:cubicBezTo>
                  <a:pt x="31752" y="32290"/>
                  <a:pt x="31752" y="32509"/>
                  <a:pt x="31752" y="32727"/>
                </a:cubicBezTo>
                <a:cubicBezTo>
                  <a:pt x="31752" y="32727"/>
                  <a:pt x="31752" y="32945"/>
                  <a:pt x="31752" y="33163"/>
                </a:cubicBezTo>
                <a:cubicBezTo>
                  <a:pt x="32164" y="33381"/>
                  <a:pt x="32164" y="33818"/>
                  <a:pt x="32577" y="33818"/>
                </a:cubicBezTo>
                <a:cubicBezTo>
                  <a:pt x="33402" y="33818"/>
                  <a:pt x="35051" y="33381"/>
                  <a:pt x="35051" y="33381"/>
                </a:cubicBezTo>
                <a:cubicBezTo>
                  <a:pt x="35051" y="33600"/>
                  <a:pt x="35876" y="33818"/>
                  <a:pt x="36288" y="34036"/>
                </a:cubicBezTo>
                <a:cubicBezTo>
                  <a:pt x="36288" y="34036"/>
                  <a:pt x="36288" y="34472"/>
                  <a:pt x="36288" y="34472"/>
                </a:cubicBezTo>
                <a:cubicBezTo>
                  <a:pt x="36288" y="34472"/>
                  <a:pt x="35876" y="34690"/>
                  <a:pt x="35463" y="34690"/>
                </a:cubicBezTo>
                <a:cubicBezTo>
                  <a:pt x="35051" y="34690"/>
                  <a:pt x="34639" y="34254"/>
                  <a:pt x="34639" y="34690"/>
                </a:cubicBezTo>
                <a:cubicBezTo>
                  <a:pt x="34639" y="34909"/>
                  <a:pt x="34226" y="35345"/>
                  <a:pt x="34639" y="35563"/>
                </a:cubicBezTo>
                <a:cubicBezTo>
                  <a:pt x="35051" y="35781"/>
                  <a:pt x="35051" y="36218"/>
                  <a:pt x="35876" y="36218"/>
                </a:cubicBezTo>
                <a:cubicBezTo>
                  <a:pt x="36701" y="36436"/>
                  <a:pt x="36701" y="36654"/>
                  <a:pt x="37113" y="36436"/>
                </a:cubicBezTo>
                <a:cubicBezTo>
                  <a:pt x="37525" y="36218"/>
                  <a:pt x="37525" y="36000"/>
                  <a:pt x="37938" y="36218"/>
                </a:cubicBezTo>
                <a:cubicBezTo>
                  <a:pt x="38350" y="36218"/>
                  <a:pt x="38762" y="36218"/>
                  <a:pt x="39175" y="36436"/>
                </a:cubicBezTo>
                <a:cubicBezTo>
                  <a:pt x="39175" y="36654"/>
                  <a:pt x="38762" y="36654"/>
                  <a:pt x="38762" y="36654"/>
                </a:cubicBezTo>
                <a:cubicBezTo>
                  <a:pt x="38762" y="36654"/>
                  <a:pt x="38350" y="36654"/>
                  <a:pt x="38350" y="36872"/>
                </a:cubicBezTo>
                <a:cubicBezTo>
                  <a:pt x="38350" y="36872"/>
                  <a:pt x="37938" y="37090"/>
                  <a:pt x="38350" y="37090"/>
                </a:cubicBezTo>
                <a:cubicBezTo>
                  <a:pt x="39175" y="37090"/>
                  <a:pt x="39587" y="37090"/>
                  <a:pt x="39587" y="37090"/>
                </a:cubicBezTo>
                <a:cubicBezTo>
                  <a:pt x="39587" y="37090"/>
                  <a:pt x="40000" y="36654"/>
                  <a:pt x="40412" y="36872"/>
                </a:cubicBezTo>
                <a:cubicBezTo>
                  <a:pt x="40412" y="37090"/>
                  <a:pt x="40000" y="37090"/>
                  <a:pt x="39587" y="37309"/>
                </a:cubicBezTo>
                <a:cubicBezTo>
                  <a:pt x="39175" y="37527"/>
                  <a:pt x="39175" y="37527"/>
                  <a:pt x="39175" y="37745"/>
                </a:cubicBezTo>
                <a:cubicBezTo>
                  <a:pt x="39175" y="37963"/>
                  <a:pt x="38762" y="37963"/>
                  <a:pt x="38762" y="38181"/>
                </a:cubicBezTo>
                <a:cubicBezTo>
                  <a:pt x="38762" y="38400"/>
                  <a:pt x="37938" y="39272"/>
                  <a:pt x="39175" y="38618"/>
                </a:cubicBezTo>
                <a:cubicBezTo>
                  <a:pt x="40824" y="37963"/>
                  <a:pt x="40824" y="38181"/>
                  <a:pt x="40824" y="37963"/>
                </a:cubicBezTo>
                <a:cubicBezTo>
                  <a:pt x="40824" y="37745"/>
                  <a:pt x="40824" y="37745"/>
                  <a:pt x="41649" y="37527"/>
                </a:cubicBezTo>
                <a:cubicBezTo>
                  <a:pt x="42061" y="37309"/>
                  <a:pt x="42474" y="37309"/>
                  <a:pt x="42886" y="37309"/>
                </a:cubicBezTo>
                <a:cubicBezTo>
                  <a:pt x="42886" y="37090"/>
                  <a:pt x="43711" y="37090"/>
                  <a:pt x="43298" y="37309"/>
                </a:cubicBezTo>
                <a:cubicBezTo>
                  <a:pt x="42886" y="37527"/>
                  <a:pt x="42474" y="37309"/>
                  <a:pt x="42886" y="37527"/>
                </a:cubicBezTo>
                <a:cubicBezTo>
                  <a:pt x="43298" y="37745"/>
                  <a:pt x="43298" y="37963"/>
                  <a:pt x="43711" y="37963"/>
                </a:cubicBezTo>
                <a:cubicBezTo>
                  <a:pt x="44123" y="37963"/>
                  <a:pt x="44123" y="37963"/>
                  <a:pt x="44123" y="37963"/>
                </a:cubicBezTo>
                <a:cubicBezTo>
                  <a:pt x="44123" y="37963"/>
                  <a:pt x="43298" y="37963"/>
                  <a:pt x="42886" y="37963"/>
                </a:cubicBezTo>
                <a:cubicBezTo>
                  <a:pt x="42886" y="37963"/>
                  <a:pt x="42474" y="37963"/>
                  <a:pt x="42474" y="37963"/>
                </a:cubicBezTo>
                <a:cubicBezTo>
                  <a:pt x="42061" y="37963"/>
                  <a:pt x="42061" y="38181"/>
                  <a:pt x="42061" y="38181"/>
                </a:cubicBezTo>
                <a:cubicBezTo>
                  <a:pt x="41649" y="38400"/>
                  <a:pt x="41649" y="38400"/>
                  <a:pt x="41649" y="38400"/>
                </a:cubicBezTo>
                <a:cubicBezTo>
                  <a:pt x="41649" y="38400"/>
                  <a:pt x="42061" y="38618"/>
                  <a:pt x="42061" y="38836"/>
                </a:cubicBezTo>
                <a:cubicBezTo>
                  <a:pt x="42061" y="38836"/>
                  <a:pt x="42061" y="38836"/>
                  <a:pt x="41649" y="38836"/>
                </a:cubicBezTo>
                <a:cubicBezTo>
                  <a:pt x="41237" y="38836"/>
                  <a:pt x="41649" y="38618"/>
                  <a:pt x="40824" y="38836"/>
                </a:cubicBezTo>
                <a:cubicBezTo>
                  <a:pt x="40000" y="38836"/>
                  <a:pt x="40412" y="38400"/>
                  <a:pt x="40000" y="39054"/>
                </a:cubicBezTo>
                <a:cubicBezTo>
                  <a:pt x="39587" y="39709"/>
                  <a:pt x="39175" y="39709"/>
                  <a:pt x="39175" y="39709"/>
                </a:cubicBezTo>
                <a:cubicBezTo>
                  <a:pt x="39175" y="39709"/>
                  <a:pt x="39175" y="39709"/>
                  <a:pt x="39175" y="39927"/>
                </a:cubicBezTo>
                <a:cubicBezTo>
                  <a:pt x="39175" y="39927"/>
                  <a:pt x="39587" y="40145"/>
                  <a:pt x="40000" y="40363"/>
                </a:cubicBezTo>
                <a:cubicBezTo>
                  <a:pt x="40824" y="40581"/>
                  <a:pt x="41237" y="40800"/>
                  <a:pt x="41237" y="40800"/>
                </a:cubicBezTo>
                <a:cubicBezTo>
                  <a:pt x="41237" y="40800"/>
                  <a:pt x="40824" y="40800"/>
                  <a:pt x="40412" y="40800"/>
                </a:cubicBezTo>
                <a:cubicBezTo>
                  <a:pt x="39587" y="41018"/>
                  <a:pt x="39175" y="41018"/>
                  <a:pt x="38762" y="41236"/>
                </a:cubicBezTo>
                <a:cubicBezTo>
                  <a:pt x="38762" y="41236"/>
                  <a:pt x="38350" y="41454"/>
                  <a:pt x="37938" y="41454"/>
                </a:cubicBezTo>
                <a:cubicBezTo>
                  <a:pt x="37525" y="41454"/>
                  <a:pt x="36288" y="41236"/>
                  <a:pt x="35876" y="41454"/>
                </a:cubicBezTo>
                <a:cubicBezTo>
                  <a:pt x="35463" y="41454"/>
                  <a:pt x="35051" y="41454"/>
                  <a:pt x="34639" y="41672"/>
                </a:cubicBezTo>
                <a:cubicBezTo>
                  <a:pt x="34639" y="41672"/>
                  <a:pt x="34639" y="41890"/>
                  <a:pt x="34639" y="41890"/>
                </a:cubicBezTo>
                <a:cubicBezTo>
                  <a:pt x="34639" y="41890"/>
                  <a:pt x="34226" y="42109"/>
                  <a:pt x="34639" y="42109"/>
                </a:cubicBezTo>
                <a:cubicBezTo>
                  <a:pt x="35051" y="42109"/>
                  <a:pt x="36701" y="42109"/>
                  <a:pt x="36701" y="42109"/>
                </a:cubicBezTo>
                <a:cubicBezTo>
                  <a:pt x="37113" y="42109"/>
                  <a:pt x="37113" y="42327"/>
                  <a:pt x="37113" y="42327"/>
                </a:cubicBezTo>
                <a:cubicBezTo>
                  <a:pt x="36288" y="42327"/>
                  <a:pt x="36288" y="42327"/>
                  <a:pt x="36288" y="42327"/>
                </a:cubicBezTo>
                <a:cubicBezTo>
                  <a:pt x="36288" y="42327"/>
                  <a:pt x="35463" y="42327"/>
                  <a:pt x="35051" y="42327"/>
                </a:cubicBezTo>
                <a:cubicBezTo>
                  <a:pt x="35051" y="42327"/>
                  <a:pt x="33814" y="42545"/>
                  <a:pt x="33814" y="42545"/>
                </a:cubicBezTo>
                <a:cubicBezTo>
                  <a:pt x="33814" y="42545"/>
                  <a:pt x="32989" y="42981"/>
                  <a:pt x="32989" y="43200"/>
                </a:cubicBezTo>
                <a:cubicBezTo>
                  <a:pt x="32989" y="43200"/>
                  <a:pt x="32989" y="43418"/>
                  <a:pt x="33402" y="43854"/>
                </a:cubicBezTo>
                <a:cubicBezTo>
                  <a:pt x="34226" y="44072"/>
                  <a:pt x="34226" y="44290"/>
                  <a:pt x="34226" y="44509"/>
                </a:cubicBezTo>
                <a:cubicBezTo>
                  <a:pt x="34226" y="44509"/>
                  <a:pt x="34226" y="44509"/>
                  <a:pt x="34226" y="44727"/>
                </a:cubicBezTo>
                <a:cubicBezTo>
                  <a:pt x="33814" y="44727"/>
                  <a:pt x="32989" y="45163"/>
                  <a:pt x="32989" y="45163"/>
                </a:cubicBezTo>
                <a:cubicBezTo>
                  <a:pt x="32989" y="45163"/>
                  <a:pt x="32989" y="45163"/>
                  <a:pt x="32989" y="45600"/>
                </a:cubicBezTo>
                <a:cubicBezTo>
                  <a:pt x="32577" y="45818"/>
                  <a:pt x="31752" y="46472"/>
                  <a:pt x="32577" y="46472"/>
                </a:cubicBezTo>
                <a:cubicBezTo>
                  <a:pt x="33402" y="46690"/>
                  <a:pt x="32989" y="46909"/>
                  <a:pt x="33814" y="46690"/>
                </a:cubicBezTo>
                <a:cubicBezTo>
                  <a:pt x="35051" y="46472"/>
                  <a:pt x="33814" y="46254"/>
                  <a:pt x="35463" y="46472"/>
                </a:cubicBezTo>
                <a:cubicBezTo>
                  <a:pt x="37113" y="46690"/>
                  <a:pt x="37525" y="46472"/>
                  <a:pt x="37938" y="46472"/>
                </a:cubicBezTo>
                <a:cubicBezTo>
                  <a:pt x="38350" y="46254"/>
                  <a:pt x="38350" y="46254"/>
                  <a:pt x="38762" y="46036"/>
                </a:cubicBezTo>
                <a:cubicBezTo>
                  <a:pt x="38762" y="46036"/>
                  <a:pt x="37938" y="45818"/>
                  <a:pt x="39175" y="45818"/>
                </a:cubicBezTo>
                <a:cubicBezTo>
                  <a:pt x="40412" y="45600"/>
                  <a:pt x="40412" y="45600"/>
                  <a:pt x="40412" y="45600"/>
                </a:cubicBezTo>
                <a:cubicBezTo>
                  <a:pt x="40412" y="45600"/>
                  <a:pt x="39587" y="44945"/>
                  <a:pt x="40412" y="45381"/>
                </a:cubicBezTo>
                <a:cubicBezTo>
                  <a:pt x="41649" y="45818"/>
                  <a:pt x="41649" y="46036"/>
                  <a:pt x="41649" y="46036"/>
                </a:cubicBezTo>
                <a:cubicBezTo>
                  <a:pt x="40824" y="46472"/>
                  <a:pt x="40824" y="46472"/>
                  <a:pt x="40824" y="46472"/>
                </a:cubicBezTo>
                <a:cubicBezTo>
                  <a:pt x="40824" y="46690"/>
                  <a:pt x="40824" y="46690"/>
                  <a:pt x="40824" y="46690"/>
                </a:cubicBezTo>
                <a:cubicBezTo>
                  <a:pt x="40824" y="46690"/>
                  <a:pt x="40000" y="46690"/>
                  <a:pt x="39587" y="47127"/>
                </a:cubicBezTo>
                <a:cubicBezTo>
                  <a:pt x="39175" y="47563"/>
                  <a:pt x="37938" y="48218"/>
                  <a:pt x="37938" y="48436"/>
                </a:cubicBezTo>
                <a:cubicBezTo>
                  <a:pt x="37938" y="48436"/>
                  <a:pt x="38350" y="48218"/>
                  <a:pt x="37525" y="48654"/>
                </a:cubicBezTo>
                <a:cubicBezTo>
                  <a:pt x="36288" y="49090"/>
                  <a:pt x="35876" y="49090"/>
                  <a:pt x="35051" y="49309"/>
                </a:cubicBezTo>
                <a:cubicBezTo>
                  <a:pt x="34639" y="49745"/>
                  <a:pt x="34639" y="49527"/>
                  <a:pt x="34226" y="49745"/>
                </a:cubicBezTo>
                <a:cubicBezTo>
                  <a:pt x="34226" y="49963"/>
                  <a:pt x="33814" y="50181"/>
                  <a:pt x="33814" y="50181"/>
                </a:cubicBezTo>
                <a:cubicBezTo>
                  <a:pt x="33402" y="50618"/>
                  <a:pt x="33402" y="50618"/>
                  <a:pt x="33402" y="50618"/>
                </a:cubicBezTo>
                <a:cubicBezTo>
                  <a:pt x="32164" y="50836"/>
                  <a:pt x="32164" y="50836"/>
                  <a:pt x="32164" y="50836"/>
                </a:cubicBezTo>
                <a:cubicBezTo>
                  <a:pt x="30927" y="50618"/>
                  <a:pt x="30927" y="50618"/>
                  <a:pt x="30927" y="50618"/>
                </a:cubicBezTo>
                <a:cubicBezTo>
                  <a:pt x="30103" y="51054"/>
                  <a:pt x="30103" y="51054"/>
                  <a:pt x="30103" y="51054"/>
                </a:cubicBezTo>
                <a:cubicBezTo>
                  <a:pt x="30103" y="51054"/>
                  <a:pt x="28865" y="50836"/>
                  <a:pt x="28453" y="50836"/>
                </a:cubicBezTo>
                <a:cubicBezTo>
                  <a:pt x="28041" y="51054"/>
                  <a:pt x="27628" y="51272"/>
                  <a:pt x="27628" y="51272"/>
                </a:cubicBezTo>
                <a:cubicBezTo>
                  <a:pt x="27628" y="51272"/>
                  <a:pt x="27216" y="51272"/>
                  <a:pt x="27216" y="51709"/>
                </a:cubicBezTo>
                <a:cubicBezTo>
                  <a:pt x="27216" y="51927"/>
                  <a:pt x="26804" y="52581"/>
                  <a:pt x="26804" y="52581"/>
                </a:cubicBezTo>
                <a:cubicBezTo>
                  <a:pt x="25979" y="53018"/>
                  <a:pt x="25979" y="53018"/>
                  <a:pt x="25979" y="53018"/>
                </a:cubicBezTo>
                <a:cubicBezTo>
                  <a:pt x="25979" y="53018"/>
                  <a:pt x="25567" y="53454"/>
                  <a:pt x="26391" y="53236"/>
                </a:cubicBezTo>
                <a:cubicBezTo>
                  <a:pt x="27216" y="53018"/>
                  <a:pt x="27628" y="52800"/>
                  <a:pt x="28041" y="52581"/>
                </a:cubicBezTo>
                <a:cubicBezTo>
                  <a:pt x="28041" y="52581"/>
                  <a:pt x="28865" y="52363"/>
                  <a:pt x="28865" y="52363"/>
                </a:cubicBezTo>
                <a:cubicBezTo>
                  <a:pt x="28865" y="52800"/>
                  <a:pt x="28865" y="52800"/>
                  <a:pt x="28865" y="52800"/>
                </a:cubicBezTo>
                <a:cubicBezTo>
                  <a:pt x="28453" y="53672"/>
                  <a:pt x="28453" y="53672"/>
                  <a:pt x="28453" y="53672"/>
                </a:cubicBezTo>
                <a:cubicBezTo>
                  <a:pt x="28041" y="53890"/>
                  <a:pt x="28041" y="53890"/>
                  <a:pt x="28041" y="53890"/>
                </a:cubicBezTo>
                <a:cubicBezTo>
                  <a:pt x="27628" y="54109"/>
                  <a:pt x="27628" y="54109"/>
                  <a:pt x="27628" y="54109"/>
                </a:cubicBezTo>
                <a:cubicBezTo>
                  <a:pt x="27628" y="54109"/>
                  <a:pt x="26804" y="54981"/>
                  <a:pt x="27628" y="54981"/>
                </a:cubicBezTo>
                <a:cubicBezTo>
                  <a:pt x="28453" y="54763"/>
                  <a:pt x="28041" y="54763"/>
                  <a:pt x="28865" y="54545"/>
                </a:cubicBezTo>
                <a:cubicBezTo>
                  <a:pt x="29690" y="54545"/>
                  <a:pt x="29278" y="54327"/>
                  <a:pt x="30927" y="54109"/>
                </a:cubicBezTo>
                <a:cubicBezTo>
                  <a:pt x="32164" y="54109"/>
                  <a:pt x="32164" y="53672"/>
                  <a:pt x="32164" y="53454"/>
                </a:cubicBezTo>
                <a:cubicBezTo>
                  <a:pt x="32164" y="53454"/>
                  <a:pt x="32164" y="53236"/>
                  <a:pt x="32164" y="53018"/>
                </a:cubicBezTo>
                <a:cubicBezTo>
                  <a:pt x="32164" y="52800"/>
                  <a:pt x="31340" y="52581"/>
                  <a:pt x="32577" y="52363"/>
                </a:cubicBezTo>
                <a:cubicBezTo>
                  <a:pt x="33402" y="52363"/>
                  <a:pt x="32989" y="52581"/>
                  <a:pt x="33402" y="52363"/>
                </a:cubicBezTo>
                <a:cubicBezTo>
                  <a:pt x="33814" y="52145"/>
                  <a:pt x="33814" y="52581"/>
                  <a:pt x="33814" y="51927"/>
                </a:cubicBezTo>
                <a:cubicBezTo>
                  <a:pt x="33814" y="51490"/>
                  <a:pt x="33814" y="51490"/>
                  <a:pt x="34639" y="51272"/>
                </a:cubicBezTo>
                <a:cubicBezTo>
                  <a:pt x="35463" y="50836"/>
                  <a:pt x="35051" y="51054"/>
                  <a:pt x="35463" y="50836"/>
                </a:cubicBezTo>
                <a:cubicBezTo>
                  <a:pt x="35876" y="50618"/>
                  <a:pt x="35463" y="50618"/>
                  <a:pt x="35876" y="50400"/>
                </a:cubicBezTo>
                <a:cubicBezTo>
                  <a:pt x="36701" y="50181"/>
                  <a:pt x="36701" y="50181"/>
                  <a:pt x="36701" y="50181"/>
                </a:cubicBezTo>
                <a:cubicBezTo>
                  <a:pt x="36701" y="49963"/>
                  <a:pt x="37938" y="49527"/>
                  <a:pt x="37938" y="49527"/>
                </a:cubicBezTo>
                <a:cubicBezTo>
                  <a:pt x="37938" y="49090"/>
                  <a:pt x="37938" y="49090"/>
                  <a:pt x="37938" y="49090"/>
                </a:cubicBezTo>
                <a:cubicBezTo>
                  <a:pt x="39587" y="48654"/>
                  <a:pt x="39587" y="48654"/>
                  <a:pt x="39587" y="48654"/>
                </a:cubicBezTo>
                <a:cubicBezTo>
                  <a:pt x="39587" y="48654"/>
                  <a:pt x="40000" y="48436"/>
                  <a:pt x="40000" y="48654"/>
                </a:cubicBezTo>
                <a:cubicBezTo>
                  <a:pt x="39587" y="48872"/>
                  <a:pt x="39175" y="49309"/>
                  <a:pt x="39175" y="49309"/>
                </a:cubicBezTo>
                <a:cubicBezTo>
                  <a:pt x="39175" y="49745"/>
                  <a:pt x="39175" y="49745"/>
                  <a:pt x="39175" y="49745"/>
                </a:cubicBezTo>
                <a:cubicBezTo>
                  <a:pt x="37938" y="50181"/>
                  <a:pt x="37938" y="50181"/>
                  <a:pt x="37938" y="50181"/>
                </a:cubicBezTo>
                <a:cubicBezTo>
                  <a:pt x="37938" y="50181"/>
                  <a:pt x="38762" y="50400"/>
                  <a:pt x="38350" y="50618"/>
                </a:cubicBezTo>
                <a:cubicBezTo>
                  <a:pt x="37938" y="50836"/>
                  <a:pt x="37113" y="51054"/>
                  <a:pt x="37113" y="51054"/>
                </a:cubicBezTo>
                <a:cubicBezTo>
                  <a:pt x="37113" y="51490"/>
                  <a:pt x="37113" y="51490"/>
                  <a:pt x="37113" y="51490"/>
                </a:cubicBezTo>
                <a:cubicBezTo>
                  <a:pt x="37525" y="51709"/>
                  <a:pt x="37525" y="51709"/>
                  <a:pt x="37525" y="51709"/>
                </a:cubicBezTo>
                <a:cubicBezTo>
                  <a:pt x="36701" y="52581"/>
                  <a:pt x="36701" y="52581"/>
                  <a:pt x="36701" y="52581"/>
                </a:cubicBezTo>
                <a:cubicBezTo>
                  <a:pt x="37525" y="53018"/>
                  <a:pt x="37525" y="53018"/>
                  <a:pt x="37525" y="53018"/>
                </a:cubicBezTo>
                <a:cubicBezTo>
                  <a:pt x="37938" y="53454"/>
                  <a:pt x="37938" y="53454"/>
                  <a:pt x="37938" y="53454"/>
                </a:cubicBezTo>
                <a:cubicBezTo>
                  <a:pt x="37938" y="53454"/>
                  <a:pt x="37525" y="53672"/>
                  <a:pt x="37113" y="53890"/>
                </a:cubicBezTo>
                <a:cubicBezTo>
                  <a:pt x="36701" y="53890"/>
                  <a:pt x="35876" y="54545"/>
                  <a:pt x="35876" y="54545"/>
                </a:cubicBezTo>
                <a:cubicBezTo>
                  <a:pt x="35051" y="55200"/>
                  <a:pt x="35051" y="55200"/>
                  <a:pt x="35051" y="55200"/>
                </a:cubicBezTo>
                <a:cubicBezTo>
                  <a:pt x="34226" y="55854"/>
                  <a:pt x="34226" y="55854"/>
                  <a:pt x="34226" y="55854"/>
                </a:cubicBezTo>
                <a:cubicBezTo>
                  <a:pt x="34226" y="56509"/>
                  <a:pt x="34226" y="56509"/>
                  <a:pt x="34226" y="56509"/>
                </a:cubicBezTo>
                <a:cubicBezTo>
                  <a:pt x="33814" y="57381"/>
                  <a:pt x="33814" y="57381"/>
                  <a:pt x="33814" y="57381"/>
                </a:cubicBezTo>
                <a:cubicBezTo>
                  <a:pt x="32989" y="57600"/>
                  <a:pt x="32989" y="57600"/>
                  <a:pt x="32989" y="57600"/>
                </a:cubicBezTo>
                <a:cubicBezTo>
                  <a:pt x="32989" y="57600"/>
                  <a:pt x="32577" y="58254"/>
                  <a:pt x="33402" y="58254"/>
                </a:cubicBezTo>
                <a:cubicBezTo>
                  <a:pt x="34226" y="58472"/>
                  <a:pt x="34226" y="58472"/>
                  <a:pt x="34639" y="58472"/>
                </a:cubicBezTo>
                <a:cubicBezTo>
                  <a:pt x="35463" y="58472"/>
                  <a:pt x="35051" y="58472"/>
                  <a:pt x="35463" y="58472"/>
                </a:cubicBezTo>
                <a:cubicBezTo>
                  <a:pt x="35876" y="58472"/>
                  <a:pt x="36701" y="58472"/>
                  <a:pt x="36701" y="58036"/>
                </a:cubicBezTo>
                <a:cubicBezTo>
                  <a:pt x="36701" y="57600"/>
                  <a:pt x="36701" y="57163"/>
                  <a:pt x="36701" y="56945"/>
                </a:cubicBezTo>
                <a:cubicBezTo>
                  <a:pt x="36701" y="56945"/>
                  <a:pt x="37525" y="56290"/>
                  <a:pt x="37525" y="56290"/>
                </a:cubicBezTo>
                <a:cubicBezTo>
                  <a:pt x="37525" y="55418"/>
                  <a:pt x="37525" y="55418"/>
                  <a:pt x="37525" y="55418"/>
                </a:cubicBezTo>
                <a:cubicBezTo>
                  <a:pt x="37525" y="55418"/>
                  <a:pt x="37525" y="55200"/>
                  <a:pt x="38350" y="54763"/>
                </a:cubicBezTo>
                <a:cubicBezTo>
                  <a:pt x="39175" y="54545"/>
                  <a:pt x="38762" y="54545"/>
                  <a:pt x="39175" y="54545"/>
                </a:cubicBezTo>
                <a:cubicBezTo>
                  <a:pt x="39587" y="54327"/>
                  <a:pt x="39587" y="54109"/>
                  <a:pt x="39587" y="53890"/>
                </a:cubicBezTo>
                <a:cubicBezTo>
                  <a:pt x="40000" y="53672"/>
                  <a:pt x="40000" y="53672"/>
                  <a:pt x="40000" y="53672"/>
                </a:cubicBezTo>
                <a:cubicBezTo>
                  <a:pt x="40412" y="53236"/>
                  <a:pt x="40412" y="53236"/>
                  <a:pt x="40412" y="53236"/>
                </a:cubicBezTo>
                <a:cubicBezTo>
                  <a:pt x="40412" y="51490"/>
                  <a:pt x="40412" y="51490"/>
                  <a:pt x="40412" y="51490"/>
                </a:cubicBezTo>
                <a:cubicBezTo>
                  <a:pt x="40412" y="51490"/>
                  <a:pt x="40412" y="51054"/>
                  <a:pt x="40824" y="51054"/>
                </a:cubicBezTo>
                <a:cubicBezTo>
                  <a:pt x="41237" y="51054"/>
                  <a:pt x="41649" y="51054"/>
                  <a:pt x="41649" y="51054"/>
                </a:cubicBezTo>
                <a:cubicBezTo>
                  <a:pt x="41649" y="51054"/>
                  <a:pt x="41649" y="51272"/>
                  <a:pt x="41649" y="51709"/>
                </a:cubicBezTo>
                <a:cubicBezTo>
                  <a:pt x="41237" y="52145"/>
                  <a:pt x="41649" y="52800"/>
                  <a:pt x="41649" y="52800"/>
                </a:cubicBezTo>
                <a:cubicBezTo>
                  <a:pt x="44536" y="54109"/>
                  <a:pt x="44536" y="54109"/>
                  <a:pt x="44536" y="54109"/>
                </a:cubicBezTo>
                <a:cubicBezTo>
                  <a:pt x="44536" y="54109"/>
                  <a:pt x="45773" y="55200"/>
                  <a:pt x="45773" y="55418"/>
                </a:cubicBezTo>
                <a:cubicBezTo>
                  <a:pt x="45773" y="55418"/>
                  <a:pt x="47835" y="56290"/>
                  <a:pt x="47835" y="56290"/>
                </a:cubicBezTo>
                <a:cubicBezTo>
                  <a:pt x="47835" y="56290"/>
                  <a:pt x="48247" y="56509"/>
                  <a:pt x="47835" y="56727"/>
                </a:cubicBezTo>
                <a:cubicBezTo>
                  <a:pt x="47835" y="56945"/>
                  <a:pt x="48247" y="57163"/>
                  <a:pt x="48247" y="57381"/>
                </a:cubicBezTo>
                <a:cubicBezTo>
                  <a:pt x="47835" y="57600"/>
                  <a:pt x="47422" y="58254"/>
                  <a:pt x="47422" y="58254"/>
                </a:cubicBezTo>
                <a:cubicBezTo>
                  <a:pt x="46597" y="58472"/>
                  <a:pt x="46597" y="58472"/>
                  <a:pt x="46597" y="58472"/>
                </a:cubicBezTo>
                <a:cubicBezTo>
                  <a:pt x="45360" y="59127"/>
                  <a:pt x="45360" y="59127"/>
                  <a:pt x="45360" y="59127"/>
                </a:cubicBezTo>
                <a:cubicBezTo>
                  <a:pt x="44948" y="60000"/>
                  <a:pt x="44948" y="60000"/>
                  <a:pt x="44948" y="60000"/>
                </a:cubicBezTo>
                <a:cubicBezTo>
                  <a:pt x="44123" y="60654"/>
                  <a:pt x="44123" y="60654"/>
                  <a:pt x="44123" y="60654"/>
                </a:cubicBezTo>
                <a:cubicBezTo>
                  <a:pt x="42474" y="61090"/>
                  <a:pt x="42474" y="61090"/>
                  <a:pt x="42474" y="61090"/>
                </a:cubicBezTo>
                <a:cubicBezTo>
                  <a:pt x="40412" y="62181"/>
                  <a:pt x="40412" y="62181"/>
                  <a:pt x="40412" y="62181"/>
                </a:cubicBezTo>
                <a:cubicBezTo>
                  <a:pt x="39587" y="63054"/>
                  <a:pt x="39587" y="63054"/>
                  <a:pt x="39587" y="63054"/>
                </a:cubicBezTo>
                <a:cubicBezTo>
                  <a:pt x="38350" y="63927"/>
                  <a:pt x="38350" y="63927"/>
                  <a:pt x="38350" y="63927"/>
                </a:cubicBezTo>
                <a:cubicBezTo>
                  <a:pt x="38350" y="64581"/>
                  <a:pt x="38350" y="64581"/>
                  <a:pt x="38350" y="64581"/>
                </a:cubicBezTo>
                <a:cubicBezTo>
                  <a:pt x="38350" y="64581"/>
                  <a:pt x="39175" y="65454"/>
                  <a:pt x="39587" y="65454"/>
                </a:cubicBezTo>
                <a:cubicBezTo>
                  <a:pt x="39587" y="65454"/>
                  <a:pt x="40000" y="65672"/>
                  <a:pt x="40000" y="65672"/>
                </a:cubicBezTo>
                <a:cubicBezTo>
                  <a:pt x="40412" y="66763"/>
                  <a:pt x="40412" y="66763"/>
                  <a:pt x="40412" y="66763"/>
                </a:cubicBezTo>
                <a:cubicBezTo>
                  <a:pt x="40412" y="66763"/>
                  <a:pt x="40412" y="67418"/>
                  <a:pt x="40824" y="67418"/>
                </a:cubicBezTo>
                <a:cubicBezTo>
                  <a:pt x="41237" y="67200"/>
                  <a:pt x="41649" y="66545"/>
                  <a:pt x="41649" y="66545"/>
                </a:cubicBezTo>
                <a:cubicBezTo>
                  <a:pt x="41649" y="66545"/>
                  <a:pt x="40824" y="66109"/>
                  <a:pt x="40824" y="65672"/>
                </a:cubicBezTo>
                <a:cubicBezTo>
                  <a:pt x="40824" y="65236"/>
                  <a:pt x="41649" y="64581"/>
                  <a:pt x="41649" y="64581"/>
                </a:cubicBezTo>
                <a:cubicBezTo>
                  <a:pt x="42474" y="64363"/>
                  <a:pt x="42474" y="64363"/>
                  <a:pt x="42474" y="64363"/>
                </a:cubicBezTo>
                <a:cubicBezTo>
                  <a:pt x="42474" y="64363"/>
                  <a:pt x="42061" y="64363"/>
                  <a:pt x="42474" y="64581"/>
                </a:cubicBezTo>
                <a:cubicBezTo>
                  <a:pt x="42886" y="65018"/>
                  <a:pt x="42886" y="64800"/>
                  <a:pt x="43298" y="65018"/>
                </a:cubicBezTo>
                <a:cubicBezTo>
                  <a:pt x="43298" y="65236"/>
                  <a:pt x="44536" y="65890"/>
                  <a:pt x="44536" y="65890"/>
                </a:cubicBezTo>
                <a:cubicBezTo>
                  <a:pt x="44536" y="65890"/>
                  <a:pt x="45773" y="66545"/>
                  <a:pt x="46185" y="66763"/>
                </a:cubicBezTo>
                <a:cubicBezTo>
                  <a:pt x="46597" y="66981"/>
                  <a:pt x="47010" y="67418"/>
                  <a:pt x="47422" y="67418"/>
                </a:cubicBezTo>
                <a:cubicBezTo>
                  <a:pt x="47835" y="67200"/>
                  <a:pt x="48247" y="67418"/>
                  <a:pt x="48247" y="66981"/>
                </a:cubicBezTo>
                <a:cubicBezTo>
                  <a:pt x="48247" y="66545"/>
                  <a:pt x="48659" y="66545"/>
                  <a:pt x="48659" y="66109"/>
                </a:cubicBezTo>
                <a:cubicBezTo>
                  <a:pt x="48247" y="65890"/>
                  <a:pt x="48247" y="65236"/>
                  <a:pt x="48247" y="65236"/>
                </a:cubicBezTo>
                <a:cubicBezTo>
                  <a:pt x="48247" y="65236"/>
                  <a:pt x="48247" y="65018"/>
                  <a:pt x="48659" y="65018"/>
                </a:cubicBezTo>
                <a:cubicBezTo>
                  <a:pt x="49484" y="65018"/>
                  <a:pt x="49484" y="65454"/>
                  <a:pt x="49484" y="65454"/>
                </a:cubicBezTo>
                <a:cubicBezTo>
                  <a:pt x="49484" y="65454"/>
                  <a:pt x="49896" y="66109"/>
                  <a:pt x="50309" y="66327"/>
                </a:cubicBezTo>
                <a:cubicBezTo>
                  <a:pt x="50721" y="66327"/>
                  <a:pt x="51134" y="66327"/>
                  <a:pt x="51546" y="66545"/>
                </a:cubicBezTo>
                <a:cubicBezTo>
                  <a:pt x="51958" y="66981"/>
                  <a:pt x="54020" y="67200"/>
                  <a:pt x="54020" y="67200"/>
                </a:cubicBezTo>
                <a:cubicBezTo>
                  <a:pt x="54020" y="67200"/>
                  <a:pt x="54432" y="66981"/>
                  <a:pt x="54845" y="66763"/>
                </a:cubicBezTo>
                <a:cubicBezTo>
                  <a:pt x="54845" y="66545"/>
                  <a:pt x="55670" y="66545"/>
                  <a:pt x="55670" y="66545"/>
                </a:cubicBezTo>
                <a:cubicBezTo>
                  <a:pt x="55670" y="66545"/>
                  <a:pt x="55257" y="66109"/>
                  <a:pt x="56494" y="66327"/>
                </a:cubicBezTo>
                <a:cubicBezTo>
                  <a:pt x="57319" y="66327"/>
                  <a:pt x="57731" y="66545"/>
                  <a:pt x="57731" y="66327"/>
                </a:cubicBezTo>
                <a:cubicBezTo>
                  <a:pt x="58144" y="66109"/>
                  <a:pt x="58969" y="65236"/>
                  <a:pt x="58969" y="65236"/>
                </a:cubicBezTo>
                <a:cubicBezTo>
                  <a:pt x="58969" y="65236"/>
                  <a:pt x="58556" y="64581"/>
                  <a:pt x="59793" y="64800"/>
                </a:cubicBezTo>
                <a:cubicBezTo>
                  <a:pt x="60618" y="65236"/>
                  <a:pt x="65154" y="65672"/>
                  <a:pt x="65154" y="65672"/>
                </a:cubicBezTo>
                <a:cubicBezTo>
                  <a:pt x="64742" y="66109"/>
                  <a:pt x="64742" y="66109"/>
                  <a:pt x="64742" y="66109"/>
                </a:cubicBezTo>
                <a:cubicBezTo>
                  <a:pt x="63092" y="65890"/>
                  <a:pt x="63092" y="65890"/>
                  <a:pt x="63092" y="65890"/>
                </a:cubicBezTo>
                <a:cubicBezTo>
                  <a:pt x="61855" y="66109"/>
                  <a:pt x="61855" y="66109"/>
                  <a:pt x="61855" y="66109"/>
                </a:cubicBezTo>
                <a:cubicBezTo>
                  <a:pt x="61855" y="66109"/>
                  <a:pt x="61443" y="66109"/>
                  <a:pt x="61030" y="66545"/>
                </a:cubicBezTo>
                <a:cubicBezTo>
                  <a:pt x="61030" y="66763"/>
                  <a:pt x="61030" y="66981"/>
                  <a:pt x="60618" y="67200"/>
                </a:cubicBezTo>
                <a:cubicBezTo>
                  <a:pt x="60618" y="67418"/>
                  <a:pt x="60206" y="67636"/>
                  <a:pt x="59793" y="67636"/>
                </a:cubicBezTo>
                <a:cubicBezTo>
                  <a:pt x="59793" y="67854"/>
                  <a:pt x="58144" y="68509"/>
                  <a:pt x="58144" y="68509"/>
                </a:cubicBezTo>
                <a:cubicBezTo>
                  <a:pt x="57319" y="69163"/>
                  <a:pt x="57319" y="69163"/>
                  <a:pt x="57319" y="69163"/>
                </a:cubicBezTo>
                <a:cubicBezTo>
                  <a:pt x="56494" y="70254"/>
                  <a:pt x="56494" y="70254"/>
                  <a:pt x="56494" y="70254"/>
                </a:cubicBezTo>
                <a:cubicBezTo>
                  <a:pt x="56494" y="70254"/>
                  <a:pt x="56494" y="71127"/>
                  <a:pt x="56907" y="71127"/>
                </a:cubicBezTo>
                <a:cubicBezTo>
                  <a:pt x="57319" y="71345"/>
                  <a:pt x="58144" y="72000"/>
                  <a:pt x="58144" y="72000"/>
                </a:cubicBezTo>
                <a:cubicBezTo>
                  <a:pt x="58144" y="72000"/>
                  <a:pt x="58144" y="72436"/>
                  <a:pt x="58144" y="72654"/>
                </a:cubicBezTo>
                <a:cubicBezTo>
                  <a:pt x="58144" y="72872"/>
                  <a:pt x="58144" y="73090"/>
                  <a:pt x="58556" y="73527"/>
                </a:cubicBezTo>
                <a:cubicBezTo>
                  <a:pt x="58969" y="73745"/>
                  <a:pt x="59381" y="74618"/>
                  <a:pt x="59381" y="74618"/>
                </a:cubicBezTo>
                <a:cubicBezTo>
                  <a:pt x="59793" y="74618"/>
                  <a:pt x="59793" y="74618"/>
                  <a:pt x="59793" y="74618"/>
                </a:cubicBezTo>
                <a:cubicBezTo>
                  <a:pt x="59793" y="75272"/>
                  <a:pt x="59793" y="75272"/>
                  <a:pt x="59793" y="75272"/>
                </a:cubicBezTo>
                <a:cubicBezTo>
                  <a:pt x="59793" y="75272"/>
                  <a:pt x="59793" y="75927"/>
                  <a:pt x="60206" y="75927"/>
                </a:cubicBezTo>
                <a:cubicBezTo>
                  <a:pt x="61030" y="75927"/>
                  <a:pt x="62268" y="75490"/>
                  <a:pt x="62268" y="75490"/>
                </a:cubicBezTo>
                <a:cubicBezTo>
                  <a:pt x="65567" y="75054"/>
                  <a:pt x="65567" y="75054"/>
                  <a:pt x="65567" y="75054"/>
                </a:cubicBezTo>
                <a:cubicBezTo>
                  <a:pt x="65567" y="75054"/>
                  <a:pt x="65154" y="75927"/>
                  <a:pt x="65154" y="76145"/>
                </a:cubicBezTo>
                <a:cubicBezTo>
                  <a:pt x="65154" y="76363"/>
                  <a:pt x="64329" y="76363"/>
                  <a:pt x="63917" y="76581"/>
                </a:cubicBezTo>
                <a:cubicBezTo>
                  <a:pt x="63917" y="76800"/>
                  <a:pt x="63917" y="77018"/>
                  <a:pt x="63917" y="77018"/>
                </a:cubicBezTo>
                <a:cubicBezTo>
                  <a:pt x="63917" y="77018"/>
                  <a:pt x="63505" y="77672"/>
                  <a:pt x="63092" y="77672"/>
                </a:cubicBezTo>
                <a:cubicBezTo>
                  <a:pt x="62268" y="77672"/>
                  <a:pt x="61443" y="77890"/>
                  <a:pt x="61443" y="77890"/>
                </a:cubicBezTo>
                <a:cubicBezTo>
                  <a:pt x="61443" y="77890"/>
                  <a:pt x="61030" y="77454"/>
                  <a:pt x="61030" y="78109"/>
                </a:cubicBezTo>
                <a:cubicBezTo>
                  <a:pt x="60618" y="78545"/>
                  <a:pt x="60206" y="78981"/>
                  <a:pt x="60206" y="79200"/>
                </a:cubicBezTo>
                <a:cubicBezTo>
                  <a:pt x="60206" y="79418"/>
                  <a:pt x="59381" y="79636"/>
                  <a:pt x="60618" y="79854"/>
                </a:cubicBezTo>
                <a:cubicBezTo>
                  <a:pt x="61443" y="79854"/>
                  <a:pt x="61443" y="80509"/>
                  <a:pt x="61443" y="80509"/>
                </a:cubicBezTo>
                <a:cubicBezTo>
                  <a:pt x="61443" y="80509"/>
                  <a:pt x="60618" y="80945"/>
                  <a:pt x="60206" y="81163"/>
                </a:cubicBezTo>
                <a:cubicBezTo>
                  <a:pt x="59793" y="81381"/>
                  <a:pt x="59381" y="81163"/>
                  <a:pt x="59381" y="81381"/>
                </a:cubicBezTo>
                <a:cubicBezTo>
                  <a:pt x="59381" y="81600"/>
                  <a:pt x="60206" y="82690"/>
                  <a:pt x="60206" y="82690"/>
                </a:cubicBezTo>
                <a:cubicBezTo>
                  <a:pt x="60206" y="82690"/>
                  <a:pt x="60206" y="83345"/>
                  <a:pt x="59381" y="83345"/>
                </a:cubicBezTo>
                <a:cubicBezTo>
                  <a:pt x="58556" y="83345"/>
                  <a:pt x="58556" y="83345"/>
                  <a:pt x="58144" y="83345"/>
                </a:cubicBezTo>
                <a:cubicBezTo>
                  <a:pt x="57731" y="83345"/>
                  <a:pt x="57319" y="83345"/>
                  <a:pt x="57319" y="83345"/>
                </a:cubicBezTo>
                <a:cubicBezTo>
                  <a:pt x="57319" y="83345"/>
                  <a:pt x="57731" y="83563"/>
                  <a:pt x="57731" y="84000"/>
                </a:cubicBezTo>
                <a:cubicBezTo>
                  <a:pt x="57731" y="84436"/>
                  <a:pt x="57731" y="84872"/>
                  <a:pt x="57731" y="84872"/>
                </a:cubicBezTo>
                <a:cubicBezTo>
                  <a:pt x="56494" y="84654"/>
                  <a:pt x="56494" y="84654"/>
                  <a:pt x="56494" y="84654"/>
                </a:cubicBezTo>
                <a:cubicBezTo>
                  <a:pt x="55257" y="84000"/>
                  <a:pt x="55257" y="84000"/>
                  <a:pt x="55257" y="84000"/>
                </a:cubicBezTo>
                <a:cubicBezTo>
                  <a:pt x="55257" y="84000"/>
                  <a:pt x="54020" y="84000"/>
                  <a:pt x="53608" y="84000"/>
                </a:cubicBezTo>
                <a:cubicBezTo>
                  <a:pt x="53195" y="84218"/>
                  <a:pt x="51958" y="84218"/>
                  <a:pt x="51958" y="84218"/>
                </a:cubicBezTo>
                <a:cubicBezTo>
                  <a:pt x="51958" y="84218"/>
                  <a:pt x="49896" y="83781"/>
                  <a:pt x="49484" y="83563"/>
                </a:cubicBezTo>
                <a:cubicBezTo>
                  <a:pt x="49484" y="83345"/>
                  <a:pt x="49484" y="83345"/>
                  <a:pt x="49072" y="83563"/>
                </a:cubicBezTo>
                <a:cubicBezTo>
                  <a:pt x="49072" y="83563"/>
                  <a:pt x="49484" y="83563"/>
                  <a:pt x="49072" y="83563"/>
                </a:cubicBezTo>
                <a:cubicBezTo>
                  <a:pt x="48659" y="83781"/>
                  <a:pt x="49484" y="83781"/>
                  <a:pt x="47835" y="83781"/>
                </a:cubicBezTo>
                <a:cubicBezTo>
                  <a:pt x="46185" y="84000"/>
                  <a:pt x="44536" y="84218"/>
                  <a:pt x="44536" y="84218"/>
                </a:cubicBezTo>
                <a:cubicBezTo>
                  <a:pt x="44536" y="84218"/>
                  <a:pt x="45773" y="83563"/>
                  <a:pt x="45360" y="83345"/>
                </a:cubicBezTo>
                <a:cubicBezTo>
                  <a:pt x="44948" y="83127"/>
                  <a:pt x="45360" y="83345"/>
                  <a:pt x="44536" y="83127"/>
                </a:cubicBezTo>
                <a:cubicBezTo>
                  <a:pt x="44123" y="82909"/>
                  <a:pt x="43298" y="82472"/>
                  <a:pt x="43298" y="82254"/>
                </a:cubicBezTo>
                <a:cubicBezTo>
                  <a:pt x="43298" y="82036"/>
                  <a:pt x="43298" y="81600"/>
                  <a:pt x="42474" y="81600"/>
                </a:cubicBezTo>
                <a:cubicBezTo>
                  <a:pt x="42061" y="81600"/>
                  <a:pt x="41649" y="81163"/>
                  <a:pt x="40824" y="81600"/>
                </a:cubicBezTo>
                <a:cubicBezTo>
                  <a:pt x="40412" y="81818"/>
                  <a:pt x="40000" y="81818"/>
                  <a:pt x="40000" y="82036"/>
                </a:cubicBezTo>
                <a:cubicBezTo>
                  <a:pt x="39587" y="82254"/>
                  <a:pt x="37938" y="82472"/>
                  <a:pt x="37938" y="82472"/>
                </a:cubicBezTo>
                <a:cubicBezTo>
                  <a:pt x="37938" y="82472"/>
                  <a:pt x="39175" y="83345"/>
                  <a:pt x="39175" y="83563"/>
                </a:cubicBezTo>
                <a:cubicBezTo>
                  <a:pt x="39175" y="83781"/>
                  <a:pt x="40000" y="84654"/>
                  <a:pt x="40000" y="84654"/>
                </a:cubicBezTo>
                <a:cubicBezTo>
                  <a:pt x="42886" y="84654"/>
                  <a:pt x="42886" y="84654"/>
                  <a:pt x="42886" y="84654"/>
                </a:cubicBezTo>
                <a:cubicBezTo>
                  <a:pt x="42886" y="84654"/>
                  <a:pt x="40824" y="85090"/>
                  <a:pt x="40824" y="85527"/>
                </a:cubicBezTo>
                <a:cubicBezTo>
                  <a:pt x="40412" y="85745"/>
                  <a:pt x="40412" y="85963"/>
                  <a:pt x="40000" y="86181"/>
                </a:cubicBezTo>
                <a:cubicBezTo>
                  <a:pt x="39587" y="86400"/>
                  <a:pt x="39587" y="86618"/>
                  <a:pt x="38762" y="86836"/>
                </a:cubicBezTo>
                <a:cubicBezTo>
                  <a:pt x="37525" y="86836"/>
                  <a:pt x="36288" y="87054"/>
                  <a:pt x="35463" y="87272"/>
                </a:cubicBezTo>
                <a:cubicBezTo>
                  <a:pt x="35051" y="87490"/>
                  <a:pt x="34639" y="87490"/>
                  <a:pt x="34639" y="87709"/>
                </a:cubicBezTo>
                <a:cubicBezTo>
                  <a:pt x="34639" y="88145"/>
                  <a:pt x="32164" y="87927"/>
                  <a:pt x="34639" y="88363"/>
                </a:cubicBezTo>
                <a:cubicBezTo>
                  <a:pt x="37113" y="88581"/>
                  <a:pt x="37525" y="88800"/>
                  <a:pt x="37525" y="88800"/>
                </a:cubicBezTo>
                <a:cubicBezTo>
                  <a:pt x="37525" y="88800"/>
                  <a:pt x="38762" y="88145"/>
                  <a:pt x="39175" y="87927"/>
                </a:cubicBezTo>
                <a:cubicBezTo>
                  <a:pt x="40000" y="87490"/>
                  <a:pt x="40000" y="87490"/>
                  <a:pt x="41649" y="87490"/>
                </a:cubicBezTo>
                <a:cubicBezTo>
                  <a:pt x="43298" y="87709"/>
                  <a:pt x="43298" y="87490"/>
                  <a:pt x="43298" y="87709"/>
                </a:cubicBezTo>
                <a:cubicBezTo>
                  <a:pt x="43298" y="88145"/>
                  <a:pt x="43298" y="88363"/>
                  <a:pt x="43298" y="88800"/>
                </a:cubicBezTo>
                <a:cubicBezTo>
                  <a:pt x="42886" y="89236"/>
                  <a:pt x="42061" y="89454"/>
                  <a:pt x="42886" y="90109"/>
                </a:cubicBezTo>
                <a:cubicBezTo>
                  <a:pt x="43711" y="90545"/>
                  <a:pt x="42474" y="90981"/>
                  <a:pt x="42474" y="91200"/>
                </a:cubicBezTo>
                <a:cubicBezTo>
                  <a:pt x="42474" y="91200"/>
                  <a:pt x="41649" y="91854"/>
                  <a:pt x="42061" y="91854"/>
                </a:cubicBezTo>
                <a:cubicBezTo>
                  <a:pt x="42474" y="92072"/>
                  <a:pt x="42474" y="92072"/>
                  <a:pt x="42474" y="92072"/>
                </a:cubicBezTo>
                <a:cubicBezTo>
                  <a:pt x="42474" y="92072"/>
                  <a:pt x="41649" y="93163"/>
                  <a:pt x="41649" y="93381"/>
                </a:cubicBezTo>
                <a:cubicBezTo>
                  <a:pt x="41649" y="93381"/>
                  <a:pt x="40412" y="94690"/>
                  <a:pt x="40000" y="94690"/>
                </a:cubicBezTo>
                <a:cubicBezTo>
                  <a:pt x="39587" y="94909"/>
                  <a:pt x="40412" y="94909"/>
                  <a:pt x="37938" y="95345"/>
                </a:cubicBezTo>
                <a:cubicBezTo>
                  <a:pt x="35463" y="95563"/>
                  <a:pt x="34226" y="95781"/>
                  <a:pt x="34226" y="95781"/>
                </a:cubicBezTo>
                <a:cubicBezTo>
                  <a:pt x="32164" y="96218"/>
                  <a:pt x="32164" y="96218"/>
                  <a:pt x="32164" y="96218"/>
                </a:cubicBezTo>
                <a:cubicBezTo>
                  <a:pt x="30515" y="96872"/>
                  <a:pt x="30515" y="96872"/>
                  <a:pt x="30515" y="96872"/>
                </a:cubicBezTo>
                <a:cubicBezTo>
                  <a:pt x="29278" y="96872"/>
                  <a:pt x="29278" y="96872"/>
                  <a:pt x="29278" y="96872"/>
                </a:cubicBezTo>
                <a:cubicBezTo>
                  <a:pt x="27216" y="96654"/>
                  <a:pt x="27216" y="96654"/>
                  <a:pt x="27216" y="96654"/>
                </a:cubicBezTo>
                <a:cubicBezTo>
                  <a:pt x="27216" y="96654"/>
                  <a:pt x="25154" y="97309"/>
                  <a:pt x="25154" y="97527"/>
                </a:cubicBezTo>
                <a:cubicBezTo>
                  <a:pt x="25154" y="97527"/>
                  <a:pt x="23917" y="97745"/>
                  <a:pt x="23505" y="97963"/>
                </a:cubicBezTo>
                <a:cubicBezTo>
                  <a:pt x="23505" y="98181"/>
                  <a:pt x="25567" y="98618"/>
                  <a:pt x="25567" y="98618"/>
                </a:cubicBezTo>
                <a:cubicBezTo>
                  <a:pt x="25979" y="99272"/>
                  <a:pt x="25979" y="99272"/>
                  <a:pt x="25979" y="99272"/>
                </a:cubicBezTo>
                <a:cubicBezTo>
                  <a:pt x="25154" y="99272"/>
                  <a:pt x="25154" y="99272"/>
                  <a:pt x="25154" y="99272"/>
                </a:cubicBezTo>
                <a:cubicBezTo>
                  <a:pt x="23505" y="99490"/>
                  <a:pt x="23505" y="99490"/>
                  <a:pt x="23505" y="99490"/>
                </a:cubicBezTo>
                <a:cubicBezTo>
                  <a:pt x="23505" y="99927"/>
                  <a:pt x="23505" y="99927"/>
                  <a:pt x="23505" y="99927"/>
                </a:cubicBezTo>
                <a:cubicBezTo>
                  <a:pt x="24329" y="100145"/>
                  <a:pt x="24329" y="100145"/>
                  <a:pt x="24329" y="100145"/>
                </a:cubicBezTo>
                <a:cubicBezTo>
                  <a:pt x="24329" y="100145"/>
                  <a:pt x="24742" y="100363"/>
                  <a:pt x="25154" y="100363"/>
                </a:cubicBezTo>
                <a:cubicBezTo>
                  <a:pt x="25979" y="100363"/>
                  <a:pt x="27628" y="99927"/>
                  <a:pt x="27628" y="99927"/>
                </a:cubicBezTo>
                <a:cubicBezTo>
                  <a:pt x="25567" y="100581"/>
                  <a:pt x="25567" y="100581"/>
                  <a:pt x="25567" y="100581"/>
                </a:cubicBezTo>
                <a:cubicBezTo>
                  <a:pt x="25154" y="101236"/>
                  <a:pt x="25154" y="101236"/>
                  <a:pt x="25154" y="101236"/>
                </a:cubicBezTo>
                <a:cubicBezTo>
                  <a:pt x="25154" y="101236"/>
                  <a:pt x="24742" y="101672"/>
                  <a:pt x="25567" y="101672"/>
                </a:cubicBezTo>
                <a:cubicBezTo>
                  <a:pt x="26391" y="101672"/>
                  <a:pt x="27216" y="101672"/>
                  <a:pt x="27216" y="101672"/>
                </a:cubicBezTo>
                <a:cubicBezTo>
                  <a:pt x="27216" y="101672"/>
                  <a:pt x="27628" y="101236"/>
                  <a:pt x="28453" y="101236"/>
                </a:cubicBezTo>
                <a:cubicBezTo>
                  <a:pt x="29690" y="101454"/>
                  <a:pt x="29690" y="101454"/>
                  <a:pt x="29690" y="101454"/>
                </a:cubicBezTo>
                <a:cubicBezTo>
                  <a:pt x="29690" y="101454"/>
                  <a:pt x="30103" y="100800"/>
                  <a:pt x="30515" y="100800"/>
                </a:cubicBezTo>
                <a:cubicBezTo>
                  <a:pt x="30515" y="100800"/>
                  <a:pt x="30103" y="100800"/>
                  <a:pt x="31340" y="100800"/>
                </a:cubicBezTo>
                <a:cubicBezTo>
                  <a:pt x="32164" y="101018"/>
                  <a:pt x="35051" y="100800"/>
                  <a:pt x="35051" y="100800"/>
                </a:cubicBezTo>
                <a:cubicBezTo>
                  <a:pt x="35051" y="100800"/>
                  <a:pt x="35463" y="100800"/>
                  <a:pt x="35463" y="101018"/>
                </a:cubicBezTo>
                <a:cubicBezTo>
                  <a:pt x="35463" y="101454"/>
                  <a:pt x="36288" y="101454"/>
                  <a:pt x="36701" y="101890"/>
                </a:cubicBezTo>
                <a:cubicBezTo>
                  <a:pt x="37525" y="102109"/>
                  <a:pt x="39175" y="102327"/>
                  <a:pt x="39175" y="102327"/>
                </a:cubicBezTo>
                <a:cubicBezTo>
                  <a:pt x="37938" y="102545"/>
                  <a:pt x="37938" y="102545"/>
                  <a:pt x="37938" y="102545"/>
                </a:cubicBezTo>
                <a:cubicBezTo>
                  <a:pt x="36288" y="102327"/>
                  <a:pt x="36288" y="102327"/>
                  <a:pt x="36288" y="102327"/>
                </a:cubicBezTo>
                <a:cubicBezTo>
                  <a:pt x="36288" y="102327"/>
                  <a:pt x="35463" y="102109"/>
                  <a:pt x="35463" y="102327"/>
                </a:cubicBezTo>
                <a:cubicBezTo>
                  <a:pt x="35463" y="102763"/>
                  <a:pt x="35051" y="103418"/>
                  <a:pt x="35051" y="103418"/>
                </a:cubicBezTo>
                <a:cubicBezTo>
                  <a:pt x="35463" y="103418"/>
                  <a:pt x="37525" y="103636"/>
                  <a:pt x="37525" y="103636"/>
                </a:cubicBezTo>
                <a:cubicBezTo>
                  <a:pt x="39587" y="103636"/>
                  <a:pt x="39587" y="103636"/>
                  <a:pt x="39587" y="103636"/>
                </a:cubicBezTo>
                <a:cubicBezTo>
                  <a:pt x="40412" y="103418"/>
                  <a:pt x="40412" y="103418"/>
                  <a:pt x="40412" y="103418"/>
                </a:cubicBezTo>
                <a:cubicBezTo>
                  <a:pt x="41649" y="102981"/>
                  <a:pt x="41649" y="102981"/>
                  <a:pt x="41649" y="102981"/>
                </a:cubicBezTo>
                <a:cubicBezTo>
                  <a:pt x="41649" y="102981"/>
                  <a:pt x="42061" y="103418"/>
                  <a:pt x="41649" y="103418"/>
                </a:cubicBezTo>
                <a:cubicBezTo>
                  <a:pt x="41649" y="103636"/>
                  <a:pt x="42061" y="104072"/>
                  <a:pt x="42061" y="104072"/>
                </a:cubicBezTo>
                <a:cubicBezTo>
                  <a:pt x="42061" y="104072"/>
                  <a:pt x="42061" y="104727"/>
                  <a:pt x="42474" y="104727"/>
                </a:cubicBezTo>
                <a:cubicBezTo>
                  <a:pt x="42886" y="104727"/>
                  <a:pt x="43711" y="105381"/>
                  <a:pt x="43711" y="105381"/>
                </a:cubicBezTo>
                <a:cubicBezTo>
                  <a:pt x="44536" y="106036"/>
                  <a:pt x="44536" y="106036"/>
                  <a:pt x="44536" y="106036"/>
                </a:cubicBezTo>
                <a:cubicBezTo>
                  <a:pt x="46185" y="106254"/>
                  <a:pt x="46185" y="106254"/>
                  <a:pt x="46185" y="106254"/>
                </a:cubicBezTo>
                <a:cubicBezTo>
                  <a:pt x="46185" y="106254"/>
                  <a:pt x="47422" y="106254"/>
                  <a:pt x="47835" y="106254"/>
                </a:cubicBezTo>
                <a:cubicBezTo>
                  <a:pt x="48247" y="106472"/>
                  <a:pt x="49072" y="106690"/>
                  <a:pt x="49072" y="106472"/>
                </a:cubicBezTo>
                <a:cubicBezTo>
                  <a:pt x="49484" y="106254"/>
                  <a:pt x="50309" y="105818"/>
                  <a:pt x="50309" y="105818"/>
                </a:cubicBezTo>
                <a:cubicBezTo>
                  <a:pt x="51958" y="105163"/>
                  <a:pt x="51958" y="105163"/>
                  <a:pt x="51958" y="105163"/>
                </a:cubicBezTo>
                <a:cubicBezTo>
                  <a:pt x="51958" y="105163"/>
                  <a:pt x="52783" y="105163"/>
                  <a:pt x="53608" y="105163"/>
                </a:cubicBezTo>
                <a:cubicBezTo>
                  <a:pt x="54020" y="105163"/>
                  <a:pt x="56907" y="104945"/>
                  <a:pt x="56907" y="104945"/>
                </a:cubicBezTo>
                <a:cubicBezTo>
                  <a:pt x="56907" y="104945"/>
                  <a:pt x="57319" y="104509"/>
                  <a:pt x="58144" y="104290"/>
                </a:cubicBezTo>
                <a:cubicBezTo>
                  <a:pt x="58556" y="104072"/>
                  <a:pt x="60206" y="103636"/>
                  <a:pt x="60206" y="103636"/>
                </a:cubicBezTo>
                <a:cubicBezTo>
                  <a:pt x="63092" y="103200"/>
                  <a:pt x="63092" y="103200"/>
                  <a:pt x="63092" y="103200"/>
                </a:cubicBezTo>
                <a:cubicBezTo>
                  <a:pt x="60618" y="103636"/>
                  <a:pt x="60618" y="103636"/>
                  <a:pt x="60618" y="103636"/>
                </a:cubicBezTo>
                <a:cubicBezTo>
                  <a:pt x="59793" y="104072"/>
                  <a:pt x="59793" y="104072"/>
                  <a:pt x="59793" y="104072"/>
                </a:cubicBezTo>
                <a:cubicBezTo>
                  <a:pt x="58144" y="104727"/>
                  <a:pt x="58144" y="104727"/>
                  <a:pt x="58144" y="104727"/>
                </a:cubicBezTo>
                <a:cubicBezTo>
                  <a:pt x="57319" y="105163"/>
                  <a:pt x="57319" y="105163"/>
                  <a:pt x="57319" y="105163"/>
                </a:cubicBezTo>
                <a:cubicBezTo>
                  <a:pt x="57319" y="105163"/>
                  <a:pt x="56494" y="105381"/>
                  <a:pt x="56082" y="105600"/>
                </a:cubicBezTo>
                <a:cubicBezTo>
                  <a:pt x="56082" y="105600"/>
                  <a:pt x="54845" y="106690"/>
                  <a:pt x="54845" y="106690"/>
                </a:cubicBezTo>
                <a:cubicBezTo>
                  <a:pt x="53608" y="106909"/>
                  <a:pt x="53608" y="106909"/>
                  <a:pt x="53608" y="106909"/>
                </a:cubicBezTo>
                <a:cubicBezTo>
                  <a:pt x="53608" y="106909"/>
                  <a:pt x="52371" y="107345"/>
                  <a:pt x="51958" y="107781"/>
                </a:cubicBezTo>
                <a:cubicBezTo>
                  <a:pt x="51546" y="108000"/>
                  <a:pt x="51134" y="108218"/>
                  <a:pt x="51134" y="108218"/>
                </a:cubicBezTo>
                <a:cubicBezTo>
                  <a:pt x="51134" y="108218"/>
                  <a:pt x="51546" y="108654"/>
                  <a:pt x="49484" y="108654"/>
                </a:cubicBezTo>
                <a:cubicBezTo>
                  <a:pt x="47422" y="108436"/>
                  <a:pt x="45773" y="108218"/>
                  <a:pt x="45773" y="108218"/>
                </a:cubicBezTo>
                <a:cubicBezTo>
                  <a:pt x="45773" y="108218"/>
                  <a:pt x="43711" y="108000"/>
                  <a:pt x="43298" y="108000"/>
                </a:cubicBezTo>
                <a:cubicBezTo>
                  <a:pt x="42886" y="107781"/>
                  <a:pt x="42886" y="107781"/>
                  <a:pt x="41649" y="107781"/>
                </a:cubicBezTo>
                <a:cubicBezTo>
                  <a:pt x="40824" y="107781"/>
                  <a:pt x="36701" y="107127"/>
                  <a:pt x="36701" y="107127"/>
                </a:cubicBezTo>
                <a:cubicBezTo>
                  <a:pt x="36701" y="107127"/>
                  <a:pt x="35876" y="107127"/>
                  <a:pt x="35463" y="107345"/>
                </a:cubicBezTo>
                <a:cubicBezTo>
                  <a:pt x="35051" y="107563"/>
                  <a:pt x="34226" y="107563"/>
                  <a:pt x="34226" y="107781"/>
                </a:cubicBezTo>
                <a:cubicBezTo>
                  <a:pt x="34226" y="108218"/>
                  <a:pt x="34226" y="108436"/>
                  <a:pt x="34226" y="108436"/>
                </a:cubicBezTo>
                <a:cubicBezTo>
                  <a:pt x="33814" y="109090"/>
                  <a:pt x="33814" y="109090"/>
                  <a:pt x="33814" y="109090"/>
                </a:cubicBezTo>
                <a:cubicBezTo>
                  <a:pt x="32164" y="109309"/>
                  <a:pt x="32164" y="109309"/>
                  <a:pt x="32164" y="109309"/>
                </a:cubicBezTo>
                <a:cubicBezTo>
                  <a:pt x="30103" y="109309"/>
                  <a:pt x="30103" y="109309"/>
                  <a:pt x="30103" y="109309"/>
                </a:cubicBezTo>
                <a:close/>
                <a:moveTo>
                  <a:pt x="17731" y="58036"/>
                </a:moveTo>
                <a:cubicBezTo>
                  <a:pt x="17731" y="58036"/>
                  <a:pt x="17731" y="58036"/>
                  <a:pt x="17731" y="58036"/>
                </a:cubicBezTo>
                <a:cubicBezTo>
                  <a:pt x="18144" y="58036"/>
                  <a:pt x="20618" y="58036"/>
                  <a:pt x="20618" y="58036"/>
                </a:cubicBezTo>
                <a:cubicBezTo>
                  <a:pt x="22268" y="58036"/>
                  <a:pt x="22268" y="58036"/>
                  <a:pt x="22268" y="58036"/>
                </a:cubicBezTo>
                <a:cubicBezTo>
                  <a:pt x="22268" y="58036"/>
                  <a:pt x="24329" y="58036"/>
                  <a:pt x="24742" y="58036"/>
                </a:cubicBezTo>
                <a:cubicBezTo>
                  <a:pt x="25154" y="58036"/>
                  <a:pt x="25567" y="58254"/>
                  <a:pt x="25567" y="58254"/>
                </a:cubicBezTo>
                <a:cubicBezTo>
                  <a:pt x="25567" y="58254"/>
                  <a:pt x="26391" y="57818"/>
                  <a:pt x="26804" y="58036"/>
                </a:cubicBezTo>
                <a:cubicBezTo>
                  <a:pt x="27216" y="58036"/>
                  <a:pt x="28041" y="58690"/>
                  <a:pt x="28041" y="58690"/>
                </a:cubicBezTo>
                <a:cubicBezTo>
                  <a:pt x="28865" y="59781"/>
                  <a:pt x="28865" y="59781"/>
                  <a:pt x="28865" y="59781"/>
                </a:cubicBezTo>
                <a:cubicBezTo>
                  <a:pt x="29278" y="61090"/>
                  <a:pt x="29278" y="61090"/>
                  <a:pt x="29278" y="61090"/>
                </a:cubicBezTo>
                <a:cubicBezTo>
                  <a:pt x="29690" y="62181"/>
                  <a:pt x="29690" y="62181"/>
                  <a:pt x="29690" y="62181"/>
                </a:cubicBezTo>
                <a:cubicBezTo>
                  <a:pt x="31340" y="63272"/>
                  <a:pt x="31340" y="63272"/>
                  <a:pt x="31340" y="63272"/>
                </a:cubicBezTo>
                <a:cubicBezTo>
                  <a:pt x="30515" y="63927"/>
                  <a:pt x="30515" y="63927"/>
                  <a:pt x="30515" y="63927"/>
                </a:cubicBezTo>
                <a:cubicBezTo>
                  <a:pt x="30515" y="63927"/>
                  <a:pt x="30515" y="64800"/>
                  <a:pt x="30515" y="64800"/>
                </a:cubicBezTo>
                <a:cubicBezTo>
                  <a:pt x="30103" y="64800"/>
                  <a:pt x="28865" y="65018"/>
                  <a:pt x="28865" y="65018"/>
                </a:cubicBezTo>
                <a:cubicBezTo>
                  <a:pt x="28453" y="65236"/>
                  <a:pt x="28041" y="65890"/>
                  <a:pt x="28041" y="65890"/>
                </a:cubicBezTo>
                <a:cubicBezTo>
                  <a:pt x="28041" y="65890"/>
                  <a:pt x="29690" y="65018"/>
                  <a:pt x="30103" y="65236"/>
                </a:cubicBezTo>
                <a:cubicBezTo>
                  <a:pt x="30515" y="65236"/>
                  <a:pt x="31752" y="65236"/>
                  <a:pt x="31752" y="65236"/>
                </a:cubicBezTo>
                <a:cubicBezTo>
                  <a:pt x="32577" y="65672"/>
                  <a:pt x="32577" y="65672"/>
                  <a:pt x="32577" y="65672"/>
                </a:cubicBezTo>
                <a:cubicBezTo>
                  <a:pt x="33402" y="66545"/>
                  <a:pt x="33402" y="66545"/>
                  <a:pt x="33402" y="66545"/>
                </a:cubicBezTo>
                <a:cubicBezTo>
                  <a:pt x="33402" y="67636"/>
                  <a:pt x="33402" y="67636"/>
                  <a:pt x="33402" y="67636"/>
                </a:cubicBezTo>
                <a:cubicBezTo>
                  <a:pt x="33402" y="67636"/>
                  <a:pt x="33402" y="68509"/>
                  <a:pt x="32989" y="68509"/>
                </a:cubicBezTo>
                <a:cubicBezTo>
                  <a:pt x="32989" y="68727"/>
                  <a:pt x="32577" y="68945"/>
                  <a:pt x="32164" y="68945"/>
                </a:cubicBezTo>
                <a:cubicBezTo>
                  <a:pt x="31752" y="68945"/>
                  <a:pt x="31340" y="68945"/>
                  <a:pt x="31752" y="68509"/>
                </a:cubicBezTo>
                <a:cubicBezTo>
                  <a:pt x="31752" y="68072"/>
                  <a:pt x="32164" y="67636"/>
                  <a:pt x="32164" y="67636"/>
                </a:cubicBezTo>
                <a:cubicBezTo>
                  <a:pt x="32164" y="67418"/>
                  <a:pt x="32577" y="66545"/>
                  <a:pt x="32164" y="66545"/>
                </a:cubicBezTo>
                <a:cubicBezTo>
                  <a:pt x="31340" y="66545"/>
                  <a:pt x="30927" y="66109"/>
                  <a:pt x="30927" y="66545"/>
                </a:cubicBezTo>
                <a:cubicBezTo>
                  <a:pt x="30515" y="66763"/>
                  <a:pt x="30927" y="67636"/>
                  <a:pt x="30927" y="67636"/>
                </a:cubicBezTo>
                <a:cubicBezTo>
                  <a:pt x="30927" y="67636"/>
                  <a:pt x="31340" y="67854"/>
                  <a:pt x="31340" y="68072"/>
                </a:cubicBezTo>
                <a:cubicBezTo>
                  <a:pt x="30927" y="68290"/>
                  <a:pt x="30927" y="68072"/>
                  <a:pt x="30515" y="68509"/>
                </a:cubicBezTo>
                <a:cubicBezTo>
                  <a:pt x="29690" y="68727"/>
                  <a:pt x="30927" y="68945"/>
                  <a:pt x="30927" y="68945"/>
                </a:cubicBezTo>
                <a:cubicBezTo>
                  <a:pt x="31340" y="69381"/>
                  <a:pt x="31340" y="69381"/>
                  <a:pt x="31340" y="69381"/>
                </a:cubicBezTo>
                <a:cubicBezTo>
                  <a:pt x="31340" y="69381"/>
                  <a:pt x="31340" y="70036"/>
                  <a:pt x="30927" y="70036"/>
                </a:cubicBezTo>
                <a:cubicBezTo>
                  <a:pt x="30515" y="70254"/>
                  <a:pt x="30515" y="70472"/>
                  <a:pt x="28865" y="70036"/>
                </a:cubicBezTo>
                <a:cubicBezTo>
                  <a:pt x="27216" y="69818"/>
                  <a:pt x="26804" y="69600"/>
                  <a:pt x="26804" y="69600"/>
                </a:cubicBezTo>
                <a:cubicBezTo>
                  <a:pt x="26391" y="70690"/>
                  <a:pt x="26391" y="70690"/>
                  <a:pt x="26391" y="70690"/>
                </a:cubicBezTo>
                <a:cubicBezTo>
                  <a:pt x="25567" y="71563"/>
                  <a:pt x="25567" y="71563"/>
                  <a:pt x="25567" y="71563"/>
                </a:cubicBezTo>
                <a:cubicBezTo>
                  <a:pt x="22680" y="72000"/>
                  <a:pt x="22680" y="72000"/>
                  <a:pt x="22680" y="72000"/>
                </a:cubicBezTo>
                <a:cubicBezTo>
                  <a:pt x="21030" y="70909"/>
                  <a:pt x="21030" y="70909"/>
                  <a:pt x="21030" y="70909"/>
                </a:cubicBezTo>
                <a:cubicBezTo>
                  <a:pt x="21030" y="70909"/>
                  <a:pt x="19793" y="71127"/>
                  <a:pt x="19381" y="71127"/>
                </a:cubicBezTo>
                <a:cubicBezTo>
                  <a:pt x="18969" y="70909"/>
                  <a:pt x="16907" y="70690"/>
                  <a:pt x="16907" y="70690"/>
                </a:cubicBezTo>
                <a:cubicBezTo>
                  <a:pt x="16494" y="69600"/>
                  <a:pt x="16494" y="69600"/>
                  <a:pt x="16494" y="69600"/>
                </a:cubicBezTo>
                <a:cubicBezTo>
                  <a:pt x="14432" y="68509"/>
                  <a:pt x="14432" y="68509"/>
                  <a:pt x="14432" y="68509"/>
                </a:cubicBezTo>
                <a:cubicBezTo>
                  <a:pt x="14845" y="67636"/>
                  <a:pt x="14845" y="67636"/>
                  <a:pt x="14845" y="67636"/>
                </a:cubicBezTo>
                <a:cubicBezTo>
                  <a:pt x="13608" y="66327"/>
                  <a:pt x="13608" y="66327"/>
                  <a:pt x="13608" y="66327"/>
                </a:cubicBezTo>
                <a:cubicBezTo>
                  <a:pt x="11134" y="66545"/>
                  <a:pt x="11134" y="66545"/>
                  <a:pt x="11134" y="66545"/>
                </a:cubicBezTo>
                <a:cubicBezTo>
                  <a:pt x="10309" y="67636"/>
                  <a:pt x="10309" y="67636"/>
                  <a:pt x="10309" y="67636"/>
                </a:cubicBezTo>
                <a:cubicBezTo>
                  <a:pt x="10309" y="67636"/>
                  <a:pt x="11134" y="68072"/>
                  <a:pt x="10309" y="68290"/>
                </a:cubicBezTo>
                <a:cubicBezTo>
                  <a:pt x="9484" y="68290"/>
                  <a:pt x="7835" y="68509"/>
                  <a:pt x="7835" y="68509"/>
                </a:cubicBezTo>
                <a:cubicBezTo>
                  <a:pt x="7835" y="68509"/>
                  <a:pt x="5773" y="68727"/>
                  <a:pt x="5360" y="68727"/>
                </a:cubicBezTo>
                <a:cubicBezTo>
                  <a:pt x="5360" y="68727"/>
                  <a:pt x="3711" y="67418"/>
                  <a:pt x="3711" y="67418"/>
                </a:cubicBezTo>
                <a:cubicBezTo>
                  <a:pt x="3711" y="67418"/>
                  <a:pt x="2886" y="67418"/>
                  <a:pt x="2474" y="67418"/>
                </a:cubicBezTo>
                <a:cubicBezTo>
                  <a:pt x="2061" y="67418"/>
                  <a:pt x="2061" y="67636"/>
                  <a:pt x="2061" y="67200"/>
                </a:cubicBezTo>
                <a:cubicBezTo>
                  <a:pt x="2061" y="66763"/>
                  <a:pt x="1649" y="66109"/>
                  <a:pt x="1649" y="66109"/>
                </a:cubicBezTo>
                <a:cubicBezTo>
                  <a:pt x="1649" y="66109"/>
                  <a:pt x="2886" y="66763"/>
                  <a:pt x="1649" y="65890"/>
                </a:cubicBezTo>
                <a:cubicBezTo>
                  <a:pt x="412" y="65018"/>
                  <a:pt x="0" y="64145"/>
                  <a:pt x="0" y="64145"/>
                </a:cubicBezTo>
                <a:cubicBezTo>
                  <a:pt x="2061" y="63490"/>
                  <a:pt x="2061" y="63490"/>
                  <a:pt x="2061" y="63490"/>
                </a:cubicBezTo>
                <a:cubicBezTo>
                  <a:pt x="2061" y="63490"/>
                  <a:pt x="4123" y="63490"/>
                  <a:pt x="4536" y="63709"/>
                </a:cubicBezTo>
                <a:cubicBezTo>
                  <a:pt x="4948" y="63709"/>
                  <a:pt x="5360" y="63272"/>
                  <a:pt x="5360" y="63272"/>
                </a:cubicBezTo>
                <a:cubicBezTo>
                  <a:pt x="5360" y="63272"/>
                  <a:pt x="6185" y="62836"/>
                  <a:pt x="5360" y="62618"/>
                </a:cubicBezTo>
                <a:cubicBezTo>
                  <a:pt x="4948" y="62618"/>
                  <a:pt x="4123" y="62181"/>
                  <a:pt x="4123" y="62181"/>
                </a:cubicBezTo>
                <a:cubicBezTo>
                  <a:pt x="4123" y="62181"/>
                  <a:pt x="3298" y="61745"/>
                  <a:pt x="4536" y="61527"/>
                </a:cubicBezTo>
                <a:cubicBezTo>
                  <a:pt x="5773" y="61527"/>
                  <a:pt x="5773" y="61527"/>
                  <a:pt x="6597" y="61527"/>
                </a:cubicBezTo>
                <a:cubicBezTo>
                  <a:pt x="7422" y="61745"/>
                  <a:pt x="7835" y="62400"/>
                  <a:pt x="8247" y="61527"/>
                </a:cubicBezTo>
                <a:cubicBezTo>
                  <a:pt x="8659" y="60872"/>
                  <a:pt x="7835" y="60872"/>
                  <a:pt x="9072" y="60654"/>
                </a:cubicBezTo>
                <a:cubicBezTo>
                  <a:pt x="10309" y="60654"/>
                  <a:pt x="11134" y="60436"/>
                  <a:pt x="11134" y="60218"/>
                </a:cubicBezTo>
                <a:cubicBezTo>
                  <a:pt x="11134" y="60000"/>
                  <a:pt x="11134" y="59127"/>
                  <a:pt x="11546" y="59127"/>
                </a:cubicBezTo>
                <a:cubicBezTo>
                  <a:pt x="11958" y="59127"/>
                  <a:pt x="14020" y="59345"/>
                  <a:pt x="14020" y="59345"/>
                </a:cubicBezTo>
                <a:cubicBezTo>
                  <a:pt x="14020" y="59345"/>
                  <a:pt x="14845" y="58909"/>
                  <a:pt x="15670" y="59127"/>
                </a:cubicBezTo>
                <a:cubicBezTo>
                  <a:pt x="16494" y="59127"/>
                  <a:pt x="16907" y="58909"/>
                  <a:pt x="16907" y="58909"/>
                </a:cubicBezTo>
                <a:cubicBezTo>
                  <a:pt x="16907" y="58909"/>
                  <a:pt x="17731" y="58036"/>
                  <a:pt x="17731" y="58036"/>
                </a:cubicBezTo>
                <a:close/>
                <a:moveTo>
                  <a:pt x="30515" y="49527"/>
                </a:moveTo>
                <a:cubicBezTo>
                  <a:pt x="30515" y="49527"/>
                  <a:pt x="30515" y="49527"/>
                  <a:pt x="30515" y="49527"/>
                </a:cubicBezTo>
                <a:cubicBezTo>
                  <a:pt x="30515" y="49527"/>
                  <a:pt x="30103" y="48872"/>
                  <a:pt x="30515" y="48872"/>
                </a:cubicBezTo>
                <a:cubicBezTo>
                  <a:pt x="30927" y="48872"/>
                  <a:pt x="32164" y="48654"/>
                  <a:pt x="32164" y="48654"/>
                </a:cubicBezTo>
                <a:cubicBezTo>
                  <a:pt x="32164" y="48654"/>
                  <a:pt x="32577" y="48218"/>
                  <a:pt x="32577" y="48436"/>
                </a:cubicBezTo>
                <a:cubicBezTo>
                  <a:pt x="32989" y="48436"/>
                  <a:pt x="32989" y="48872"/>
                  <a:pt x="32577" y="48872"/>
                </a:cubicBezTo>
                <a:cubicBezTo>
                  <a:pt x="32577" y="48872"/>
                  <a:pt x="31752" y="49309"/>
                  <a:pt x="31752" y="49309"/>
                </a:cubicBezTo>
                <a:cubicBezTo>
                  <a:pt x="31752" y="49309"/>
                  <a:pt x="30927" y="49527"/>
                  <a:pt x="30927" y="49527"/>
                </a:cubicBezTo>
                <a:cubicBezTo>
                  <a:pt x="30515" y="49527"/>
                  <a:pt x="30515" y="49527"/>
                  <a:pt x="30515" y="49527"/>
                </a:cubicBezTo>
                <a:close/>
                <a:moveTo>
                  <a:pt x="35876" y="54109"/>
                </a:moveTo>
                <a:cubicBezTo>
                  <a:pt x="35876" y="54109"/>
                  <a:pt x="35876" y="54109"/>
                  <a:pt x="35876" y="54109"/>
                </a:cubicBezTo>
                <a:cubicBezTo>
                  <a:pt x="35876" y="54109"/>
                  <a:pt x="35876" y="54327"/>
                  <a:pt x="35463" y="54327"/>
                </a:cubicBezTo>
                <a:cubicBezTo>
                  <a:pt x="35051" y="54327"/>
                  <a:pt x="34226" y="54327"/>
                  <a:pt x="34226" y="54109"/>
                </a:cubicBezTo>
                <a:cubicBezTo>
                  <a:pt x="34226" y="54109"/>
                  <a:pt x="34639" y="53672"/>
                  <a:pt x="35051" y="53672"/>
                </a:cubicBezTo>
                <a:cubicBezTo>
                  <a:pt x="35051" y="53672"/>
                  <a:pt x="35463" y="53454"/>
                  <a:pt x="35463" y="53454"/>
                </a:cubicBezTo>
                <a:cubicBezTo>
                  <a:pt x="35463" y="53454"/>
                  <a:pt x="35463" y="53236"/>
                  <a:pt x="35463" y="53236"/>
                </a:cubicBezTo>
                <a:cubicBezTo>
                  <a:pt x="35876" y="53236"/>
                  <a:pt x="36288" y="53672"/>
                  <a:pt x="36288" y="53672"/>
                </a:cubicBezTo>
                <a:cubicBezTo>
                  <a:pt x="35876" y="54109"/>
                  <a:pt x="35876" y="54109"/>
                  <a:pt x="35876" y="54109"/>
                </a:cubicBezTo>
                <a:close/>
                <a:moveTo>
                  <a:pt x="39175" y="55636"/>
                </a:moveTo>
                <a:cubicBezTo>
                  <a:pt x="39175" y="55636"/>
                  <a:pt x="39175" y="55636"/>
                  <a:pt x="39175" y="55636"/>
                </a:cubicBezTo>
                <a:cubicBezTo>
                  <a:pt x="39175" y="55418"/>
                  <a:pt x="40000" y="54981"/>
                  <a:pt x="40000" y="54763"/>
                </a:cubicBezTo>
                <a:cubicBezTo>
                  <a:pt x="40412" y="54763"/>
                  <a:pt x="40412" y="54545"/>
                  <a:pt x="40412" y="54545"/>
                </a:cubicBezTo>
                <a:cubicBezTo>
                  <a:pt x="40824" y="54327"/>
                  <a:pt x="41237" y="54327"/>
                  <a:pt x="41649" y="54327"/>
                </a:cubicBezTo>
                <a:cubicBezTo>
                  <a:pt x="42474" y="54545"/>
                  <a:pt x="43298" y="54981"/>
                  <a:pt x="42886" y="54981"/>
                </a:cubicBezTo>
                <a:cubicBezTo>
                  <a:pt x="42886" y="55200"/>
                  <a:pt x="42474" y="54981"/>
                  <a:pt x="42474" y="55636"/>
                </a:cubicBezTo>
                <a:cubicBezTo>
                  <a:pt x="42474" y="56290"/>
                  <a:pt x="42474" y="56290"/>
                  <a:pt x="42474" y="56509"/>
                </a:cubicBezTo>
                <a:cubicBezTo>
                  <a:pt x="42886" y="56727"/>
                  <a:pt x="42474" y="57381"/>
                  <a:pt x="42474" y="57381"/>
                </a:cubicBezTo>
                <a:cubicBezTo>
                  <a:pt x="42474" y="57381"/>
                  <a:pt x="42061" y="57818"/>
                  <a:pt x="41649" y="57818"/>
                </a:cubicBezTo>
                <a:cubicBezTo>
                  <a:pt x="41649" y="57818"/>
                  <a:pt x="41649" y="57818"/>
                  <a:pt x="40824" y="57600"/>
                </a:cubicBezTo>
                <a:cubicBezTo>
                  <a:pt x="40412" y="57600"/>
                  <a:pt x="39175" y="57163"/>
                  <a:pt x="39175" y="57163"/>
                </a:cubicBezTo>
                <a:cubicBezTo>
                  <a:pt x="39175" y="57163"/>
                  <a:pt x="39175" y="56072"/>
                  <a:pt x="39175" y="56072"/>
                </a:cubicBezTo>
                <a:cubicBezTo>
                  <a:pt x="39175" y="55854"/>
                  <a:pt x="38762" y="55636"/>
                  <a:pt x="38762" y="55636"/>
                </a:cubicBezTo>
                <a:cubicBezTo>
                  <a:pt x="39175" y="55636"/>
                  <a:pt x="39175" y="55636"/>
                  <a:pt x="39175" y="55636"/>
                </a:cubicBezTo>
                <a:close/>
                <a:moveTo>
                  <a:pt x="30515" y="45818"/>
                </a:moveTo>
                <a:cubicBezTo>
                  <a:pt x="30515" y="45818"/>
                  <a:pt x="30515" y="45818"/>
                  <a:pt x="30515" y="45818"/>
                </a:cubicBezTo>
                <a:cubicBezTo>
                  <a:pt x="30515" y="45818"/>
                  <a:pt x="30515" y="45600"/>
                  <a:pt x="31340" y="45600"/>
                </a:cubicBezTo>
                <a:cubicBezTo>
                  <a:pt x="31752" y="45818"/>
                  <a:pt x="31752" y="46036"/>
                  <a:pt x="31752" y="46254"/>
                </a:cubicBezTo>
                <a:cubicBezTo>
                  <a:pt x="31752" y="46472"/>
                  <a:pt x="32989" y="46472"/>
                  <a:pt x="32577" y="46690"/>
                </a:cubicBezTo>
                <a:cubicBezTo>
                  <a:pt x="31752" y="46909"/>
                  <a:pt x="31340" y="46909"/>
                  <a:pt x="31340" y="46909"/>
                </a:cubicBezTo>
                <a:cubicBezTo>
                  <a:pt x="31340" y="46690"/>
                  <a:pt x="30927" y="46909"/>
                  <a:pt x="30927" y="46690"/>
                </a:cubicBezTo>
                <a:cubicBezTo>
                  <a:pt x="30927" y="46472"/>
                  <a:pt x="30103" y="46254"/>
                  <a:pt x="30103" y="46254"/>
                </a:cubicBezTo>
                <a:cubicBezTo>
                  <a:pt x="30103" y="46254"/>
                  <a:pt x="30515" y="45818"/>
                  <a:pt x="30515" y="45818"/>
                </a:cubicBezTo>
                <a:close/>
                <a:moveTo>
                  <a:pt x="25154" y="42763"/>
                </a:moveTo>
                <a:cubicBezTo>
                  <a:pt x="25154" y="42763"/>
                  <a:pt x="25154" y="42763"/>
                  <a:pt x="25154" y="42763"/>
                </a:cubicBezTo>
                <a:cubicBezTo>
                  <a:pt x="25979" y="42981"/>
                  <a:pt x="26391" y="42763"/>
                  <a:pt x="26391" y="42981"/>
                </a:cubicBezTo>
                <a:cubicBezTo>
                  <a:pt x="26804" y="42981"/>
                  <a:pt x="27216" y="43200"/>
                  <a:pt x="26804" y="43418"/>
                </a:cubicBezTo>
                <a:cubicBezTo>
                  <a:pt x="25979" y="43636"/>
                  <a:pt x="25979" y="43636"/>
                  <a:pt x="25154" y="43636"/>
                </a:cubicBezTo>
                <a:cubicBezTo>
                  <a:pt x="24742" y="43636"/>
                  <a:pt x="25567" y="43636"/>
                  <a:pt x="24742" y="43636"/>
                </a:cubicBezTo>
                <a:cubicBezTo>
                  <a:pt x="23917" y="43636"/>
                  <a:pt x="22680" y="44072"/>
                  <a:pt x="23505" y="43418"/>
                </a:cubicBezTo>
                <a:cubicBezTo>
                  <a:pt x="24329" y="42981"/>
                  <a:pt x="25154" y="42763"/>
                  <a:pt x="25154" y="42763"/>
                </a:cubicBezTo>
                <a:close/>
                <a:moveTo>
                  <a:pt x="29690" y="41672"/>
                </a:moveTo>
                <a:cubicBezTo>
                  <a:pt x="29690" y="41672"/>
                  <a:pt x="29690" y="41672"/>
                  <a:pt x="29690" y="41672"/>
                </a:cubicBezTo>
                <a:cubicBezTo>
                  <a:pt x="30103" y="41672"/>
                  <a:pt x="30515" y="41236"/>
                  <a:pt x="30927" y="41454"/>
                </a:cubicBezTo>
                <a:cubicBezTo>
                  <a:pt x="31340" y="41672"/>
                  <a:pt x="32164" y="41890"/>
                  <a:pt x="31340" y="42109"/>
                </a:cubicBezTo>
                <a:cubicBezTo>
                  <a:pt x="30515" y="42327"/>
                  <a:pt x="30515" y="42327"/>
                  <a:pt x="30103" y="42545"/>
                </a:cubicBezTo>
                <a:cubicBezTo>
                  <a:pt x="29278" y="42763"/>
                  <a:pt x="28453" y="42981"/>
                  <a:pt x="28041" y="42981"/>
                </a:cubicBezTo>
                <a:cubicBezTo>
                  <a:pt x="27628" y="42981"/>
                  <a:pt x="27216" y="42545"/>
                  <a:pt x="27628" y="42545"/>
                </a:cubicBezTo>
                <a:cubicBezTo>
                  <a:pt x="28041" y="42545"/>
                  <a:pt x="28453" y="42327"/>
                  <a:pt x="28865" y="42327"/>
                </a:cubicBezTo>
                <a:cubicBezTo>
                  <a:pt x="28865" y="42109"/>
                  <a:pt x="29690" y="41672"/>
                  <a:pt x="29690" y="41672"/>
                </a:cubicBezTo>
                <a:close/>
                <a:moveTo>
                  <a:pt x="32164" y="37309"/>
                </a:moveTo>
                <a:cubicBezTo>
                  <a:pt x="32164" y="37309"/>
                  <a:pt x="32164" y="37309"/>
                  <a:pt x="32164" y="37309"/>
                </a:cubicBezTo>
                <a:cubicBezTo>
                  <a:pt x="32164" y="37309"/>
                  <a:pt x="32164" y="36654"/>
                  <a:pt x="32577" y="36872"/>
                </a:cubicBezTo>
                <a:cubicBezTo>
                  <a:pt x="33402" y="36872"/>
                  <a:pt x="33402" y="36872"/>
                  <a:pt x="33402" y="37090"/>
                </a:cubicBezTo>
                <a:cubicBezTo>
                  <a:pt x="33402" y="37309"/>
                  <a:pt x="34226" y="37090"/>
                  <a:pt x="33402" y="37309"/>
                </a:cubicBezTo>
                <a:cubicBezTo>
                  <a:pt x="32989" y="37309"/>
                  <a:pt x="32164" y="37309"/>
                  <a:pt x="32164" y="37309"/>
                </a:cubicBezTo>
                <a:close/>
                <a:moveTo>
                  <a:pt x="35876" y="39490"/>
                </a:moveTo>
                <a:cubicBezTo>
                  <a:pt x="35876" y="39490"/>
                  <a:pt x="35876" y="39490"/>
                  <a:pt x="35876" y="39490"/>
                </a:cubicBezTo>
                <a:cubicBezTo>
                  <a:pt x="35876" y="39490"/>
                  <a:pt x="36288" y="39054"/>
                  <a:pt x="36701" y="39054"/>
                </a:cubicBezTo>
                <a:cubicBezTo>
                  <a:pt x="36701" y="39054"/>
                  <a:pt x="37113" y="39054"/>
                  <a:pt x="37113" y="39272"/>
                </a:cubicBezTo>
                <a:cubicBezTo>
                  <a:pt x="37113" y="39490"/>
                  <a:pt x="37113" y="39927"/>
                  <a:pt x="36701" y="39927"/>
                </a:cubicBezTo>
                <a:cubicBezTo>
                  <a:pt x="36288" y="39927"/>
                  <a:pt x="36288" y="40145"/>
                  <a:pt x="35876" y="39927"/>
                </a:cubicBezTo>
                <a:cubicBezTo>
                  <a:pt x="35463" y="39927"/>
                  <a:pt x="35876" y="39490"/>
                  <a:pt x="35876" y="39490"/>
                </a:cubicBezTo>
                <a:close/>
                <a:moveTo>
                  <a:pt x="33814" y="38618"/>
                </a:moveTo>
                <a:cubicBezTo>
                  <a:pt x="33814" y="38618"/>
                  <a:pt x="33814" y="38618"/>
                  <a:pt x="33814" y="38618"/>
                </a:cubicBezTo>
                <a:cubicBezTo>
                  <a:pt x="33814" y="38618"/>
                  <a:pt x="33402" y="37745"/>
                  <a:pt x="34226" y="37745"/>
                </a:cubicBezTo>
                <a:cubicBezTo>
                  <a:pt x="35051" y="37527"/>
                  <a:pt x="35463" y="37527"/>
                  <a:pt x="35463" y="37527"/>
                </a:cubicBezTo>
                <a:cubicBezTo>
                  <a:pt x="35463" y="37527"/>
                  <a:pt x="36701" y="38400"/>
                  <a:pt x="36701" y="38400"/>
                </a:cubicBezTo>
                <a:cubicBezTo>
                  <a:pt x="36288" y="38618"/>
                  <a:pt x="36288" y="38836"/>
                  <a:pt x="35463" y="38836"/>
                </a:cubicBezTo>
                <a:cubicBezTo>
                  <a:pt x="35051" y="38836"/>
                  <a:pt x="34639" y="39054"/>
                  <a:pt x="34639" y="38836"/>
                </a:cubicBezTo>
                <a:cubicBezTo>
                  <a:pt x="34226" y="38618"/>
                  <a:pt x="33814" y="38618"/>
                  <a:pt x="33814" y="38618"/>
                </a:cubicBezTo>
                <a:close/>
                <a:moveTo>
                  <a:pt x="18556" y="37963"/>
                </a:moveTo>
                <a:cubicBezTo>
                  <a:pt x="18556" y="37963"/>
                  <a:pt x="18556" y="37963"/>
                  <a:pt x="18556" y="37963"/>
                </a:cubicBezTo>
                <a:cubicBezTo>
                  <a:pt x="18969" y="37963"/>
                  <a:pt x="18969" y="37745"/>
                  <a:pt x="18969" y="38181"/>
                </a:cubicBezTo>
                <a:cubicBezTo>
                  <a:pt x="18969" y="38400"/>
                  <a:pt x="18969" y="38618"/>
                  <a:pt x="18969" y="38618"/>
                </a:cubicBezTo>
                <a:cubicBezTo>
                  <a:pt x="18969" y="38618"/>
                  <a:pt x="18556" y="39054"/>
                  <a:pt x="18144" y="38836"/>
                </a:cubicBezTo>
                <a:cubicBezTo>
                  <a:pt x="17731" y="38618"/>
                  <a:pt x="17731" y="38400"/>
                  <a:pt x="17731" y="38400"/>
                </a:cubicBezTo>
                <a:cubicBezTo>
                  <a:pt x="18556" y="37963"/>
                  <a:pt x="18556" y="37963"/>
                  <a:pt x="18556" y="37963"/>
                </a:cubicBezTo>
                <a:close/>
                <a:moveTo>
                  <a:pt x="21855" y="35781"/>
                </a:moveTo>
                <a:cubicBezTo>
                  <a:pt x="21855" y="35781"/>
                  <a:pt x="21855" y="35781"/>
                  <a:pt x="21855" y="35781"/>
                </a:cubicBezTo>
                <a:cubicBezTo>
                  <a:pt x="22268" y="36000"/>
                  <a:pt x="23092" y="36436"/>
                  <a:pt x="23092" y="36436"/>
                </a:cubicBezTo>
                <a:cubicBezTo>
                  <a:pt x="21855" y="37090"/>
                  <a:pt x="21855" y="37090"/>
                  <a:pt x="21855" y="37090"/>
                </a:cubicBezTo>
                <a:cubicBezTo>
                  <a:pt x="21855" y="37090"/>
                  <a:pt x="20618" y="37309"/>
                  <a:pt x="20618" y="37527"/>
                </a:cubicBezTo>
                <a:cubicBezTo>
                  <a:pt x="20206" y="37527"/>
                  <a:pt x="21030" y="38181"/>
                  <a:pt x="20206" y="37963"/>
                </a:cubicBezTo>
                <a:cubicBezTo>
                  <a:pt x="19381" y="37745"/>
                  <a:pt x="18969" y="37309"/>
                  <a:pt x="19381" y="37309"/>
                </a:cubicBezTo>
                <a:cubicBezTo>
                  <a:pt x="19793" y="37090"/>
                  <a:pt x="19793" y="37090"/>
                  <a:pt x="20206" y="36872"/>
                </a:cubicBezTo>
                <a:cubicBezTo>
                  <a:pt x="20618" y="36654"/>
                  <a:pt x="21443" y="36000"/>
                  <a:pt x="21443" y="36000"/>
                </a:cubicBezTo>
                <a:cubicBezTo>
                  <a:pt x="21855" y="35781"/>
                  <a:pt x="21855" y="35781"/>
                  <a:pt x="21855" y="35781"/>
                </a:cubicBezTo>
                <a:close/>
                <a:moveTo>
                  <a:pt x="23917" y="32727"/>
                </a:moveTo>
                <a:cubicBezTo>
                  <a:pt x="23917" y="32727"/>
                  <a:pt x="23917" y="32727"/>
                  <a:pt x="23917" y="32727"/>
                </a:cubicBezTo>
                <a:cubicBezTo>
                  <a:pt x="23917" y="32727"/>
                  <a:pt x="24742" y="32727"/>
                  <a:pt x="25154" y="32945"/>
                </a:cubicBezTo>
                <a:cubicBezTo>
                  <a:pt x="25154" y="32945"/>
                  <a:pt x="25567" y="33600"/>
                  <a:pt x="25567" y="33600"/>
                </a:cubicBezTo>
                <a:cubicBezTo>
                  <a:pt x="25567" y="33600"/>
                  <a:pt x="25979" y="33818"/>
                  <a:pt x="25567" y="34036"/>
                </a:cubicBezTo>
                <a:cubicBezTo>
                  <a:pt x="25154" y="34254"/>
                  <a:pt x="24329" y="34472"/>
                  <a:pt x="24329" y="34472"/>
                </a:cubicBezTo>
                <a:cubicBezTo>
                  <a:pt x="24329" y="35563"/>
                  <a:pt x="24329" y="35563"/>
                  <a:pt x="24329" y="35563"/>
                </a:cubicBezTo>
                <a:cubicBezTo>
                  <a:pt x="23917" y="36000"/>
                  <a:pt x="23917" y="36000"/>
                  <a:pt x="23917" y="36000"/>
                </a:cubicBezTo>
                <a:cubicBezTo>
                  <a:pt x="22680" y="35781"/>
                  <a:pt x="22680" y="35781"/>
                  <a:pt x="22680" y="35781"/>
                </a:cubicBezTo>
                <a:cubicBezTo>
                  <a:pt x="22680" y="34472"/>
                  <a:pt x="22680" y="34472"/>
                  <a:pt x="22680" y="34472"/>
                </a:cubicBezTo>
                <a:cubicBezTo>
                  <a:pt x="22268" y="33818"/>
                  <a:pt x="22268" y="33818"/>
                  <a:pt x="22268" y="33818"/>
                </a:cubicBezTo>
                <a:cubicBezTo>
                  <a:pt x="23505" y="33163"/>
                  <a:pt x="23505" y="33163"/>
                  <a:pt x="23505" y="33163"/>
                </a:cubicBezTo>
                <a:cubicBezTo>
                  <a:pt x="23917" y="32727"/>
                  <a:pt x="23917" y="32727"/>
                  <a:pt x="23917" y="32727"/>
                </a:cubicBezTo>
                <a:close/>
                <a:moveTo>
                  <a:pt x="24742" y="30981"/>
                </a:moveTo>
                <a:cubicBezTo>
                  <a:pt x="24742" y="30981"/>
                  <a:pt x="24742" y="30981"/>
                  <a:pt x="24742" y="30981"/>
                </a:cubicBezTo>
                <a:cubicBezTo>
                  <a:pt x="24742" y="30981"/>
                  <a:pt x="25567" y="30763"/>
                  <a:pt x="25979" y="30981"/>
                </a:cubicBezTo>
                <a:cubicBezTo>
                  <a:pt x="26391" y="31200"/>
                  <a:pt x="26391" y="30763"/>
                  <a:pt x="26804" y="31200"/>
                </a:cubicBezTo>
                <a:cubicBezTo>
                  <a:pt x="27216" y="31636"/>
                  <a:pt x="27628" y="31636"/>
                  <a:pt x="27216" y="31854"/>
                </a:cubicBezTo>
                <a:cubicBezTo>
                  <a:pt x="27216" y="32072"/>
                  <a:pt x="27216" y="32290"/>
                  <a:pt x="26804" y="32509"/>
                </a:cubicBezTo>
                <a:cubicBezTo>
                  <a:pt x="26391" y="32727"/>
                  <a:pt x="26804" y="32945"/>
                  <a:pt x="25979" y="32727"/>
                </a:cubicBezTo>
                <a:cubicBezTo>
                  <a:pt x="25154" y="32509"/>
                  <a:pt x="25154" y="32509"/>
                  <a:pt x="24742" y="32290"/>
                </a:cubicBezTo>
                <a:cubicBezTo>
                  <a:pt x="24329" y="32072"/>
                  <a:pt x="24329" y="32072"/>
                  <a:pt x="24329" y="32072"/>
                </a:cubicBezTo>
                <a:cubicBezTo>
                  <a:pt x="24742" y="30981"/>
                  <a:pt x="24742" y="30981"/>
                  <a:pt x="24742" y="30981"/>
                </a:cubicBezTo>
                <a:close/>
                <a:moveTo>
                  <a:pt x="28453" y="28800"/>
                </a:moveTo>
                <a:cubicBezTo>
                  <a:pt x="28453" y="28800"/>
                  <a:pt x="28453" y="28800"/>
                  <a:pt x="28453" y="28800"/>
                </a:cubicBezTo>
                <a:cubicBezTo>
                  <a:pt x="28453" y="28800"/>
                  <a:pt x="28865" y="28581"/>
                  <a:pt x="28453" y="29018"/>
                </a:cubicBezTo>
                <a:cubicBezTo>
                  <a:pt x="27628" y="29672"/>
                  <a:pt x="27628" y="29890"/>
                  <a:pt x="28041" y="29890"/>
                </a:cubicBezTo>
                <a:cubicBezTo>
                  <a:pt x="28041" y="29890"/>
                  <a:pt x="28453" y="29890"/>
                  <a:pt x="28453" y="29890"/>
                </a:cubicBezTo>
                <a:cubicBezTo>
                  <a:pt x="28453" y="30763"/>
                  <a:pt x="28453" y="30763"/>
                  <a:pt x="28453" y="30763"/>
                </a:cubicBezTo>
                <a:cubicBezTo>
                  <a:pt x="28453" y="30763"/>
                  <a:pt x="28453" y="30981"/>
                  <a:pt x="27216" y="30763"/>
                </a:cubicBezTo>
                <a:cubicBezTo>
                  <a:pt x="25979" y="30763"/>
                  <a:pt x="25154" y="30545"/>
                  <a:pt x="25154" y="30545"/>
                </a:cubicBezTo>
                <a:cubicBezTo>
                  <a:pt x="23917" y="29890"/>
                  <a:pt x="23917" y="29890"/>
                  <a:pt x="23917" y="29890"/>
                </a:cubicBezTo>
                <a:cubicBezTo>
                  <a:pt x="23917" y="29890"/>
                  <a:pt x="23505" y="29672"/>
                  <a:pt x="24329" y="29236"/>
                </a:cubicBezTo>
                <a:cubicBezTo>
                  <a:pt x="24742" y="28800"/>
                  <a:pt x="25979" y="29018"/>
                  <a:pt x="25979" y="29018"/>
                </a:cubicBezTo>
                <a:cubicBezTo>
                  <a:pt x="25979" y="29018"/>
                  <a:pt x="26391" y="29454"/>
                  <a:pt x="26804" y="29018"/>
                </a:cubicBezTo>
                <a:cubicBezTo>
                  <a:pt x="27216" y="28581"/>
                  <a:pt x="27216" y="28145"/>
                  <a:pt x="27628" y="28363"/>
                </a:cubicBezTo>
                <a:cubicBezTo>
                  <a:pt x="28041" y="28581"/>
                  <a:pt x="28453" y="28800"/>
                  <a:pt x="28453" y="28800"/>
                </a:cubicBezTo>
                <a:close/>
                <a:moveTo>
                  <a:pt x="31752" y="26400"/>
                </a:moveTo>
                <a:cubicBezTo>
                  <a:pt x="31752" y="26400"/>
                  <a:pt x="31752" y="26400"/>
                  <a:pt x="31752" y="26400"/>
                </a:cubicBezTo>
                <a:cubicBezTo>
                  <a:pt x="31340" y="26181"/>
                  <a:pt x="31340" y="25745"/>
                  <a:pt x="31340" y="25745"/>
                </a:cubicBezTo>
                <a:cubicBezTo>
                  <a:pt x="31752" y="25309"/>
                  <a:pt x="31752" y="25309"/>
                  <a:pt x="31752" y="25309"/>
                </a:cubicBezTo>
                <a:cubicBezTo>
                  <a:pt x="31752" y="25309"/>
                  <a:pt x="30927" y="24872"/>
                  <a:pt x="30927" y="24654"/>
                </a:cubicBezTo>
                <a:cubicBezTo>
                  <a:pt x="30927" y="24436"/>
                  <a:pt x="30927" y="24000"/>
                  <a:pt x="31752" y="23781"/>
                </a:cubicBezTo>
                <a:cubicBezTo>
                  <a:pt x="32164" y="23563"/>
                  <a:pt x="32577" y="23127"/>
                  <a:pt x="32989" y="23127"/>
                </a:cubicBezTo>
                <a:cubicBezTo>
                  <a:pt x="32989" y="23345"/>
                  <a:pt x="32989" y="23345"/>
                  <a:pt x="33402" y="23781"/>
                </a:cubicBezTo>
                <a:cubicBezTo>
                  <a:pt x="33814" y="24000"/>
                  <a:pt x="33814" y="24436"/>
                  <a:pt x="34226" y="24218"/>
                </a:cubicBezTo>
                <a:cubicBezTo>
                  <a:pt x="34639" y="24000"/>
                  <a:pt x="34639" y="23781"/>
                  <a:pt x="35051" y="23563"/>
                </a:cubicBezTo>
                <a:cubicBezTo>
                  <a:pt x="35463" y="23345"/>
                  <a:pt x="35876" y="22690"/>
                  <a:pt x="35876" y="22690"/>
                </a:cubicBezTo>
                <a:cubicBezTo>
                  <a:pt x="35876" y="22690"/>
                  <a:pt x="36701" y="22909"/>
                  <a:pt x="37113" y="22690"/>
                </a:cubicBezTo>
                <a:cubicBezTo>
                  <a:pt x="37938" y="22472"/>
                  <a:pt x="37113" y="22472"/>
                  <a:pt x="38350" y="22254"/>
                </a:cubicBezTo>
                <a:cubicBezTo>
                  <a:pt x="39587" y="22254"/>
                  <a:pt x="40000" y="22254"/>
                  <a:pt x="40412" y="21818"/>
                </a:cubicBezTo>
                <a:cubicBezTo>
                  <a:pt x="40824" y="21600"/>
                  <a:pt x="40824" y="21818"/>
                  <a:pt x="41237" y="21600"/>
                </a:cubicBezTo>
                <a:cubicBezTo>
                  <a:pt x="41649" y="21381"/>
                  <a:pt x="42061" y="21163"/>
                  <a:pt x="42474" y="21163"/>
                </a:cubicBezTo>
                <a:cubicBezTo>
                  <a:pt x="42886" y="21381"/>
                  <a:pt x="43298" y="21600"/>
                  <a:pt x="43298" y="21818"/>
                </a:cubicBezTo>
                <a:cubicBezTo>
                  <a:pt x="43298" y="22036"/>
                  <a:pt x="43711" y="22472"/>
                  <a:pt x="43298" y="22690"/>
                </a:cubicBezTo>
                <a:cubicBezTo>
                  <a:pt x="42886" y="22909"/>
                  <a:pt x="42886" y="23127"/>
                  <a:pt x="42474" y="23127"/>
                </a:cubicBezTo>
                <a:cubicBezTo>
                  <a:pt x="42061" y="23345"/>
                  <a:pt x="40824" y="23781"/>
                  <a:pt x="40824" y="23781"/>
                </a:cubicBezTo>
                <a:cubicBezTo>
                  <a:pt x="40824" y="23781"/>
                  <a:pt x="40824" y="24218"/>
                  <a:pt x="41237" y="24218"/>
                </a:cubicBezTo>
                <a:cubicBezTo>
                  <a:pt x="41649" y="24218"/>
                  <a:pt x="42474" y="23563"/>
                  <a:pt x="42474" y="24000"/>
                </a:cubicBezTo>
                <a:cubicBezTo>
                  <a:pt x="42061" y="24436"/>
                  <a:pt x="43298" y="24654"/>
                  <a:pt x="42061" y="24872"/>
                </a:cubicBezTo>
                <a:cubicBezTo>
                  <a:pt x="41237" y="24872"/>
                  <a:pt x="40412" y="24654"/>
                  <a:pt x="40412" y="24654"/>
                </a:cubicBezTo>
                <a:cubicBezTo>
                  <a:pt x="39587" y="25309"/>
                  <a:pt x="39587" y="25309"/>
                  <a:pt x="39587" y="25309"/>
                </a:cubicBezTo>
                <a:cubicBezTo>
                  <a:pt x="39587" y="25309"/>
                  <a:pt x="38762" y="25090"/>
                  <a:pt x="38762" y="25309"/>
                </a:cubicBezTo>
                <a:cubicBezTo>
                  <a:pt x="38762" y="25527"/>
                  <a:pt x="39175" y="25963"/>
                  <a:pt x="39175" y="25963"/>
                </a:cubicBezTo>
                <a:cubicBezTo>
                  <a:pt x="38350" y="26400"/>
                  <a:pt x="38350" y="26400"/>
                  <a:pt x="38350" y="26400"/>
                </a:cubicBezTo>
                <a:cubicBezTo>
                  <a:pt x="38350" y="26400"/>
                  <a:pt x="37113" y="26181"/>
                  <a:pt x="37113" y="26400"/>
                </a:cubicBezTo>
                <a:cubicBezTo>
                  <a:pt x="37525" y="26618"/>
                  <a:pt x="37938" y="27054"/>
                  <a:pt x="37938" y="27054"/>
                </a:cubicBezTo>
                <a:cubicBezTo>
                  <a:pt x="37938" y="27054"/>
                  <a:pt x="37938" y="27490"/>
                  <a:pt x="37113" y="27490"/>
                </a:cubicBezTo>
                <a:cubicBezTo>
                  <a:pt x="36288" y="27490"/>
                  <a:pt x="35463" y="27490"/>
                  <a:pt x="35051" y="27490"/>
                </a:cubicBezTo>
                <a:cubicBezTo>
                  <a:pt x="34639" y="27272"/>
                  <a:pt x="34639" y="27272"/>
                  <a:pt x="34639" y="27272"/>
                </a:cubicBezTo>
                <a:cubicBezTo>
                  <a:pt x="34226" y="27927"/>
                  <a:pt x="34226" y="27927"/>
                  <a:pt x="34226" y="27927"/>
                </a:cubicBezTo>
                <a:cubicBezTo>
                  <a:pt x="34226" y="27927"/>
                  <a:pt x="34639" y="28145"/>
                  <a:pt x="34226" y="28363"/>
                </a:cubicBezTo>
                <a:cubicBezTo>
                  <a:pt x="33814" y="28581"/>
                  <a:pt x="32577" y="28581"/>
                  <a:pt x="32577" y="28581"/>
                </a:cubicBezTo>
                <a:cubicBezTo>
                  <a:pt x="32577" y="28581"/>
                  <a:pt x="32164" y="28581"/>
                  <a:pt x="32164" y="28581"/>
                </a:cubicBezTo>
                <a:cubicBezTo>
                  <a:pt x="32164" y="28800"/>
                  <a:pt x="31752" y="29236"/>
                  <a:pt x="31340" y="29236"/>
                </a:cubicBezTo>
                <a:cubicBezTo>
                  <a:pt x="30927" y="29018"/>
                  <a:pt x="30103" y="28800"/>
                  <a:pt x="29690" y="28581"/>
                </a:cubicBezTo>
                <a:cubicBezTo>
                  <a:pt x="29690" y="28363"/>
                  <a:pt x="29278" y="27490"/>
                  <a:pt x="30103" y="27709"/>
                </a:cubicBezTo>
                <a:cubicBezTo>
                  <a:pt x="30927" y="27709"/>
                  <a:pt x="31752" y="27927"/>
                  <a:pt x="31752" y="27490"/>
                </a:cubicBezTo>
                <a:cubicBezTo>
                  <a:pt x="31752" y="27054"/>
                  <a:pt x="31340" y="26836"/>
                  <a:pt x="31340" y="26836"/>
                </a:cubicBezTo>
                <a:cubicBezTo>
                  <a:pt x="31752" y="26400"/>
                  <a:pt x="31752" y="26400"/>
                  <a:pt x="31752" y="26400"/>
                </a:cubicBezTo>
                <a:close/>
                <a:moveTo>
                  <a:pt x="110103" y="3272"/>
                </a:moveTo>
                <a:cubicBezTo>
                  <a:pt x="110103" y="3272"/>
                  <a:pt x="110103" y="3272"/>
                  <a:pt x="110103" y="3272"/>
                </a:cubicBezTo>
                <a:cubicBezTo>
                  <a:pt x="110515" y="3272"/>
                  <a:pt x="111752" y="3490"/>
                  <a:pt x="111752" y="3272"/>
                </a:cubicBezTo>
                <a:cubicBezTo>
                  <a:pt x="111752" y="3272"/>
                  <a:pt x="112164" y="2836"/>
                  <a:pt x="112164" y="2836"/>
                </a:cubicBezTo>
                <a:cubicBezTo>
                  <a:pt x="111752" y="2618"/>
                  <a:pt x="111340" y="2400"/>
                  <a:pt x="110927" y="2618"/>
                </a:cubicBezTo>
                <a:cubicBezTo>
                  <a:pt x="110515" y="2618"/>
                  <a:pt x="110103" y="2836"/>
                  <a:pt x="110103" y="2836"/>
                </a:cubicBezTo>
                <a:cubicBezTo>
                  <a:pt x="110103" y="3054"/>
                  <a:pt x="110103" y="3272"/>
                  <a:pt x="110103" y="3272"/>
                </a:cubicBezTo>
                <a:close/>
                <a:moveTo>
                  <a:pt x="96907" y="6981"/>
                </a:moveTo>
                <a:cubicBezTo>
                  <a:pt x="96907" y="6981"/>
                  <a:pt x="96907" y="6981"/>
                  <a:pt x="96907" y="6981"/>
                </a:cubicBezTo>
                <a:cubicBezTo>
                  <a:pt x="97319" y="6981"/>
                  <a:pt x="97731" y="6545"/>
                  <a:pt x="97731" y="6763"/>
                </a:cubicBezTo>
                <a:cubicBezTo>
                  <a:pt x="97731" y="7200"/>
                  <a:pt x="98144" y="7200"/>
                  <a:pt x="97731" y="7418"/>
                </a:cubicBezTo>
                <a:cubicBezTo>
                  <a:pt x="97319" y="7418"/>
                  <a:pt x="96494" y="7854"/>
                  <a:pt x="96082" y="7636"/>
                </a:cubicBezTo>
                <a:cubicBezTo>
                  <a:pt x="96082" y="7636"/>
                  <a:pt x="96494" y="6763"/>
                  <a:pt x="96494" y="6763"/>
                </a:cubicBezTo>
                <a:cubicBezTo>
                  <a:pt x="96907" y="6981"/>
                  <a:pt x="96907" y="6981"/>
                  <a:pt x="96907" y="6981"/>
                </a:cubicBezTo>
                <a:close/>
                <a:moveTo>
                  <a:pt x="104742" y="7418"/>
                </a:moveTo>
                <a:cubicBezTo>
                  <a:pt x="104742" y="7418"/>
                  <a:pt x="104742" y="7418"/>
                  <a:pt x="104742" y="7418"/>
                </a:cubicBezTo>
                <a:cubicBezTo>
                  <a:pt x="104742" y="7418"/>
                  <a:pt x="104742" y="7636"/>
                  <a:pt x="103917" y="7418"/>
                </a:cubicBezTo>
                <a:cubicBezTo>
                  <a:pt x="102680" y="7418"/>
                  <a:pt x="102268" y="7636"/>
                  <a:pt x="102268" y="7200"/>
                </a:cubicBezTo>
                <a:cubicBezTo>
                  <a:pt x="102268" y="6981"/>
                  <a:pt x="102680" y="6763"/>
                  <a:pt x="101855" y="6545"/>
                </a:cubicBezTo>
                <a:cubicBezTo>
                  <a:pt x="101030" y="6545"/>
                  <a:pt x="101030" y="6545"/>
                  <a:pt x="101030" y="6545"/>
                </a:cubicBezTo>
                <a:cubicBezTo>
                  <a:pt x="101030" y="6545"/>
                  <a:pt x="100618" y="6109"/>
                  <a:pt x="101030" y="5890"/>
                </a:cubicBezTo>
                <a:cubicBezTo>
                  <a:pt x="101855" y="5454"/>
                  <a:pt x="101855" y="5672"/>
                  <a:pt x="102268" y="5672"/>
                </a:cubicBezTo>
                <a:cubicBezTo>
                  <a:pt x="103092" y="5672"/>
                  <a:pt x="102680" y="5672"/>
                  <a:pt x="103505" y="5890"/>
                </a:cubicBezTo>
                <a:cubicBezTo>
                  <a:pt x="104329" y="5890"/>
                  <a:pt x="104742" y="6109"/>
                  <a:pt x="104742" y="5672"/>
                </a:cubicBezTo>
                <a:cubicBezTo>
                  <a:pt x="104742" y="5454"/>
                  <a:pt x="105154" y="5454"/>
                  <a:pt x="104329" y="5018"/>
                </a:cubicBezTo>
                <a:cubicBezTo>
                  <a:pt x="103917" y="4581"/>
                  <a:pt x="103917" y="4800"/>
                  <a:pt x="103505" y="4581"/>
                </a:cubicBezTo>
                <a:cubicBezTo>
                  <a:pt x="103092" y="4145"/>
                  <a:pt x="102268" y="3709"/>
                  <a:pt x="102680" y="3490"/>
                </a:cubicBezTo>
                <a:cubicBezTo>
                  <a:pt x="102680" y="3272"/>
                  <a:pt x="102268" y="3272"/>
                  <a:pt x="103092" y="2836"/>
                </a:cubicBezTo>
                <a:cubicBezTo>
                  <a:pt x="104329" y="2618"/>
                  <a:pt x="105154" y="2181"/>
                  <a:pt x="105567" y="2181"/>
                </a:cubicBezTo>
                <a:cubicBezTo>
                  <a:pt x="105979" y="2181"/>
                  <a:pt x="106391" y="2181"/>
                  <a:pt x="106391" y="2400"/>
                </a:cubicBezTo>
                <a:cubicBezTo>
                  <a:pt x="106391" y="2836"/>
                  <a:pt x="106391" y="3054"/>
                  <a:pt x="105979" y="3272"/>
                </a:cubicBezTo>
                <a:cubicBezTo>
                  <a:pt x="105567" y="3272"/>
                  <a:pt x="105567" y="3490"/>
                  <a:pt x="105567" y="3490"/>
                </a:cubicBezTo>
                <a:cubicBezTo>
                  <a:pt x="105567" y="3490"/>
                  <a:pt x="105154" y="4145"/>
                  <a:pt x="105979" y="4145"/>
                </a:cubicBezTo>
                <a:cubicBezTo>
                  <a:pt x="106804" y="3927"/>
                  <a:pt x="107216" y="3490"/>
                  <a:pt x="107216" y="3272"/>
                </a:cubicBezTo>
                <a:cubicBezTo>
                  <a:pt x="107628" y="3054"/>
                  <a:pt x="108041" y="3272"/>
                  <a:pt x="107628" y="2836"/>
                </a:cubicBezTo>
                <a:cubicBezTo>
                  <a:pt x="107628" y="2400"/>
                  <a:pt x="107216" y="2181"/>
                  <a:pt x="107628" y="2181"/>
                </a:cubicBezTo>
                <a:cubicBezTo>
                  <a:pt x="108041" y="2181"/>
                  <a:pt x="108453" y="2618"/>
                  <a:pt x="108865" y="2181"/>
                </a:cubicBezTo>
                <a:cubicBezTo>
                  <a:pt x="109690" y="1527"/>
                  <a:pt x="109690" y="1309"/>
                  <a:pt x="109690" y="1309"/>
                </a:cubicBezTo>
                <a:cubicBezTo>
                  <a:pt x="109690" y="1309"/>
                  <a:pt x="109278" y="1309"/>
                  <a:pt x="110103" y="1090"/>
                </a:cubicBezTo>
                <a:cubicBezTo>
                  <a:pt x="110927" y="872"/>
                  <a:pt x="110515" y="654"/>
                  <a:pt x="110927" y="436"/>
                </a:cubicBezTo>
                <a:cubicBezTo>
                  <a:pt x="111340" y="218"/>
                  <a:pt x="110515" y="0"/>
                  <a:pt x="111752" y="0"/>
                </a:cubicBezTo>
                <a:cubicBezTo>
                  <a:pt x="112577" y="218"/>
                  <a:pt x="112577" y="218"/>
                  <a:pt x="112989" y="436"/>
                </a:cubicBezTo>
                <a:cubicBezTo>
                  <a:pt x="113402" y="436"/>
                  <a:pt x="112577" y="1309"/>
                  <a:pt x="112164" y="1309"/>
                </a:cubicBezTo>
                <a:cubicBezTo>
                  <a:pt x="111752" y="1309"/>
                  <a:pt x="111752" y="1090"/>
                  <a:pt x="110927" y="1309"/>
                </a:cubicBezTo>
                <a:cubicBezTo>
                  <a:pt x="110515" y="1527"/>
                  <a:pt x="111340" y="1963"/>
                  <a:pt x="110927" y="2181"/>
                </a:cubicBezTo>
                <a:cubicBezTo>
                  <a:pt x="110515" y="2400"/>
                  <a:pt x="110103" y="2181"/>
                  <a:pt x="109690" y="2400"/>
                </a:cubicBezTo>
                <a:cubicBezTo>
                  <a:pt x="109278" y="2618"/>
                  <a:pt x="109278" y="2618"/>
                  <a:pt x="109278" y="2836"/>
                </a:cubicBezTo>
                <a:cubicBezTo>
                  <a:pt x="109278" y="3054"/>
                  <a:pt x="108865" y="3272"/>
                  <a:pt x="108453" y="3490"/>
                </a:cubicBezTo>
                <a:cubicBezTo>
                  <a:pt x="108453" y="3490"/>
                  <a:pt x="107216" y="3054"/>
                  <a:pt x="108453" y="3490"/>
                </a:cubicBezTo>
                <a:cubicBezTo>
                  <a:pt x="109690" y="3927"/>
                  <a:pt x="110103" y="3927"/>
                  <a:pt x="109690" y="4145"/>
                </a:cubicBezTo>
                <a:cubicBezTo>
                  <a:pt x="109278" y="4145"/>
                  <a:pt x="108453" y="4145"/>
                  <a:pt x="108041" y="4363"/>
                </a:cubicBezTo>
                <a:cubicBezTo>
                  <a:pt x="107628" y="4363"/>
                  <a:pt x="107216" y="4581"/>
                  <a:pt x="108041" y="4800"/>
                </a:cubicBezTo>
                <a:cubicBezTo>
                  <a:pt x="108865" y="5018"/>
                  <a:pt x="108453" y="5018"/>
                  <a:pt x="108865" y="5018"/>
                </a:cubicBezTo>
                <a:cubicBezTo>
                  <a:pt x="109278" y="4800"/>
                  <a:pt x="111340" y="4800"/>
                  <a:pt x="111340" y="5018"/>
                </a:cubicBezTo>
                <a:cubicBezTo>
                  <a:pt x="110927" y="5454"/>
                  <a:pt x="111340" y="5454"/>
                  <a:pt x="110515" y="5672"/>
                </a:cubicBezTo>
                <a:cubicBezTo>
                  <a:pt x="109278" y="5890"/>
                  <a:pt x="108453" y="5672"/>
                  <a:pt x="108041" y="5454"/>
                </a:cubicBezTo>
                <a:cubicBezTo>
                  <a:pt x="107628" y="5454"/>
                  <a:pt x="107628" y="5018"/>
                  <a:pt x="107628" y="5672"/>
                </a:cubicBezTo>
                <a:cubicBezTo>
                  <a:pt x="108041" y="6327"/>
                  <a:pt x="108865" y="6327"/>
                  <a:pt x="108453" y="6327"/>
                </a:cubicBezTo>
                <a:cubicBezTo>
                  <a:pt x="107628" y="6327"/>
                  <a:pt x="106804" y="6327"/>
                  <a:pt x="106804" y="6327"/>
                </a:cubicBezTo>
                <a:cubicBezTo>
                  <a:pt x="106804" y="6327"/>
                  <a:pt x="106391" y="5890"/>
                  <a:pt x="106804" y="6545"/>
                </a:cubicBezTo>
                <a:cubicBezTo>
                  <a:pt x="107216" y="7200"/>
                  <a:pt x="107216" y="7200"/>
                  <a:pt x="107216" y="7200"/>
                </a:cubicBezTo>
                <a:cubicBezTo>
                  <a:pt x="107216" y="7200"/>
                  <a:pt x="106391" y="7418"/>
                  <a:pt x="106391" y="7418"/>
                </a:cubicBezTo>
                <a:cubicBezTo>
                  <a:pt x="106391" y="7636"/>
                  <a:pt x="106804" y="8072"/>
                  <a:pt x="107216" y="8290"/>
                </a:cubicBezTo>
                <a:cubicBezTo>
                  <a:pt x="107216" y="8290"/>
                  <a:pt x="106804" y="9163"/>
                  <a:pt x="106391" y="9163"/>
                </a:cubicBezTo>
                <a:cubicBezTo>
                  <a:pt x="106391" y="9163"/>
                  <a:pt x="106391" y="9381"/>
                  <a:pt x="105979" y="9600"/>
                </a:cubicBezTo>
                <a:cubicBezTo>
                  <a:pt x="105567" y="9818"/>
                  <a:pt x="105154" y="10036"/>
                  <a:pt x="105154" y="10036"/>
                </a:cubicBezTo>
                <a:cubicBezTo>
                  <a:pt x="104329" y="11345"/>
                  <a:pt x="104329" y="11345"/>
                  <a:pt x="104329" y="11345"/>
                </a:cubicBezTo>
                <a:cubicBezTo>
                  <a:pt x="104329" y="11345"/>
                  <a:pt x="103917" y="11781"/>
                  <a:pt x="103505" y="11345"/>
                </a:cubicBezTo>
                <a:cubicBezTo>
                  <a:pt x="103505" y="10909"/>
                  <a:pt x="103092" y="10909"/>
                  <a:pt x="103505" y="10690"/>
                </a:cubicBezTo>
                <a:cubicBezTo>
                  <a:pt x="103917" y="10690"/>
                  <a:pt x="103917" y="10254"/>
                  <a:pt x="104329" y="10036"/>
                </a:cubicBezTo>
                <a:cubicBezTo>
                  <a:pt x="104329" y="9818"/>
                  <a:pt x="104742" y="8945"/>
                  <a:pt x="104742" y="8945"/>
                </a:cubicBezTo>
                <a:cubicBezTo>
                  <a:pt x="104742" y="8945"/>
                  <a:pt x="105567" y="8945"/>
                  <a:pt x="105979" y="8727"/>
                </a:cubicBezTo>
                <a:cubicBezTo>
                  <a:pt x="105979" y="8727"/>
                  <a:pt x="105154" y="7854"/>
                  <a:pt x="105154" y="7854"/>
                </a:cubicBezTo>
                <a:cubicBezTo>
                  <a:pt x="105567" y="7418"/>
                  <a:pt x="105567" y="7418"/>
                  <a:pt x="105567" y="7418"/>
                </a:cubicBezTo>
                <a:cubicBezTo>
                  <a:pt x="104742" y="7418"/>
                  <a:pt x="104742" y="7418"/>
                  <a:pt x="104742" y="7418"/>
                </a:cubicBezTo>
                <a:close/>
                <a:moveTo>
                  <a:pt x="98556" y="14618"/>
                </a:moveTo>
                <a:cubicBezTo>
                  <a:pt x="98556" y="14618"/>
                  <a:pt x="98556" y="14618"/>
                  <a:pt x="98556" y="14618"/>
                </a:cubicBezTo>
                <a:cubicBezTo>
                  <a:pt x="98556" y="14618"/>
                  <a:pt x="99793" y="13745"/>
                  <a:pt x="100206" y="13963"/>
                </a:cubicBezTo>
                <a:cubicBezTo>
                  <a:pt x="100206" y="13963"/>
                  <a:pt x="100206" y="14181"/>
                  <a:pt x="100206" y="14400"/>
                </a:cubicBezTo>
                <a:cubicBezTo>
                  <a:pt x="100206" y="14400"/>
                  <a:pt x="100618" y="14836"/>
                  <a:pt x="100206" y="14836"/>
                </a:cubicBezTo>
                <a:cubicBezTo>
                  <a:pt x="99793" y="14836"/>
                  <a:pt x="99381" y="14836"/>
                  <a:pt x="98969" y="14836"/>
                </a:cubicBezTo>
                <a:cubicBezTo>
                  <a:pt x="98969" y="14836"/>
                  <a:pt x="98556" y="14618"/>
                  <a:pt x="98556" y="14618"/>
                </a:cubicBezTo>
                <a:close/>
                <a:moveTo>
                  <a:pt x="80824" y="21381"/>
                </a:moveTo>
                <a:cubicBezTo>
                  <a:pt x="80824" y="21381"/>
                  <a:pt x="80824" y="21381"/>
                  <a:pt x="80824" y="21381"/>
                </a:cubicBezTo>
                <a:cubicBezTo>
                  <a:pt x="81649" y="20945"/>
                  <a:pt x="81649" y="20945"/>
                  <a:pt x="81649" y="20945"/>
                </a:cubicBezTo>
                <a:cubicBezTo>
                  <a:pt x="82886" y="21163"/>
                  <a:pt x="82886" y="21163"/>
                  <a:pt x="82886" y="21163"/>
                </a:cubicBezTo>
                <a:cubicBezTo>
                  <a:pt x="82886" y="21163"/>
                  <a:pt x="83298" y="20727"/>
                  <a:pt x="83298" y="21163"/>
                </a:cubicBezTo>
                <a:cubicBezTo>
                  <a:pt x="82886" y="21600"/>
                  <a:pt x="82061" y="22254"/>
                  <a:pt x="82061" y="22254"/>
                </a:cubicBezTo>
                <a:cubicBezTo>
                  <a:pt x="82061" y="22254"/>
                  <a:pt x="82474" y="22254"/>
                  <a:pt x="81649" y="22472"/>
                </a:cubicBezTo>
                <a:cubicBezTo>
                  <a:pt x="80824" y="22690"/>
                  <a:pt x="80824" y="22909"/>
                  <a:pt x="80412" y="22472"/>
                </a:cubicBezTo>
                <a:cubicBezTo>
                  <a:pt x="80000" y="22254"/>
                  <a:pt x="79587" y="22254"/>
                  <a:pt x="79587" y="22036"/>
                </a:cubicBezTo>
                <a:cubicBezTo>
                  <a:pt x="80000" y="21818"/>
                  <a:pt x="80000" y="21381"/>
                  <a:pt x="80000" y="21381"/>
                </a:cubicBezTo>
                <a:cubicBezTo>
                  <a:pt x="80824" y="21381"/>
                  <a:pt x="80824" y="21381"/>
                  <a:pt x="80824" y="21381"/>
                </a:cubicBezTo>
                <a:close/>
                <a:moveTo>
                  <a:pt x="89484" y="15709"/>
                </a:moveTo>
                <a:cubicBezTo>
                  <a:pt x="89484" y="15709"/>
                  <a:pt x="89484" y="15709"/>
                  <a:pt x="89484" y="15709"/>
                </a:cubicBezTo>
                <a:cubicBezTo>
                  <a:pt x="89484" y="15709"/>
                  <a:pt x="89896" y="15272"/>
                  <a:pt x="90309" y="15272"/>
                </a:cubicBezTo>
                <a:cubicBezTo>
                  <a:pt x="90721" y="15490"/>
                  <a:pt x="91134" y="15490"/>
                  <a:pt x="91134" y="15709"/>
                </a:cubicBezTo>
                <a:cubicBezTo>
                  <a:pt x="90721" y="15927"/>
                  <a:pt x="90309" y="16145"/>
                  <a:pt x="89896" y="16145"/>
                </a:cubicBezTo>
                <a:cubicBezTo>
                  <a:pt x="89484" y="16145"/>
                  <a:pt x="89484" y="15709"/>
                  <a:pt x="89484" y="15709"/>
                </a:cubicBezTo>
                <a:close/>
                <a:moveTo>
                  <a:pt x="87835" y="16800"/>
                </a:moveTo>
                <a:cubicBezTo>
                  <a:pt x="87835" y="16800"/>
                  <a:pt x="87835" y="16800"/>
                  <a:pt x="87835" y="16800"/>
                </a:cubicBezTo>
                <a:cubicBezTo>
                  <a:pt x="87835" y="16800"/>
                  <a:pt x="88659" y="16363"/>
                  <a:pt x="89072" y="16581"/>
                </a:cubicBezTo>
                <a:cubicBezTo>
                  <a:pt x="89072" y="16581"/>
                  <a:pt x="89484" y="16581"/>
                  <a:pt x="89072" y="16800"/>
                </a:cubicBezTo>
                <a:cubicBezTo>
                  <a:pt x="89072" y="17018"/>
                  <a:pt x="89896" y="16800"/>
                  <a:pt x="88659" y="17018"/>
                </a:cubicBezTo>
                <a:cubicBezTo>
                  <a:pt x="87835" y="17454"/>
                  <a:pt x="88247" y="17672"/>
                  <a:pt x="87422" y="17454"/>
                </a:cubicBezTo>
                <a:cubicBezTo>
                  <a:pt x="87010" y="17236"/>
                  <a:pt x="87010" y="17018"/>
                  <a:pt x="87010" y="16800"/>
                </a:cubicBezTo>
                <a:cubicBezTo>
                  <a:pt x="87010" y="16800"/>
                  <a:pt x="87422" y="16363"/>
                  <a:pt x="87422" y="16363"/>
                </a:cubicBezTo>
                <a:cubicBezTo>
                  <a:pt x="87835" y="16581"/>
                  <a:pt x="87835" y="16800"/>
                  <a:pt x="87835" y="16800"/>
                </a:cubicBezTo>
                <a:close/>
                <a:moveTo>
                  <a:pt x="84536" y="17454"/>
                </a:moveTo>
                <a:cubicBezTo>
                  <a:pt x="84536" y="17454"/>
                  <a:pt x="84536" y="17454"/>
                  <a:pt x="84536" y="17454"/>
                </a:cubicBezTo>
                <a:cubicBezTo>
                  <a:pt x="84536" y="17454"/>
                  <a:pt x="85360" y="17672"/>
                  <a:pt x="85360" y="17672"/>
                </a:cubicBezTo>
                <a:cubicBezTo>
                  <a:pt x="85773" y="17890"/>
                  <a:pt x="85773" y="17672"/>
                  <a:pt x="86185" y="17454"/>
                </a:cubicBezTo>
                <a:cubicBezTo>
                  <a:pt x="87010" y="17454"/>
                  <a:pt x="86185" y="17454"/>
                  <a:pt x="86597" y="17236"/>
                </a:cubicBezTo>
                <a:cubicBezTo>
                  <a:pt x="87010" y="16800"/>
                  <a:pt x="86597" y="17018"/>
                  <a:pt x="86597" y="16800"/>
                </a:cubicBezTo>
                <a:cubicBezTo>
                  <a:pt x="86185" y="16800"/>
                  <a:pt x="86185" y="16800"/>
                  <a:pt x="85773" y="16800"/>
                </a:cubicBezTo>
                <a:cubicBezTo>
                  <a:pt x="84948" y="16800"/>
                  <a:pt x="84536" y="17454"/>
                  <a:pt x="84536" y="17454"/>
                </a:cubicBezTo>
                <a:close/>
                <a:moveTo>
                  <a:pt x="86185" y="18763"/>
                </a:moveTo>
                <a:cubicBezTo>
                  <a:pt x="86185" y="18763"/>
                  <a:pt x="86185" y="18763"/>
                  <a:pt x="86185" y="18763"/>
                </a:cubicBezTo>
                <a:cubicBezTo>
                  <a:pt x="86185" y="18763"/>
                  <a:pt x="86597" y="18109"/>
                  <a:pt x="87010" y="18109"/>
                </a:cubicBezTo>
                <a:cubicBezTo>
                  <a:pt x="87422" y="18327"/>
                  <a:pt x="87422" y="18109"/>
                  <a:pt x="87422" y="18327"/>
                </a:cubicBezTo>
                <a:cubicBezTo>
                  <a:pt x="87422" y="18545"/>
                  <a:pt x="87422" y="18981"/>
                  <a:pt x="87010" y="18981"/>
                </a:cubicBezTo>
                <a:cubicBezTo>
                  <a:pt x="86597" y="18981"/>
                  <a:pt x="86185" y="18763"/>
                  <a:pt x="86185" y="18763"/>
                </a:cubicBezTo>
                <a:close/>
                <a:moveTo>
                  <a:pt x="82886" y="18763"/>
                </a:moveTo>
                <a:cubicBezTo>
                  <a:pt x="82886" y="18763"/>
                  <a:pt x="82886" y="18763"/>
                  <a:pt x="82886" y="18763"/>
                </a:cubicBezTo>
                <a:cubicBezTo>
                  <a:pt x="83298" y="18327"/>
                  <a:pt x="83298" y="18327"/>
                  <a:pt x="83298" y="18327"/>
                </a:cubicBezTo>
                <a:cubicBezTo>
                  <a:pt x="84123" y="18545"/>
                  <a:pt x="84123" y="18545"/>
                  <a:pt x="84123" y="18545"/>
                </a:cubicBezTo>
                <a:cubicBezTo>
                  <a:pt x="84123" y="18545"/>
                  <a:pt x="84536" y="18763"/>
                  <a:pt x="84123" y="18763"/>
                </a:cubicBezTo>
                <a:cubicBezTo>
                  <a:pt x="84123" y="18981"/>
                  <a:pt x="83711" y="18981"/>
                  <a:pt x="83711" y="19200"/>
                </a:cubicBezTo>
                <a:cubicBezTo>
                  <a:pt x="83298" y="19200"/>
                  <a:pt x="82886" y="18981"/>
                  <a:pt x="82886" y="18981"/>
                </a:cubicBezTo>
                <a:cubicBezTo>
                  <a:pt x="82886" y="18763"/>
                  <a:pt x="82886" y="18763"/>
                  <a:pt x="82886" y="18763"/>
                </a:cubicBezTo>
                <a:close/>
                <a:moveTo>
                  <a:pt x="82886" y="15927"/>
                </a:moveTo>
                <a:cubicBezTo>
                  <a:pt x="82886" y="15927"/>
                  <a:pt x="82886" y="15927"/>
                  <a:pt x="82886" y="15927"/>
                </a:cubicBezTo>
                <a:cubicBezTo>
                  <a:pt x="82886" y="15927"/>
                  <a:pt x="83711" y="15272"/>
                  <a:pt x="83711" y="15272"/>
                </a:cubicBezTo>
                <a:cubicBezTo>
                  <a:pt x="84123" y="15272"/>
                  <a:pt x="84536" y="15054"/>
                  <a:pt x="84536" y="15490"/>
                </a:cubicBezTo>
                <a:cubicBezTo>
                  <a:pt x="84536" y="15927"/>
                  <a:pt x="85360" y="16363"/>
                  <a:pt x="84123" y="16363"/>
                </a:cubicBezTo>
                <a:cubicBezTo>
                  <a:pt x="83298" y="16363"/>
                  <a:pt x="82886" y="16581"/>
                  <a:pt x="82886" y="16363"/>
                </a:cubicBezTo>
                <a:cubicBezTo>
                  <a:pt x="82474" y="16145"/>
                  <a:pt x="82886" y="15927"/>
                  <a:pt x="82886" y="15927"/>
                </a:cubicBezTo>
                <a:close/>
                <a:moveTo>
                  <a:pt x="81237" y="17236"/>
                </a:moveTo>
                <a:cubicBezTo>
                  <a:pt x="81237" y="17236"/>
                  <a:pt x="81237" y="17236"/>
                  <a:pt x="81237" y="17236"/>
                </a:cubicBezTo>
                <a:cubicBezTo>
                  <a:pt x="81237" y="17236"/>
                  <a:pt x="82061" y="16800"/>
                  <a:pt x="82474" y="16800"/>
                </a:cubicBezTo>
                <a:cubicBezTo>
                  <a:pt x="82886" y="17018"/>
                  <a:pt x="83298" y="17018"/>
                  <a:pt x="83298" y="17236"/>
                </a:cubicBezTo>
                <a:cubicBezTo>
                  <a:pt x="83298" y="17454"/>
                  <a:pt x="83298" y="17454"/>
                  <a:pt x="82886" y="17672"/>
                </a:cubicBezTo>
                <a:cubicBezTo>
                  <a:pt x="82886" y="17890"/>
                  <a:pt x="82474" y="17890"/>
                  <a:pt x="82061" y="17890"/>
                </a:cubicBezTo>
                <a:cubicBezTo>
                  <a:pt x="82061" y="17890"/>
                  <a:pt x="81237" y="17236"/>
                  <a:pt x="81237" y="17236"/>
                </a:cubicBezTo>
                <a:close/>
                <a:moveTo>
                  <a:pt x="82474" y="19854"/>
                </a:moveTo>
                <a:cubicBezTo>
                  <a:pt x="82474" y="19854"/>
                  <a:pt x="82474" y="19854"/>
                  <a:pt x="82474" y="19854"/>
                </a:cubicBezTo>
                <a:cubicBezTo>
                  <a:pt x="82474" y="19854"/>
                  <a:pt x="82061" y="20509"/>
                  <a:pt x="82061" y="20727"/>
                </a:cubicBezTo>
                <a:cubicBezTo>
                  <a:pt x="82061" y="20945"/>
                  <a:pt x="83298" y="20945"/>
                  <a:pt x="83711" y="20727"/>
                </a:cubicBezTo>
                <a:cubicBezTo>
                  <a:pt x="83711" y="20727"/>
                  <a:pt x="84123" y="20290"/>
                  <a:pt x="84123" y="20290"/>
                </a:cubicBezTo>
                <a:cubicBezTo>
                  <a:pt x="84123" y="20290"/>
                  <a:pt x="83711" y="19854"/>
                  <a:pt x="83298" y="19636"/>
                </a:cubicBezTo>
                <a:cubicBezTo>
                  <a:pt x="82886" y="19418"/>
                  <a:pt x="82474" y="19854"/>
                  <a:pt x="82474" y="19854"/>
                </a:cubicBezTo>
                <a:close/>
                <a:moveTo>
                  <a:pt x="78762" y="19200"/>
                </a:moveTo>
                <a:cubicBezTo>
                  <a:pt x="78762" y="19200"/>
                  <a:pt x="78762" y="19200"/>
                  <a:pt x="78762" y="19200"/>
                </a:cubicBezTo>
                <a:cubicBezTo>
                  <a:pt x="78762" y="19854"/>
                  <a:pt x="78762" y="19854"/>
                  <a:pt x="78762" y="19854"/>
                </a:cubicBezTo>
                <a:cubicBezTo>
                  <a:pt x="78762" y="19854"/>
                  <a:pt x="79587" y="20290"/>
                  <a:pt x="80000" y="20290"/>
                </a:cubicBezTo>
                <a:cubicBezTo>
                  <a:pt x="80412" y="20509"/>
                  <a:pt x="80412" y="20290"/>
                  <a:pt x="81237" y="20509"/>
                </a:cubicBezTo>
                <a:cubicBezTo>
                  <a:pt x="81649" y="20509"/>
                  <a:pt x="81649" y="20290"/>
                  <a:pt x="81649" y="20290"/>
                </a:cubicBezTo>
                <a:cubicBezTo>
                  <a:pt x="82061" y="20290"/>
                  <a:pt x="82061" y="20290"/>
                  <a:pt x="82061" y="20072"/>
                </a:cubicBezTo>
                <a:cubicBezTo>
                  <a:pt x="82061" y="20072"/>
                  <a:pt x="81237" y="19854"/>
                  <a:pt x="80824" y="19636"/>
                </a:cubicBezTo>
                <a:cubicBezTo>
                  <a:pt x="80824" y="19418"/>
                  <a:pt x="80824" y="19418"/>
                  <a:pt x="80824" y="19200"/>
                </a:cubicBezTo>
                <a:cubicBezTo>
                  <a:pt x="80824" y="19200"/>
                  <a:pt x="81237" y="18981"/>
                  <a:pt x="81649" y="18981"/>
                </a:cubicBezTo>
                <a:cubicBezTo>
                  <a:pt x="81649" y="18763"/>
                  <a:pt x="81649" y="18327"/>
                  <a:pt x="81649" y="18327"/>
                </a:cubicBezTo>
                <a:cubicBezTo>
                  <a:pt x="81649" y="18327"/>
                  <a:pt x="80824" y="18327"/>
                  <a:pt x="80824" y="18109"/>
                </a:cubicBezTo>
                <a:cubicBezTo>
                  <a:pt x="80824" y="18109"/>
                  <a:pt x="80412" y="17890"/>
                  <a:pt x="80000" y="17672"/>
                </a:cubicBezTo>
                <a:cubicBezTo>
                  <a:pt x="80000" y="17454"/>
                  <a:pt x="79175" y="17454"/>
                  <a:pt x="78762" y="17454"/>
                </a:cubicBezTo>
                <a:cubicBezTo>
                  <a:pt x="78762" y="17454"/>
                  <a:pt x="78350" y="18109"/>
                  <a:pt x="77938" y="18327"/>
                </a:cubicBezTo>
                <a:cubicBezTo>
                  <a:pt x="77938" y="18327"/>
                  <a:pt x="77525" y="18763"/>
                  <a:pt x="77525" y="18763"/>
                </a:cubicBezTo>
                <a:cubicBezTo>
                  <a:pt x="77525" y="18981"/>
                  <a:pt x="77525" y="19200"/>
                  <a:pt x="77938" y="19418"/>
                </a:cubicBezTo>
                <a:cubicBezTo>
                  <a:pt x="78350" y="19418"/>
                  <a:pt x="78762" y="19200"/>
                  <a:pt x="78762" y="19200"/>
                </a:cubicBezTo>
                <a:close/>
                <a:moveTo>
                  <a:pt x="77525" y="20945"/>
                </a:moveTo>
                <a:cubicBezTo>
                  <a:pt x="77525" y="20945"/>
                  <a:pt x="77525" y="20945"/>
                  <a:pt x="77525" y="20945"/>
                </a:cubicBezTo>
                <a:cubicBezTo>
                  <a:pt x="77113" y="20945"/>
                  <a:pt x="76288" y="20509"/>
                  <a:pt x="76288" y="20509"/>
                </a:cubicBezTo>
                <a:cubicBezTo>
                  <a:pt x="76288" y="20509"/>
                  <a:pt x="77113" y="20290"/>
                  <a:pt x="77113" y="20072"/>
                </a:cubicBezTo>
                <a:cubicBezTo>
                  <a:pt x="77525" y="20072"/>
                  <a:pt x="77113" y="19854"/>
                  <a:pt x="77938" y="19854"/>
                </a:cubicBezTo>
                <a:cubicBezTo>
                  <a:pt x="78762" y="20072"/>
                  <a:pt x="78762" y="20290"/>
                  <a:pt x="78762" y="20290"/>
                </a:cubicBezTo>
                <a:cubicBezTo>
                  <a:pt x="78762" y="20290"/>
                  <a:pt x="79175" y="20727"/>
                  <a:pt x="79175" y="20945"/>
                </a:cubicBezTo>
                <a:cubicBezTo>
                  <a:pt x="79175" y="20945"/>
                  <a:pt x="79175" y="21163"/>
                  <a:pt x="79175" y="21163"/>
                </a:cubicBezTo>
                <a:cubicBezTo>
                  <a:pt x="79175" y="21381"/>
                  <a:pt x="80000" y="21600"/>
                  <a:pt x="78762" y="21600"/>
                </a:cubicBezTo>
                <a:cubicBezTo>
                  <a:pt x="77938" y="21600"/>
                  <a:pt x="77938" y="21600"/>
                  <a:pt x="77938" y="21600"/>
                </a:cubicBezTo>
                <a:lnTo>
                  <a:pt x="77525" y="20945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3051;p256">
            <a:extLst>
              <a:ext uri="{FF2B5EF4-FFF2-40B4-BE49-F238E27FC236}">
                <a16:creationId xmlns:a16="http://schemas.microsoft.com/office/drawing/2014/main" id="{90282FC3-E658-FC25-8796-8D96A8FDA142}"/>
              </a:ext>
            </a:extLst>
          </p:cNvPr>
          <p:cNvSpPr/>
          <p:nvPr/>
        </p:nvSpPr>
        <p:spPr>
          <a:xfrm>
            <a:off x="5831045" y="4697720"/>
            <a:ext cx="1957077" cy="1559011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1460" y="43462"/>
                </a:moveTo>
                <a:cubicBezTo>
                  <a:pt x="110786" y="44009"/>
                  <a:pt x="110561" y="42642"/>
                  <a:pt x="110112" y="43462"/>
                </a:cubicBezTo>
                <a:cubicBezTo>
                  <a:pt x="109438" y="44555"/>
                  <a:pt x="111235" y="47015"/>
                  <a:pt x="110561" y="48382"/>
                </a:cubicBezTo>
                <a:cubicBezTo>
                  <a:pt x="109662" y="49749"/>
                  <a:pt x="107865" y="51662"/>
                  <a:pt x="105393" y="52209"/>
                </a:cubicBezTo>
                <a:cubicBezTo>
                  <a:pt x="104269" y="52482"/>
                  <a:pt x="103370" y="53849"/>
                  <a:pt x="102471" y="53576"/>
                </a:cubicBezTo>
                <a:cubicBezTo>
                  <a:pt x="101797" y="53576"/>
                  <a:pt x="100224" y="55489"/>
                  <a:pt x="100000" y="56036"/>
                </a:cubicBezTo>
                <a:cubicBezTo>
                  <a:pt x="99550" y="56856"/>
                  <a:pt x="98202" y="56036"/>
                  <a:pt x="97078" y="56856"/>
                </a:cubicBezTo>
                <a:cubicBezTo>
                  <a:pt x="95505" y="57676"/>
                  <a:pt x="96404" y="56583"/>
                  <a:pt x="90786" y="58496"/>
                </a:cubicBezTo>
                <a:cubicBezTo>
                  <a:pt x="89662" y="58769"/>
                  <a:pt x="88764" y="59316"/>
                  <a:pt x="87865" y="59589"/>
                </a:cubicBezTo>
                <a:cubicBezTo>
                  <a:pt x="86966" y="60136"/>
                  <a:pt x="86067" y="59863"/>
                  <a:pt x="86067" y="62050"/>
                </a:cubicBezTo>
                <a:cubicBezTo>
                  <a:pt x="86292" y="63143"/>
                  <a:pt x="87415" y="62323"/>
                  <a:pt x="87191" y="63416"/>
                </a:cubicBezTo>
                <a:cubicBezTo>
                  <a:pt x="87191" y="64236"/>
                  <a:pt x="85617" y="63963"/>
                  <a:pt x="84044" y="65056"/>
                </a:cubicBezTo>
                <a:cubicBezTo>
                  <a:pt x="83370" y="65603"/>
                  <a:pt x="82921" y="67517"/>
                  <a:pt x="82471" y="68063"/>
                </a:cubicBezTo>
                <a:cubicBezTo>
                  <a:pt x="80224" y="69703"/>
                  <a:pt x="78651" y="73257"/>
                  <a:pt x="78651" y="73257"/>
                </a:cubicBezTo>
                <a:cubicBezTo>
                  <a:pt x="77528" y="74624"/>
                  <a:pt x="76179" y="75717"/>
                  <a:pt x="75505" y="77357"/>
                </a:cubicBezTo>
                <a:cubicBezTo>
                  <a:pt x="73932" y="80911"/>
                  <a:pt x="73483" y="78997"/>
                  <a:pt x="74382" y="83371"/>
                </a:cubicBezTo>
                <a:cubicBezTo>
                  <a:pt x="74606" y="83917"/>
                  <a:pt x="74606" y="85831"/>
                  <a:pt x="75280" y="87198"/>
                </a:cubicBezTo>
                <a:cubicBezTo>
                  <a:pt x="76404" y="89111"/>
                  <a:pt x="78876" y="91025"/>
                  <a:pt x="78202" y="91571"/>
                </a:cubicBezTo>
                <a:cubicBezTo>
                  <a:pt x="77752" y="91845"/>
                  <a:pt x="75056" y="94031"/>
                  <a:pt x="74157" y="94031"/>
                </a:cubicBezTo>
                <a:cubicBezTo>
                  <a:pt x="72808" y="94305"/>
                  <a:pt x="72134" y="95398"/>
                  <a:pt x="70337" y="97858"/>
                </a:cubicBezTo>
                <a:cubicBezTo>
                  <a:pt x="69438" y="98678"/>
                  <a:pt x="69213" y="99498"/>
                  <a:pt x="68539" y="100592"/>
                </a:cubicBezTo>
                <a:cubicBezTo>
                  <a:pt x="67415" y="102232"/>
                  <a:pt x="67865" y="101958"/>
                  <a:pt x="66966" y="103872"/>
                </a:cubicBezTo>
                <a:cubicBezTo>
                  <a:pt x="66741" y="104419"/>
                  <a:pt x="66966" y="106332"/>
                  <a:pt x="66966" y="107152"/>
                </a:cubicBezTo>
                <a:cubicBezTo>
                  <a:pt x="64719" y="107425"/>
                  <a:pt x="64719" y="107425"/>
                  <a:pt x="64719" y="107425"/>
                </a:cubicBezTo>
                <a:cubicBezTo>
                  <a:pt x="60898" y="106059"/>
                  <a:pt x="60898" y="106059"/>
                  <a:pt x="60898" y="106059"/>
                </a:cubicBezTo>
                <a:cubicBezTo>
                  <a:pt x="58651" y="108519"/>
                  <a:pt x="58651" y="108519"/>
                  <a:pt x="58651" y="108519"/>
                </a:cubicBezTo>
                <a:cubicBezTo>
                  <a:pt x="57752" y="109339"/>
                  <a:pt x="56404" y="108792"/>
                  <a:pt x="55505" y="109612"/>
                </a:cubicBezTo>
                <a:cubicBezTo>
                  <a:pt x="55505" y="109612"/>
                  <a:pt x="54831" y="112072"/>
                  <a:pt x="54606" y="112619"/>
                </a:cubicBezTo>
                <a:cubicBezTo>
                  <a:pt x="54606" y="113439"/>
                  <a:pt x="53033" y="115626"/>
                  <a:pt x="53033" y="115626"/>
                </a:cubicBezTo>
                <a:cubicBezTo>
                  <a:pt x="52808" y="115899"/>
                  <a:pt x="51685" y="117266"/>
                  <a:pt x="51235" y="117539"/>
                </a:cubicBezTo>
                <a:cubicBezTo>
                  <a:pt x="50561" y="117813"/>
                  <a:pt x="50112" y="115626"/>
                  <a:pt x="49662" y="115626"/>
                </a:cubicBezTo>
                <a:cubicBezTo>
                  <a:pt x="48764" y="115626"/>
                  <a:pt x="48764" y="115353"/>
                  <a:pt x="47865" y="115079"/>
                </a:cubicBezTo>
                <a:cubicBezTo>
                  <a:pt x="46741" y="115079"/>
                  <a:pt x="46516" y="116993"/>
                  <a:pt x="45393" y="116993"/>
                </a:cubicBezTo>
                <a:cubicBezTo>
                  <a:pt x="43595" y="116719"/>
                  <a:pt x="40449" y="114533"/>
                  <a:pt x="40449" y="114533"/>
                </a:cubicBezTo>
                <a:cubicBezTo>
                  <a:pt x="39775" y="114259"/>
                  <a:pt x="39775" y="115353"/>
                  <a:pt x="39101" y="115353"/>
                </a:cubicBezTo>
                <a:cubicBezTo>
                  <a:pt x="37752" y="115079"/>
                  <a:pt x="35955" y="113986"/>
                  <a:pt x="34157" y="113439"/>
                </a:cubicBezTo>
                <a:cubicBezTo>
                  <a:pt x="32808" y="113166"/>
                  <a:pt x="30112" y="112619"/>
                  <a:pt x="30112" y="112619"/>
                </a:cubicBezTo>
                <a:cubicBezTo>
                  <a:pt x="29438" y="113166"/>
                  <a:pt x="28764" y="113166"/>
                  <a:pt x="28089" y="113439"/>
                </a:cubicBezTo>
                <a:cubicBezTo>
                  <a:pt x="27191" y="113986"/>
                  <a:pt x="26292" y="114806"/>
                  <a:pt x="25617" y="115079"/>
                </a:cubicBezTo>
                <a:cubicBezTo>
                  <a:pt x="24943" y="115353"/>
                  <a:pt x="23595" y="113986"/>
                  <a:pt x="21573" y="115353"/>
                </a:cubicBezTo>
                <a:cubicBezTo>
                  <a:pt x="20898" y="115626"/>
                  <a:pt x="20000" y="115353"/>
                  <a:pt x="19550" y="115899"/>
                </a:cubicBezTo>
                <a:cubicBezTo>
                  <a:pt x="18876" y="116719"/>
                  <a:pt x="18651" y="117813"/>
                  <a:pt x="17528" y="118359"/>
                </a:cubicBezTo>
                <a:cubicBezTo>
                  <a:pt x="16853" y="118633"/>
                  <a:pt x="15955" y="119726"/>
                  <a:pt x="15505" y="120000"/>
                </a:cubicBezTo>
                <a:cubicBezTo>
                  <a:pt x="14382" y="119179"/>
                  <a:pt x="12808" y="119179"/>
                  <a:pt x="12359" y="116993"/>
                </a:cubicBezTo>
                <a:cubicBezTo>
                  <a:pt x="12134" y="116173"/>
                  <a:pt x="11460" y="116993"/>
                  <a:pt x="11011" y="116173"/>
                </a:cubicBezTo>
                <a:cubicBezTo>
                  <a:pt x="10112" y="115079"/>
                  <a:pt x="9438" y="112619"/>
                  <a:pt x="9438" y="111526"/>
                </a:cubicBezTo>
                <a:cubicBezTo>
                  <a:pt x="9438" y="111526"/>
                  <a:pt x="10112" y="110432"/>
                  <a:pt x="9438" y="109339"/>
                </a:cubicBezTo>
                <a:cubicBezTo>
                  <a:pt x="8988" y="108246"/>
                  <a:pt x="8314" y="107972"/>
                  <a:pt x="8539" y="106879"/>
                </a:cubicBezTo>
                <a:cubicBezTo>
                  <a:pt x="9213" y="106879"/>
                  <a:pt x="8988" y="104965"/>
                  <a:pt x="8988" y="104965"/>
                </a:cubicBezTo>
                <a:cubicBezTo>
                  <a:pt x="8988" y="104419"/>
                  <a:pt x="7415" y="101138"/>
                  <a:pt x="6966" y="100592"/>
                </a:cubicBezTo>
                <a:cubicBezTo>
                  <a:pt x="5842" y="99772"/>
                  <a:pt x="4494" y="98678"/>
                  <a:pt x="3146" y="98405"/>
                </a:cubicBezTo>
                <a:cubicBezTo>
                  <a:pt x="0" y="97858"/>
                  <a:pt x="0" y="97858"/>
                  <a:pt x="0" y="97858"/>
                </a:cubicBezTo>
                <a:cubicBezTo>
                  <a:pt x="0" y="96765"/>
                  <a:pt x="0" y="96765"/>
                  <a:pt x="0" y="96765"/>
                </a:cubicBezTo>
                <a:cubicBezTo>
                  <a:pt x="0" y="96218"/>
                  <a:pt x="0" y="96218"/>
                  <a:pt x="0" y="96218"/>
                </a:cubicBezTo>
                <a:cubicBezTo>
                  <a:pt x="0" y="95945"/>
                  <a:pt x="0" y="95945"/>
                  <a:pt x="0" y="95945"/>
                </a:cubicBezTo>
                <a:cubicBezTo>
                  <a:pt x="224" y="95125"/>
                  <a:pt x="224" y="95125"/>
                  <a:pt x="224" y="95125"/>
                </a:cubicBezTo>
                <a:cubicBezTo>
                  <a:pt x="449" y="94578"/>
                  <a:pt x="449" y="94578"/>
                  <a:pt x="449" y="94578"/>
                </a:cubicBezTo>
                <a:cubicBezTo>
                  <a:pt x="224" y="94031"/>
                  <a:pt x="224" y="94031"/>
                  <a:pt x="224" y="94031"/>
                </a:cubicBezTo>
                <a:cubicBezTo>
                  <a:pt x="224" y="93485"/>
                  <a:pt x="224" y="93485"/>
                  <a:pt x="224" y="93485"/>
                </a:cubicBezTo>
                <a:cubicBezTo>
                  <a:pt x="224" y="92665"/>
                  <a:pt x="224" y="92665"/>
                  <a:pt x="224" y="92665"/>
                </a:cubicBezTo>
                <a:cubicBezTo>
                  <a:pt x="224" y="92665"/>
                  <a:pt x="0" y="92118"/>
                  <a:pt x="0" y="92118"/>
                </a:cubicBezTo>
                <a:cubicBezTo>
                  <a:pt x="0" y="92118"/>
                  <a:pt x="0" y="91571"/>
                  <a:pt x="0" y="91571"/>
                </a:cubicBezTo>
                <a:cubicBezTo>
                  <a:pt x="0" y="91571"/>
                  <a:pt x="449" y="91298"/>
                  <a:pt x="449" y="91298"/>
                </a:cubicBezTo>
                <a:cubicBezTo>
                  <a:pt x="449" y="91025"/>
                  <a:pt x="898" y="90751"/>
                  <a:pt x="898" y="90751"/>
                </a:cubicBezTo>
                <a:cubicBezTo>
                  <a:pt x="898" y="90751"/>
                  <a:pt x="1123" y="89931"/>
                  <a:pt x="1123" y="89658"/>
                </a:cubicBezTo>
                <a:cubicBezTo>
                  <a:pt x="1123" y="89658"/>
                  <a:pt x="1348" y="89384"/>
                  <a:pt x="1348" y="89384"/>
                </a:cubicBezTo>
                <a:cubicBezTo>
                  <a:pt x="2022" y="89111"/>
                  <a:pt x="2022" y="89111"/>
                  <a:pt x="2022" y="89111"/>
                </a:cubicBezTo>
                <a:cubicBezTo>
                  <a:pt x="2471" y="88564"/>
                  <a:pt x="2471" y="88564"/>
                  <a:pt x="2471" y="88564"/>
                </a:cubicBezTo>
                <a:cubicBezTo>
                  <a:pt x="2921" y="88291"/>
                  <a:pt x="2921" y="88291"/>
                  <a:pt x="2921" y="88291"/>
                </a:cubicBezTo>
                <a:cubicBezTo>
                  <a:pt x="3370" y="87744"/>
                  <a:pt x="3370" y="87744"/>
                  <a:pt x="3370" y="87744"/>
                </a:cubicBezTo>
                <a:cubicBezTo>
                  <a:pt x="3595" y="86651"/>
                  <a:pt x="3595" y="86651"/>
                  <a:pt x="3595" y="86651"/>
                </a:cubicBezTo>
                <a:cubicBezTo>
                  <a:pt x="3820" y="86378"/>
                  <a:pt x="3820" y="86378"/>
                  <a:pt x="3820" y="86378"/>
                </a:cubicBezTo>
                <a:cubicBezTo>
                  <a:pt x="3820" y="86378"/>
                  <a:pt x="4494" y="86378"/>
                  <a:pt x="4494" y="86378"/>
                </a:cubicBezTo>
                <a:cubicBezTo>
                  <a:pt x="4494" y="86378"/>
                  <a:pt x="4943" y="86378"/>
                  <a:pt x="4943" y="86378"/>
                </a:cubicBezTo>
                <a:cubicBezTo>
                  <a:pt x="4943" y="86104"/>
                  <a:pt x="4943" y="86104"/>
                  <a:pt x="4943" y="86104"/>
                </a:cubicBezTo>
                <a:cubicBezTo>
                  <a:pt x="5393" y="85831"/>
                  <a:pt x="5393" y="85831"/>
                  <a:pt x="5393" y="85831"/>
                </a:cubicBezTo>
                <a:cubicBezTo>
                  <a:pt x="5842" y="86378"/>
                  <a:pt x="5842" y="86378"/>
                  <a:pt x="5842" y="86378"/>
                </a:cubicBezTo>
                <a:cubicBezTo>
                  <a:pt x="5842" y="86378"/>
                  <a:pt x="6067" y="86378"/>
                  <a:pt x="6292" y="86378"/>
                </a:cubicBezTo>
                <a:cubicBezTo>
                  <a:pt x="6292" y="86378"/>
                  <a:pt x="6516" y="86378"/>
                  <a:pt x="6516" y="86378"/>
                </a:cubicBezTo>
                <a:cubicBezTo>
                  <a:pt x="6516" y="85558"/>
                  <a:pt x="6516" y="85558"/>
                  <a:pt x="6516" y="85558"/>
                </a:cubicBezTo>
                <a:cubicBezTo>
                  <a:pt x="7415" y="84464"/>
                  <a:pt x="7415" y="84464"/>
                  <a:pt x="7415" y="84464"/>
                </a:cubicBezTo>
                <a:cubicBezTo>
                  <a:pt x="7415" y="84464"/>
                  <a:pt x="7415" y="84191"/>
                  <a:pt x="7415" y="84191"/>
                </a:cubicBezTo>
                <a:cubicBezTo>
                  <a:pt x="7415" y="84191"/>
                  <a:pt x="7415" y="83917"/>
                  <a:pt x="7415" y="83917"/>
                </a:cubicBezTo>
                <a:cubicBezTo>
                  <a:pt x="7191" y="83644"/>
                  <a:pt x="6966" y="83917"/>
                  <a:pt x="6966" y="83917"/>
                </a:cubicBezTo>
                <a:cubicBezTo>
                  <a:pt x="6966" y="83917"/>
                  <a:pt x="6516" y="83917"/>
                  <a:pt x="6516" y="83917"/>
                </a:cubicBezTo>
                <a:cubicBezTo>
                  <a:pt x="6516" y="83917"/>
                  <a:pt x="6067" y="83917"/>
                  <a:pt x="5842" y="83917"/>
                </a:cubicBezTo>
                <a:cubicBezTo>
                  <a:pt x="5842" y="83917"/>
                  <a:pt x="5842" y="83644"/>
                  <a:pt x="5842" y="83644"/>
                </a:cubicBezTo>
                <a:cubicBezTo>
                  <a:pt x="5617" y="83097"/>
                  <a:pt x="5617" y="83097"/>
                  <a:pt x="5617" y="83097"/>
                </a:cubicBezTo>
                <a:cubicBezTo>
                  <a:pt x="5617" y="83097"/>
                  <a:pt x="5393" y="82551"/>
                  <a:pt x="5393" y="82277"/>
                </a:cubicBezTo>
                <a:cubicBezTo>
                  <a:pt x="5393" y="82004"/>
                  <a:pt x="5393" y="81731"/>
                  <a:pt x="5393" y="81457"/>
                </a:cubicBezTo>
                <a:cubicBezTo>
                  <a:pt x="5393" y="81457"/>
                  <a:pt x="5168" y="81184"/>
                  <a:pt x="5168" y="81184"/>
                </a:cubicBezTo>
                <a:cubicBezTo>
                  <a:pt x="5168" y="81184"/>
                  <a:pt x="4943" y="80911"/>
                  <a:pt x="4943" y="80637"/>
                </a:cubicBezTo>
                <a:cubicBezTo>
                  <a:pt x="4943" y="80637"/>
                  <a:pt x="4719" y="79817"/>
                  <a:pt x="4719" y="79817"/>
                </a:cubicBezTo>
                <a:cubicBezTo>
                  <a:pt x="4494" y="79544"/>
                  <a:pt x="4494" y="79544"/>
                  <a:pt x="4494" y="79544"/>
                </a:cubicBezTo>
                <a:cubicBezTo>
                  <a:pt x="4719" y="79271"/>
                  <a:pt x="4719" y="79271"/>
                  <a:pt x="4719" y="79271"/>
                </a:cubicBezTo>
                <a:cubicBezTo>
                  <a:pt x="4494" y="78724"/>
                  <a:pt x="4494" y="78724"/>
                  <a:pt x="4494" y="78724"/>
                </a:cubicBezTo>
                <a:cubicBezTo>
                  <a:pt x="4943" y="78724"/>
                  <a:pt x="4943" y="78724"/>
                  <a:pt x="4943" y="78724"/>
                </a:cubicBezTo>
                <a:cubicBezTo>
                  <a:pt x="4719" y="78451"/>
                  <a:pt x="4719" y="78451"/>
                  <a:pt x="4719" y="78451"/>
                </a:cubicBezTo>
                <a:cubicBezTo>
                  <a:pt x="4943" y="77904"/>
                  <a:pt x="4943" y="77904"/>
                  <a:pt x="4943" y="77904"/>
                </a:cubicBezTo>
                <a:cubicBezTo>
                  <a:pt x="4943" y="77904"/>
                  <a:pt x="5393" y="77630"/>
                  <a:pt x="5393" y="77630"/>
                </a:cubicBezTo>
                <a:cubicBezTo>
                  <a:pt x="5393" y="77630"/>
                  <a:pt x="5842" y="77084"/>
                  <a:pt x="5842" y="77084"/>
                </a:cubicBezTo>
                <a:cubicBezTo>
                  <a:pt x="5842" y="77084"/>
                  <a:pt x="5617" y="76810"/>
                  <a:pt x="5617" y="76810"/>
                </a:cubicBezTo>
                <a:cubicBezTo>
                  <a:pt x="5617" y="76810"/>
                  <a:pt x="5617" y="76264"/>
                  <a:pt x="5617" y="76264"/>
                </a:cubicBezTo>
                <a:cubicBezTo>
                  <a:pt x="6067" y="75170"/>
                  <a:pt x="6067" y="75170"/>
                  <a:pt x="6067" y="75170"/>
                </a:cubicBezTo>
                <a:cubicBezTo>
                  <a:pt x="6292" y="75170"/>
                  <a:pt x="6292" y="75170"/>
                  <a:pt x="6292" y="75170"/>
                </a:cubicBezTo>
                <a:cubicBezTo>
                  <a:pt x="6966" y="74897"/>
                  <a:pt x="6966" y="74897"/>
                  <a:pt x="6966" y="74897"/>
                </a:cubicBezTo>
                <a:cubicBezTo>
                  <a:pt x="7191" y="74624"/>
                  <a:pt x="7191" y="74624"/>
                  <a:pt x="7191" y="74624"/>
                </a:cubicBezTo>
                <a:cubicBezTo>
                  <a:pt x="7415" y="74624"/>
                  <a:pt x="7415" y="74624"/>
                  <a:pt x="7415" y="74624"/>
                </a:cubicBezTo>
                <a:cubicBezTo>
                  <a:pt x="7865" y="74350"/>
                  <a:pt x="7865" y="74350"/>
                  <a:pt x="7865" y="74350"/>
                </a:cubicBezTo>
                <a:cubicBezTo>
                  <a:pt x="8314" y="74077"/>
                  <a:pt x="8314" y="74077"/>
                  <a:pt x="8314" y="74077"/>
                </a:cubicBezTo>
                <a:cubicBezTo>
                  <a:pt x="8539" y="73804"/>
                  <a:pt x="8539" y="73804"/>
                  <a:pt x="8539" y="73804"/>
                </a:cubicBezTo>
                <a:cubicBezTo>
                  <a:pt x="8539" y="73257"/>
                  <a:pt x="8539" y="73257"/>
                  <a:pt x="8539" y="73257"/>
                </a:cubicBezTo>
                <a:cubicBezTo>
                  <a:pt x="8764" y="72984"/>
                  <a:pt x="8764" y="72984"/>
                  <a:pt x="8764" y="72984"/>
                </a:cubicBezTo>
                <a:cubicBezTo>
                  <a:pt x="9213" y="72437"/>
                  <a:pt x="9213" y="72437"/>
                  <a:pt x="9213" y="72437"/>
                </a:cubicBezTo>
                <a:cubicBezTo>
                  <a:pt x="9662" y="71890"/>
                  <a:pt x="9662" y="71890"/>
                  <a:pt x="9662" y="71890"/>
                </a:cubicBezTo>
                <a:cubicBezTo>
                  <a:pt x="9662" y="71343"/>
                  <a:pt x="9662" y="71343"/>
                  <a:pt x="9662" y="71343"/>
                </a:cubicBezTo>
                <a:cubicBezTo>
                  <a:pt x="9438" y="71070"/>
                  <a:pt x="9438" y="71070"/>
                  <a:pt x="9438" y="71070"/>
                </a:cubicBezTo>
                <a:cubicBezTo>
                  <a:pt x="9438" y="71070"/>
                  <a:pt x="9213" y="70523"/>
                  <a:pt x="9213" y="70250"/>
                </a:cubicBezTo>
                <a:cubicBezTo>
                  <a:pt x="9213" y="70250"/>
                  <a:pt x="8988" y="70250"/>
                  <a:pt x="8988" y="70250"/>
                </a:cubicBezTo>
                <a:cubicBezTo>
                  <a:pt x="8539" y="70523"/>
                  <a:pt x="8539" y="70523"/>
                  <a:pt x="8539" y="70523"/>
                </a:cubicBezTo>
                <a:cubicBezTo>
                  <a:pt x="8539" y="70523"/>
                  <a:pt x="8314" y="70250"/>
                  <a:pt x="8089" y="70250"/>
                </a:cubicBezTo>
                <a:cubicBezTo>
                  <a:pt x="8089" y="70250"/>
                  <a:pt x="8089" y="69977"/>
                  <a:pt x="8089" y="69977"/>
                </a:cubicBezTo>
                <a:cubicBezTo>
                  <a:pt x="8314" y="69703"/>
                  <a:pt x="8314" y="69703"/>
                  <a:pt x="8314" y="69703"/>
                </a:cubicBezTo>
                <a:cubicBezTo>
                  <a:pt x="8314" y="69157"/>
                  <a:pt x="8314" y="69157"/>
                  <a:pt x="8314" y="69157"/>
                </a:cubicBezTo>
                <a:cubicBezTo>
                  <a:pt x="7865" y="69157"/>
                  <a:pt x="7865" y="69157"/>
                  <a:pt x="7865" y="69157"/>
                </a:cubicBezTo>
                <a:cubicBezTo>
                  <a:pt x="7640" y="68610"/>
                  <a:pt x="7640" y="68610"/>
                  <a:pt x="7640" y="68610"/>
                </a:cubicBezTo>
                <a:cubicBezTo>
                  <a:pt x="7415" y="68063"/>
                  <a:pt x="7415" y="68063"/>
                  <a:pt x="7415" y="68063"/>
                </a:cubicBezTo>
                <a:cubicBezTo>
                  <a:pt x="7415" y="67517"/>
                  <a:pt x="7415" y="67517"/>
                  <a:pt x="7415" y="67517"/>
                </a:cubicBezTo>
                <a:cubicBezTo>
                  <a:pt x="7640" y="67243"/>
                  <a:pt x="7640" y="67243"/>
                  <a:pt x="7640" y="67243"/>
                </a:cubicBezTo>
                <a:cubicBezTo>
                  <a:pt x="7640" y="66970"/>
                  <a:pt x="7640" y="66970"/>
                  <a:pt x="7640" y="66970"/>
                </a:cubicBezTo>
                <a:cubicBezTo>
                  <a:pt x="7415" y="66697"/>
                  <a:pt x="7415" y="66697"/>
                  <a:pt x="7415" y="66697"/>
                </a:cubicBezTo>
                <a:cubicBezTo>
                  <a:pt x="7415" y="66150"/>
                  <a:pt x="7415" y="66150"/>
                  <a:pt x="7415" y="66150"/>
                </a:cubicBezTo>
                <a:cubicBezTo>
                  <a:pt x="7191" y="65603"/>
                  <a:pt x="7191" y="65603"/>
                  <a:pt x="7191" y="65603"/>
                </a:cubicBezTo>
                <a:cubicBezTo>
                  <a:pt x="7415" y="65330"/>
                  <a:pt x="7415" y="65330"/>
                  <a:pt x="7415" y="65330"/>
                </a:cubicBezTo>
                <a:cubicBezTo>
                  <a:pt x="7640" y="65056"/>
                  <a:pt x="7640" y="65056"/>
                  <a:pt x="7640" y="65056"/>
                </a:cubicBezTo>
                <a:cubicBezTo>
                  <a:pt x="7640" y="64510"/>
                  <a:pt x="7640" y="64510"/>
                  <a:pt x="7640" y="64510"/>
                </a:cubicBezTo>
                <a:cubicBezTo>
                  <a:pt x="7640" y="64510"/>
                  <a:pt x="7191" y="64236"/>
                  <a:pt x="7191" y="64236"/>
                </a:cubicBezTo>
                <a:cubicBezTo>
                  <a:pt x="7191" y="64236"/>
                  <a:pt x="6966" y="63690"/>
                  <a:pt x="6966" y="63690"/>
                </a:cubicBezTo>
                <a:cubicBezTo>
                  <a:pt x="6966" y="63416"/>
                  <a:pt x="6966" y="63416"/>
                  <a:pt x="6966" y="63416"/>
                </a:cubicBezTo>
                <a:cubicBezTo>
                  <a:pt x="6966" y="63416"/>
                  <a:pt x="6516" y="62870"/>
                  <a:pt x="6516" y="62870"/>
                </a:cubicBezTo>
                <a:cubicBezTo>
                  <a:pt x="6516" y="62870"/>
                  <a:pt x="6516" y="62323"/>
                  <a:pt x="6516" y="62323"/>
                </a:cubicBezTo>
                <a:cubicBezTo>
                  <a:pt x="6516" y="62323"/>
                  <a:pt x="6292" y="61776"/>
                  <a:pt x="6292" y="61776"/>
                </a:cubicBezTo>
                <a:cubicBezTo>
                  <a:pt x="6067" y="61503"/>
                  <a:pt x="6067" y="61230"/>
                  <a:pt x="6067" y="61230"/>
                </a:cubicBezTo>
                <a:cubicBezTo>
                  <a:pt x="6516" y="61230"/>
                  <a:pt x="6516" y="61230"/>
                  <a:pt x="6516" y="61230"/>
                </a:cubicBezTo>
                <a:cubicBezTo>
                  <a:pt x="6966" y="61230"/>
                  <a:pt x="6966" y="61230"/>
                  <a:pt x="6966" y="61230"/>
                </a:cubicBezTo>
                <a:cubicBezTo>
                  <a:pt x="7191" y="61776"/>
                  <a:pt x="7191" y="61776"/>
                  <a:pt x="7191" y="61776"/>
                </a:cubicBezTo>
                <a:cubicBezTo>
                  <a:pt x="7415" y="61503"/>
                  <a:pt x="7415" y="61503"/>
                  <a:pt x="7415" y="61503"/>
                </a:cubicBezTo>
                <a:cubicBezTo>
                  <a:pt x="7415" y="61776"/>
                  <a:pt x="7415" y="61776"/>
                  <a:pt x="7415" y="61776"/>
                </a:cubicBezTo>
                <a:cubicBezTo>
                  <a:pt x="7865" y="61776"/>
                  <a:pt x="7865" y="61776"/>
                  <a:pt x="7865" y="61776"/>
                </a:cubicBezTo>
                <a:cubicBezTo>
                  <a:pt x="8539" y="61776"/>
                  <a:pt x="8539" y="61776"/>
                  <a:pt x="8539" y="61776"/>
                </a:cubicBezTo>
                <a:cubicBezTo>
                  <a:pt x="8988" y="61776"/>
                  <a:pt x="8988" y="61776"/>
                  <a:pt x="8988" y="61776"/>
                </a:cubicBezTo>
                <a:cubicBezTo>
                  <a:pt x="9213" y="61776"/>
                  <a:pt x="9213" y="61776"/>
                  <a:pt x="9213" y="61776"/>
                </a:cubicBezTo>
                <a:cubicBezTo>
                  <a:pt x="9213" y="61776"/>
                  <a:pt x="9438" y="62050"/>
                  <a:pt x="9438" y="62050"/>
                </a:cubicBezTo>
                <a:cubicBezTo>
                  <a:pt x="9662" y="62323"/>
                  <a:pt x="9887" y="62050"/>
                  <a:pt x="9887" y="62050"/>
                </a:cubicBezTo>
                <a:cubicBezTo>
                  <a:pt x="9887" y="62323"/>
                  <a:pt x="10337" y="62323"/>
                  <a:pt x="10337" y="62323"/>
                </a:cubicBezTo>
                <a:cubicBezTo>
                  <a:pt x="10337" y="62323"/>
                  <a:pt x="10561" y="62050"/>
                  <a:pt x="10786" y="62050"/>
                </a:cubicBezTo>
                <a:cubicBezTo>
                  <a:pt x="10786" y="62050"/>
                  <a:pt x="11011" y="62050"/>
                  <a:pt x="11011" y="62050"/>
                </a:cubicBezTo>
                <a:cubicBezTo>
                  <a:pt x="11235" y="61776"/>
                  <a:pt x="11235" y="61776"/>
                  <a:pt x="11235" y="61776"/>
                </a:cubicBezTo>
                <a:cubicBezTo>
                  <a:pt x="11235" y="61230"/>
                  <a:pt x="11235" y="61230"/>
                  <a:pt x="11235" y="61230"/>
                </a:cubicBezTo>
                <a:cubicBezTo>
                  <a:pt x="11460" y="61230"/>
                  <a:pt x="11460" y="61230"/>
                  <a:pt x="11460" y="61230"/>
                </a:cubicBezTo>
                <a:cubicBezTo>
                  <a:pt x="11460" y="60956"/>
                  <a:pt x="11460" y="60956"/>
                  <a:pt x="11460" y="60956"/>
                </a:cubicBezTo>
                <a:cubicBezTo>
                  <a:pt x="11685" y="60410"/>
                  <a:pt x="11685" y="60410"/>
                  <a:pt x="11685" y="60410"/>
                </a:cubicBezTo>
                <a:cubicBezTo>
                  <a:pt x="11685" y="60136"/>
                  <a:pt x="11685" y="60136"/>
                  <a:pt x="11685" y="60136"/>
                </a:cubicBezTo>
                <a:cubicBezTo>
                  <a:pt x="12134" y="60136"/>
                  <a:pt x="12134" y="60136"/>
                  <a:pt x="12134" y="60136"/>
                </a:cubicBezTo>
                <a:cubicBezTo>
                  <a:pt x="12359" y="59863"/>
                  <a:pt x="12359" y="59863"/>
                  <a:pt x="12359" y="59863"/>
                </a:cubicBezTo>
                <a:cubicBezTo>
                  <a:pt x="12584" y="59316"/>
                  <a:pt x="12584" y="59316"/>
                  <a:pt x="12584" y="59316"/>
                </a:cubicBezTo>
                <a:cubicBezTo>
                  <a:pt x="12808" y="58769"/>
                  <a:pt x="12808" y="58769"/>
                  <a:pt x="12808" y="58769"/>
                </a:cubicBezTo>
                <a:cubicBezTo>
                  <a:pt x="12808" y="58769"/>
                  <a:pt x="13033" y="58223"/>
                  <a:pt x="13033" y="58223"/>
                </a:cubicBezTo>
                <a:cubicBezTo>
                  <a:pt x="13033" y="58223"/>
                  <a:pt x="13258" y="57676"/>
                  <a:pt x="13258" y="57676"/>
                </a:cubicBezTo>
                <a:cubicBezTo>
                  <a:pt x="13033" y="56856"/>
                  <a:pt x="13033" y="56856"/>
                  <a:pt x="13033" y="56856"/>
                </a:cubicBezTo>
                <a:cubicBezTo>
                  <a:pt x="12808" y="56309"/>
                  <a:pt x="12808" y="56309"/>
                  <a:pt x="12808" y="56309"/>
                </a:cubicBezTo>
                <a:cubicBezTo>
                  <a:pt x="12584" y="55763"/>
                  <a:pt x="12584" y="55763"/>
                  <a:pt x="12584" y="55763"/>
                </a:cubicBezTo>
                <a:cubicBezTo>
                  <a:pt x="12584" y="55763"/>
                  <a:pt x="12584" y="55489"/>
                  <a:pt x="12359" y="55489"/>
                </a:cubicBezTo>
                <a:cubicBezTo>
                  <a:pt x="12359" y="55489"/>
                  <a:pt x="12359" y="55216"/>
                  <a:pt x="12359" y="55216"/>
                </a:cubicBezTo>
                <a:cubicBezTo>
                  <a:pt x="12359" y="54669"/>
                  <a:pt x="12359" y="54669"/>
                  <a:pt x="12359" y="54669"/>
                </a:cubicBezTo>
                <a:cubicBezTo>
                  <a:pt x="12584" y="54396"/>
                  <a:pt x="12584" y="54396"/>
                  <a:pt x="12584" y="54396"/>
                </a:cubicBezTo>
                <a:cubicBezTo>
                  <a:pt x="12808" y="54396"/>
                  <a:pt x="12808" y="54396"/>
                  <a:pt x="12808" y="54396"/>
                </a:cubicBezTo>
                <a:cubicBezTo>
                  <a:pt x="13258" y="53849"/>
                  <a:pt x="13258" y="53849"/>
                  <a:pt x="13258" y="53849"/>
                </a:cubicBezTo>
                <a:cubicBezTo>
                  <a:pt x="13483" y="53849"/>
                  <a:pt x="13483" y="53849"/>
                  <a:pt x="13483" y="53849"/>
                </a:cubicBezTo>
                <a:cubicBezTo>
                  <a:pt x="13932" y="53849"/>
                  <a:pt x="13932" y="53849"/>
                  <a:pt x="13932" y="53849"/>
                </a:cubicBezTo>
                <a:cubicBezTo>
                  <a:pt x="14382" y="53302"/>
                  <a:pt x="14382" y="53302"/>
                  <a:pt x="14382" y="53302"/>
                </a:cubicBezTo>
                <a:cubicBezTo>
                  <a:pt x="14606" y="53302"/>
                  <a:pt x="14606" y="53302"/>
                  <a:pt x="14606" y="53302"/>
                </a:cubicBezTo>
                <a:cubicBezTo>
                  <a:pt x="14831" y="53029"/>
                  <a:pt x="14831" y="53029"/>
                  <a:pt x="14831" y="53029"/>
                </a:cubicBezTo>
                <a:cubicBezTo>
                  <a:pt x="15056" y="52482"/>
                  <a:pt x="15056" y="52482"/>
                  <a:pt x="15056" y="52482"/>
                </a:cubicBezTo>
                <a:cubicBezTo>
                  <a:pt x="14831" y="51936"/>
                  <a:pt x="14831" y="51936"/>
                  <a:pt x="14831" y="51936"/>
                </a:cubicBezTo>
                <a:cubicBezTo>
                  <a:pt x="14606" y="51662"/>
                  <a:pt x="14606" y="51662"/>
                  <a:pt x="14606" y="51662"/>
                </a:cubicBezTo>
                <a:cubicBezTo>
                  <a:pt x="14831" y="50842"/>
                  <a:pt x="14831" y="50842"/>
                  <a:pt x="14831" y="50842"/>
                </a:cubicBezTo>
                <a:cubicBezTo>
                  <a:pt x="15280" y="50569"/>
                  <a:pt x="15280" y="50569"/>
                  <a:pt x="15280" y="50569"/>
                </a:cubicBezTo>
                <a:cubicBezTo>
                  <a:pt x="15280" y="49749"/>
                  <a:pt x="15280" y="49749"/>
                  <a:pt x="15280" y="49749"/>
                </a:cubicBezTo>
                <a:cubicBezTo>
                  <a:pt x="15056" y="49476"/>
                  <a:pt x="15056" y="49476"/>
                  <a:pt x="15056" y="49476"/>
                </a:cubicBezTo>
                <a:cubicBezTo>
                  <a:pt x="15280" y="48929"/>
                  <a:pt x="15280" y="48929"/>
                  <a:pt x="15280" y="48929"/>
                </a:cubicBezTo>
                <a:cubicBezTo>
                  <a:pt x="15505" y="48656"/>
                  <a:pt x="15505" y="48656"/>
                  <a:pt x="15505" y="48656"/>
                </a:cubicBezTo>
                <a:cubicBezTo>
                  <a:pt x="15505" y="48656"/>
                  <a:pt x="15730" y="48109"/>
                  <a:pt x="15730" y="47835"/>
                </a:cubicBezTo>
                <a:cubicBezTo>
                  <a:pt x="15955" y="47835"/>
                  <a:pt x="15955" y="47015"/>
                  <a:pt x="15955" y="47015"/>
                </a:cubicBezTo>
                <a:cubicBezTo>
                  <a:pt x="15730" y="46469"/>
                  <a:pt x="15730" y="46469"/>
                  <a:pt x="15730" y="46469"/>
                </a:cubicBezTo>
                <a:cubicBezTo>
                  <a:pt x="15730" y="46195"/>
                  <a:pt x="15730" y="46195"/>
                  <a:pt x="15730" y="46195"/>
                </a:cubicBezTo>
                <a:cubicBezTo>
                  <a:pt x="15730" y="46195"/>
                  <a:pt x="16179" y="45922"/>
                  <a:pt x="16179" y="45922"/>
                </a:cubicBezTo>
                <a:cubicBezTo>
                  <a:pt x="16404" y="45922"/>
                  <a:pt x="16404" y="45102"/>
                  <a:pt x="16404" y="45102"/>
                </a:cubicBezTo>
                <a:cubicBezTo>
                  <a:pt x="15955" y="44829"/>
                  <a:pt x="15955" y="44829"/>
                  <a:pt x="15955" y="44829"/>
                </a:cubicBezTo>
                <a:cubicBezTo>
                  <a:pt x="15955" y="44829"/>
                  <a:pt x="15955" y="44282"/>
                  <a:pt x="15955" y="44009"/>
                </a:cubicBezTo>
                <a:cubicBezTo>
                  <a:pt x="15955" y="44009"/>
                  <a:pt x="15955" y="43462"/>
                  <a:pt x="15955" y="43462"/>
                </a:cubicBezTo>
                <a:cubicBezTo>
                  <a:pt x="15730" y="43462"/>
                  <a:pt x="15730" y="43462"/>
                  <a:pt x="15730" y="43462"/>
                </a:cubicBezTo>
                <a:cubicBezTo>
                  <a:pt x="15730" y="42915"/>
                  <a:pt x="15730" y="42915"/>
                  <a:pt x="15730" y="42915"/>
                </a:cubicBezTo>
                <a:cubicBezTo>
                  <a:pt x="15955" y="42642"/>
                  <a:pt x="15955" y="42642"/>
                  <a:pt x="15955" y="42642"/>
                </a:cubicBezTo>
                <a:cubicBezTo>
                  <a:pt x="16404" y="42915"/>
                  <a:pt x="16404" y="42915"/>
                  <a:pt x="16404" y="42915"/>
                </a:cubicBezTo>
                <a:cubicBezTo>
                  <a:pt x="16404" y="42915"/>
                  <a:pt x="16629" y="42642"/>
                  <a:pt x="16853" y="42642"/>
                </a:cubicBezTo>
                <a:cubicBezTo>
                  <a:pt x="16853" y="42369"/>
                  <a:pt x="17303" y="42369"/>
                  <a:pt x="17303" y="42369"/>
                </a:cubicBezTo>
                <a:cubicBezTo>
                  <a:pt x="17528" y="41548"/>
                  <a:pt x="17528" y="41548"/>
                  <a:pt x="17528" y="41548"/>
                </a:cubicBezTo>
                <a:cubicBezTo>
                  <a:pt x="18426" y="41002"/>
                  <a:pt x="18426" y="41002"/>
                  <a:pt x="18426" y="41002"/>
                </a:cubicBezTo>
                <a:cubicBezTo>
                  <a:pt x="18426" y="40728"/>
                  <a:pt x="18426" y="40728"/>
                  <a:pt x="18426" y="40728"/>
                </a:cubicBezTo>
                <a:cubicBezTo>
                  <a:pt x="19101" y="40455"/>
                  <a:pt x="19101" y="40455"/>
                  <a:pt x="19101" y="40455"/>
                </a:cubicBezTo>
                <a:cubicBezTo>
                  <a:pt x="19550" y="40728"/>
                  <a:pt x="19550" y="40728"/>
                  <a:pt x="19550" y="40728"/>
                </a:cubicBezTo>
                <a:cubicBezTo>
                  <a:pt x="20000" y="40182"/>
                  <a:pt x="20000" y="40182"/>
                  <a:pt x="20000" y="40182"/>
                </a:cubicBezTo>
                <a:cubicBezTo>
                  <a:pt x="20224" y="40182"/>
                  <a:pt x="20224" y="40182"/>
                  <a:pt x="20224" y="40182"/>
                </a:cubicBezTo>
                <a:cubicBezTo>
                  <a:pt x="20674" y="39908"/>
                  <a:pt x="20674" y="39908"/>
                  <a:pt x="20674" y="39908"/>
                </a:cubicBezTo>
                <a:cubicBezTo>
                  <a:pt x="21123" y="39635"/>
                  <a:pt x="21123" y="39635"/>
                  <a:pt x="21123" y="39635"/>
                </a:cubicBezTo>
                <a:cubicBezTo>
                  <a:pt x="21797" y="38815"/>
                  <a:pt x="21797" y="38815"/>
                  <a:pt x="21797" y="38815"/>
                </a:cubicBezTo>
                <a:cubicBezTo>
                  <a:pt x="22022" y="38815"/>
                  <a:pt x="22022" y="38815"/>
                  <a:pt x="22022" y="38815"/>
                </a:cubicBezTo>
                <a:cubicBezTo>
                  <a:pt x="22022" y="38815"/>
                  <a:pt x="22471" y="38542"/>
                  <a:pt x="22471" y="38542"/>
                </a:cubicBezTo>
                <a:cubicBezTo>
                  <a:pt x="22471" y="38542"/>
                  <a:pt x="22696" y="37995"/>
                  <a:pt x="22696" y="37995"/>
                </a:cubicBezTo>
                <a:cubicBezTo>
                  <a:pt x="23146" y="37722"/>
                  <a:pt x="23146" y="37722"/>
                  <a:pt x="23146" y="37722"/>
                </a:cubicBezTo>
                <a:cubicBezTo>
                  <a:pt x="23595" y="36902"/>
                  <a:pt x="23595" y="36902"/>
                  <a:pt x="23595" y="36902"/>
                </a:cubicBezTo>
                <a:cubicBezTo>
                  <a:pt x="24044" y="36355"/>
                  <a:pt x="24044" y="36355"/>
                  <a:pt x="24044" y="36355"/>
                </a:cubicBezTo>
                <a:cubicBezTo>
                  <a:pt x="23595" y="35535"/>
                  <a:pt x="23595" y="35535"/>
                  <a:pt x="23595" y="35535"/>
                </a:cubicBezTo>
                <a:cubicBezTo>
                  <a:pt x="23595" y="35535"/>
                  <a:pt x="23146" y="34988"/>
                  <a:pt x="22921" y="34988"/>
                </a:cubicBezTo>
                <a:cubicBezTo>
                  <a:pt x="22921" y="34715"/>
                  <a:pt x="22471" y="34441"/>
                  <a:pt x="22471" y="34441"/>
                </a:cubicBezTo>
                <a:cubicBezTo>
                  <a:pt x="22471" y="34441"/>
                  <a:pt x="21797" y="34168"/>
                  <a:pt x="21797" y="34168"/>
                </a:cubicBezTo>
                <a:cubicBezTo>
                  <a:pt x="21797" y="34168"/>
                  <a:pt x="21348" y="34441"/>
                  <a:pt x="21348" y="34441"/>
                </a:cubicBezTo>
                <a:cubicBezTo>
                  <a:pt x="21123" y="34168"/>
                  <a:pt x="21123" y="34168"/>
                  <a:pt x="21123" y="34168"/>
                </a:cubicBezTo>
                <a:cubicBezTo>
                  <a:pt x="21123" y="34168"/>
                  <a:pt x="20898" y="33621"/>
                  <a:pt x="21123" y="33621"/>
                </a:cubicBezTo>
                <a:cubicBezTo>
                  <a:pt x="21123" y="33621"/>
                  <a:pt x="21123" y="33348"/>
                  <a:pt x="21123" y="33348"/>
                </a:cubicBezTo>
                <a:cubicBezTo>
                  <a:pt x="21123" y="33075"/>
                  <a:pt x="21123" y="33075"/>
                  <a:pt x="21123" y="33075"/>
                </a:cubicBezTo>
                <a:cubicBezTo>
                  <a:pt x="21123" y="32801"/>
                  <a:pt x="21123" y="32801"/>
                  <a:pt x="21123" y="32801"/>
                </a:cubicBezTo>
                <a:cubicBezTo>
                  <a:pt x="21348" y="32528"/>
                  <a:pt x="21348" y="32528"/>
                  <a:pt x="21348" y="32528"/>
                </a:cubicBezTo>
                <a:cubicBezTo>
                  <a:pt x="21348" y="32528"/>
                  <a:pt x="21573" y="32255"/>
                  <a:pt x="21573" y="31981"/>
                </a:cubicBezTo>
                <a:cubicBezTo>
                  <a:pt x="21573" y="31981"/>
                  <a:pt x="21797" y="31435"/>
                  <a:pt x="21797" y="31435"/>
                </a:cubicBezTo>
                <a:cubicBezTo>
                  <a:pt x="21797" y="31435"/>
                  <a:pt x="21573" y="31161"/>
                  <a:pt x="21573" y="30888"/>
                </a:cubicBezTo>
                <a:cubicBezTo>
                  <a:pt x="21348" y="30888"/>
                  <a:pt x="21348" y="30888"/>
                  <a:pt x="21573" y="30615"/>
                </a:cubicBezTo>
                <a:cubicBezTo>
                  <a:pt x="21573" y="30615"/>
                  <a:pt x="21573" y="30341"/>
                  <a:pt x="21573" y="30341"/>
                </a:cubicBezTo>
                <a:cubicBezTo>
                  <a:pt x="21573" y="30341"/>
                  <a:pt x="21573" y="29794"/>
                  <a:pt x="21348" y="29794"/>
                </a:cubicBezTo>
                <a:cubicBezTo>
                  <a:pt x="21348" y="29794"/>
                  <a:pt x="20898" y="30068"/>
                  <a:pt x="20898" y="30068"/>
                </a:cubicBezTo>
                <a:cubicBezTo>
                  <a:pt x="20898" y="30068"/>
                  <a:pt x="20224" y="29794"/>
                  <a:pt x="20224" y="29794"/>
                </a:cubicBezTo>
                <a:cubicBezTo>
                  <a:pt x="20224" y="29794"/>
                  <a:pt x="20000" y="29521"/>
                  <a:pt x="20000" y="29521"/>
                </a:cubicBezTo>
                <a:cubicBezTo>
                  <a:pt x="20000" y="29521"/>
                  <a:pt x="20000" y="28974"/>
                  <a:pt x="19775" y="28974"/>
                </a:cubicBezTo>
                <a:cubicBezTo>
                  <a:pt x="19550" y="28701"/>
                  <a:pt x="19550" y="28974"/>
                  <a:pt x="19550" y="28974"/>
                </a:cubicBezTo>
                <a:cubicBezTo>
                  <a:pt x="19325" y="29521"/>
                  <a:pt x="19325" y="29521"/>
                  <a:pt x="19325" y="29521"/>
                </a:cubicBezTo>
                <a:cubicBezTo>
                  <a:pt x="19325" y="29521"/>
                  <a:pt x="18876" y="29521"/>
                  <a:pt x="18651" y="29248"/>
                </a:cubicBezTo>
                <a:cubicBezTo>
                  <a:pt x="18651" y="29248"/>
                  <a:pt x="18426" y="29248"/>
                  <a:pt x="18426" y="29248"/>
                </a:cubicBezTo>
                <a:cubicBezTo>
                  <a:pt x="18202" y="29248"/>
                  <a:pt x="18202" y="28974"/>
                  <a:pt x="18202" y="28701"/>
                </a:cubicBezTo>
                <a:cubicBezTo>
                  <a:pt x="17977" y="28428"/>
                  <a:pt x="17977" y="28701"/>
                  <a:pt x="17752" y="28701"/>
                </a:cubicBezTo>
                <a:cubicBezTo>
                  <a:pt x="17752" y="28701"/>
                  <a:pt x="17303" y="28701"/>
                  <a:pt x="17303" y="28701"/>
                </a:cubicBezTo>
                <a:cubicBezTo>
                  <a:pt x="17303" y="28701"/>
                  <a:pt x="16853" y="28154"/>
                  <a:pt x="16853" y="28154"/>
                </a:cubicBezTo>
                <a:cubicBezTo>
                  <a:pt x="16853" y="27881"/>
                  <a:pt x="16629" y="27881"/>
                  <a:pt x="16629" y="27881"/>
                </a:cubicBezTo>
                <a:cubicBezTo>
                  <a:pt x="16629" y="27881"/>
                  <a:pt x="16179" y="28154"/>
                  <a:pt x="16179" y="28154"/>
                </a:cubicBezTo>
                <a:cubicBezTo>
                  <a:pt x="16179" y="28428"/>
                  <a:pt x="16179" y="28428"/>
                  <a:pt x="16179" y="28428"/>
                </a:cubicBezTo>
                <a:cubicBezTo>
                  <a:pt x="15955" y="29248"/>
                  <a:pt x="15955" y="29248"/>
                  <a:pt x="15955" y="29248"/>
                </a:cubicBezTo>
                <a:cubicBezTo>
                  <a:pt x="15280" y="29794"/>
                  <a:pt x="15280" y="29794"/>
                  <a:pt x="15280" y="29794"/>
                </a:cubicBezTo>
                <a:cubicBezTo>
                  <a:pt x="15280" y="29794"/>
                  <a:pt x="14606" y="29794"/>
                  <a:pt x="14382" y="29521"/>
                </a:cubicBezTo>
                <a:cubicBezTo>
                  <a:pt x="14382" y="29521"/>
                  <a:pt x="14382" y="29521"/>
                  <a:pt x="14157" y="29521"/>
                </a:cubicBezTo>
                <a:cubicBezTo>
                  <a:pt x="13932" y="29521"/>
                  <a:pt x="13932" y="29521"/>
                  <a:pt x="13932" y="29521"/>
                </a:cubicBezTo>
                <a:cubicBezTo>
                  <a:pt x="13932" y="29521"/>
                  <a:pt x="13483" y="29794"/>
                  <a:pt x="13483" y="29794"/>
                </a:cubicBezTo>
                <a:cubicBezTo>
                  <a:pt x="13483" y="29794"/>
                  <a:pt x="13258" y="29248"/>
                  <a:pt x="13258" y="29248"/>
                </a:cubicBezTo>
                <a:cubicBezTo>
                  <a:pt x="13258" y="29248"/>
                  <a:pt x="12808" y="28974"/>
                  <a:pt x="12808" y="28701"/>
                </a:cubicBezTo>
                <a:cubicBezTo>
                  <a:pt x="12808" y="28701"/>
                  <a:pt x="12808" y="28974"/>
                  <a:pt x="12808" y="28974"/>
                </a:cubicBezTo>
                <a:cubicBezTo>
                  <a:pt x="12808" y="28974"/>
                  <a:pt x="12584" y="29248"/>
                  <a:pt x="12359" y="29248"/>
                </a:cubicBezTo>
                <a:cubicBezTo>
                  <a:pt x="12359" y="29248"/>
                  <a:pt x="12134" y="29521"/>
                  <a:pt x="12134" y="29521"/>
                </a:cubicBezTo>
                <a:cubicBezTo>
                  <a:pt x="11910" y="29521"/>
                  <a:pt x="12134" y="28974"/>
                  <a:pt x="12134" y="28974"/>
                </a:cubicBezTo>
                <a:cubicBezTo>
                  <a:pt x="12359" y="28428"/>
                  <a:pt x="12359" y="28428"/>
                  <a:pt x="12359" y="28428"/>
                </a:cubicBezTo>
                <a:cubicBezTo>
                  <a:pt x="12359" y="28428"/>
                  <a:pt x="11685" y="28154"/>
                  <a:pt x="11685" y="27881"/>
                </a:cubicBezTo>
                <a:cubicBezTo>
                  <a:pt x="11460" y="27881"/>
                  <a:pt x="11235" y="27608"/>
                  <a:pt x="11235" y="27608"/>
                </a:cubicBezTo>
                <a:cubicBezTo>
                  <a:pt x="11235" y="27608"/>
                  <a:pt x="10786" y="27608"/>
                  <a:pt x="10786" y="27608"/>
                </a:cubicBezTo>
                <a:cubicBezTo>
                  <a:pt x="10337" y="27608"/>
                  <a:pt x="10337" y="27608"/>
                  <a:pt x="10337" y="27608"/>
                </a:cubicBezTo>
                <a:cubicBezTo>
                  <a:pt x="10337" y="27608"/>
                  <a:pt x="10112" y="27608"/>
                  <a:pt x="9887" y="27881"/>
                </a:cubicBezTo>
                <a:cubicBezTo>
                  <a:pt x="9887" y="27881"/>
                  <a:pt x="9662" y="28154"/>
                  <a:pt x="9438" y="27881"/>
                </a:cubicBezTo>
                <a:cubicBezTo>
                  <a:pt x="9438" y="27881"/>
                  <a:pt x="9662" y="27334"/>
                  <a:pt x="9662" y="27334"/>
                </a:cubicBezTo>
                <a:cubicBezTo>
                  <a:pt x="9662" y="27334"/>
                  <a:pt x="9662" y="26788"/>
                  <a:pt x="9662" y="26788"/>
                </a:cubicBezTo>
                <a:cubicBezTo>
                  <a:pt x="9438" y="26514"/>
                  <a:pt x="9438" y="27061"/>
                  <a:pt x="9438" y="27061"/>
                </a:cubicBezTo>
                <a:cubicBezTo>
                  <a:pt x="9438" y="27061"/>
                  <a:pt x="8988" y="27334"/>
                  <a:pt x="8764" y="27608"/>
                </a:cubicBezTo>
                <a:cubicBezTo>
                  <a:pt x="8764" y="27608"/>
                  <a:pt x="8539" y="27608"/>
                  <a:pt x="8539" y="27608"/>
                </a:cubicBezTo>
                <a:cubicBezTo>
                  <a:pt x="8314" y="27608"/>
                  <a:pt x="8089" y="27881"/>
                  <a:pt x="7640" y="27881"/>
                </a:cubicBezTo>
                <a:cubicBezTo>
                  <a:pt x="7415" y="27881"/>
                  <a:pt x="7191" y="28154"/>
                  <a:pt x="7191" y="27881"/>
                </a:cubicBezTo>
                <a:cubicBezTo>
                  <a:pt x="6966" y="27881"/>
                  <a:pt x="6966" y="27608"/>
                  <a:pt x="6966" y="27608"/>
                </a:cubicBezTo>
                <a:cubicBezTo>
                  <a:pt x="6966" y="27061"/>
                  <a:pt x="6966" y="27061"/>
                  <a:pt x="6966" y="27061"/>
                </a:cubicBezTo>
                <a:cubicBezTo>
                  <a:pt x="6966" y="27061"/>
                  <a:pt x="6741" y="26788"/>
                  <a:pt x="6741" y="26514"/>
                </a:cubicBezTo>
                <a:cubicBezTo>
                  <a:pt x="6516" y="26241"/>
                  <a:pt x="6741" y="26241"/>
                  <a:pt x="6741" y="25968"/>
                </a:cubicBezTo>
                <a:cubicBezTo>
                  <a:pt x="6741" y="25968"/>
                  <a:pt x="7191" y="25694"/>
                  <a:pt x="7191" y="25694"/>
                </a:cubicBezTo>
                <a:cubicBezTo>
                  <a:pt x="7191" y="25421"/>
                  <a:pt x="7415" y="25421"/>
                  <a:pt x="7415" y="25421"/>
                </a:cubicBezTo>
                <a:cubicBezTo>
                  <a:pt x="8089" y="25148"/>
                  <a:pt x="8089" y="25148"/>
                  <a:pt x="8089" y="25148"/>
                </a:cubicBezTo>
                <a:cubicBezTo>
                  <a:pt x="8089" y="25148"/>
                  <a:pt x="8089" y="24328"/>
                  <a:pt x="8089" y="24054"/>
                </a:cubicBezTo>
                <a:cubicBezTo>
                  <a:pt x="8089" y="24054"/>
                  <a:pt x="8089" y="24054"/>
                  <a:pt x="7865" y="24054"/>
                </a:cubicBezTo>
                <a:cubicBezTo>
                  <a:pt x="7640" y="24054"/>
                  <a:pt x="7640" y="23781"/>
                  <a:pt x="7640" y="23781"/>
                </a:cubicBezTo>
                <a:cubicBezTo>
                  <a:pt x="7640" y="23781"/>
                  <a:pt x="7640" y="23234"/>
                  <a:pt x="7640" y="23234"/>
                </a:cubicBezTo>
                <a:cubicBezTo>
                  <a:pt x="7415" y="22687"/>
                  <a:pt x="7415" y="22687"/>
                  <a:pt x="7415" y="22687"/>
                </a:cubicBezTo>
                <a:cubicBezTo>
                  <a:pt x="6516" y="22961"/>
                  <a:pt x="6516" y="22961"/>
                  <a:pt x="6516" y="22961"/>
                </a:cubicBezTo>
                <a:cubicBezTo>
                  <a:pt x="6516" y="22961"/>
                  <a:pt x="6067" y="23234"/>
                  <a:pt x="5842" y="23234"/>
                </a:cubicBezTo>
                <a:cubicBezTo>
                  <a:pt x="5842" y="23234"/>
                  <a:pt x="5393" y="23234"/>
                  <a:pt x="5393" y="23234"/>
                </a:cubicBezTo>
                <a:cubicBezTo>
                  <a:pt x="5168" y="23234"/>
                  <a:pt x="4943" y="22961"/>
                  <a:pt x="4943" y="22961"/>
                </a:cubicBezTo>
                <a:cubicBezTo>
                  <a:pt x="4943" y="22961"/>
                  <a:pt x="4044" y="23234"/>
                  <a:pt x="4044" y="23234"/>
                </a:cubicBezTo>
                <a:cubicBezTo>
                  <a:pt x="4044" y="23234"/>
                  <a:pt x="3820" y="23234"/>
                  <a:pt x="3820" y="23234"/>
                </a:cubicBezTo>
                <a:cubicBezTo>
                  <a:pt x="3370" y="23234"/>
                  <a:pt x="3370" y="23234"/>
                  <a:pt x="3370" y="23234"/>
                </a:cubicBezTo>
                <a:cubicBezTo>
                  <a:pt x="2921" y="23507"/>
                  <a:pt x="2921" y="23507"/>
                  <a:pt x="2921" y="23507"/>
                </a:cubicBezTo>
                <a:cubicBezTo>
                  <a:pt x="2696" y="23781"/>
                  <a:pt x="2696" y="23781"/>
                  <a:pt x="2696" y="23781"/>
                </a:cubicBezTo>
                <a:cubicBezTo>
                  <a:pt x="2696" y="23781"/>
                  <a:pt x="2471" y="24054"/>
                  <a:pt x="2471" y="24054"/>
                </a:cubicBezTo>
                <a:cubicBezTo>
                  <a:pt x="2247" y="24054"/>
                  <a:pt x="2022" y="24054"/>
                  <a:pt x="1797" y="24054"/>
                </a:cubicBezTo>
                <a:cubicBezTo>
                  <a:pt x="1797" y="24054"/>
                  <a:pt x="1573" y="24328"/>
                  <a:pt x="1573" y="24328"/>
                </a:cubicBezTo>
                <a:cubicBezTo>
                  <a:pt x="1573" y="24328"/>
                  <a:pt x="1123" y="24601"/>
                  <a:pt x="898" y="24874"/>
                </a:cubicBezTo>
                <a:cubicBezTo>
                  <a:pt x="674" y="23507"/>
                  <a:pt x="674" y="23507"/>
                  <a:pt x="674" y="23507"/>
                </a:cubicBezTo>
                <a:cubicBezTo>
                  <a:pt x="1348" y="21047"/>
                  <a:pt x="1348" y="21047"/>
                  <a:pt x="1348" y="21047"/>
                </a:cubicBezTo>
                <a:cubicBezTo>
                  <a:pt x="2471" y="19954"/>
                  <a:pt x="2471" y="19954"/>
                  <a:pt x="2471" y="19954"/>
                </a:cubicBezTo>
                <a:cubicBezTo>
                  <a:pt x="2921" y="17767"/>
                  <a:pt x="2921" y="17767"/>
                  <a:pt x="2921" y="17767"/>
                </a:cubicBezTo>
                <a:cubicBezTo>
                  <a:pt x="2247" y="16947"/>
                  <a:pt x="2247" y="16947"/>
                  <a:pt x="2247" y="16947"/>
                </a:cubicBezTo>
                <a:cubicBezTo>
                  <a:pt x="2247" y="16127"/>
                  <a:pt x="4269" y="14487"/>
                  <a:pt x="4044" y="13667"/>
                </a:cubicBezTo>
                <a:cubicBezTo>
                  <a:pt x="3820" y="12847"/>
                  <a:pt x="1348" y="15307"/>
                  <a:pt x="1123" y="14487"/>
                </a:cubicBezTo>
                <a:cubicBezTo>
                  <a:pt x="898" y="12847"/>
                  <a:pt x="1573" y="13120"/>
                  <a:pt x="2696" y="11753"/>
                </a:cubicBezTo>
                <a:cubicBezTo>
                  <a:pt x="1348" y="11207"/>
                  <a:pt x="1348" y="11207"/>
                  <a:pt x="1348" y="11207"/>
                </a:cubicBezTo>
                <a:cubicBezTo>
                  <a:pt x="1348" y="9567"/>
                  <a:pt x="1348" y="9567"/>
                  <a:pt x="1348" y="9567"/>
                </a:cubicBezTo>
                <a:cubicBezTo>
                  <a:pt x="449" y="9020"/>
                  <a:pt x="449" y="9020"/>
                  <a:pt x="449" y="9020"/>
                </a:cubicBezTo>
                <a:cubicBezTo>
                  <a:pt x="449" y="9020"/>
                  <a:pt x="674" y="8200"/>
                  <a:pt x="674" y="7380"/>
                </a:cubicBezTo>
                <a:cubicBezTo>
                  <a:pt x="674" y="6560"/>
                  <a:pt x="1348" y="6287"/>
                  <a:pt x="1348" y="6287"/>
                </a:cubicBezTo>
                <a:cubicBezTo>
                  <a:pt x="2022" y="6013"/>
                  <a:pt x="2471" y="5466"/>
                  <a:pt x="3146" y="4920"/>
                </a:cubicBezTo>
                <a:cubicBezTo>
                  <a:pt x="3820" y="3826"/>
                  <a:pt x="4494" y="4373"/>
                  <a:pt x="4943" y="4100"/>
                </a:cubicBezTo>
                <a:cubicBezTo>
                  <a:pt x="5617" y="3553"/>
                  <a:pt x="5617" y="4100"/>
                  <a:pt x="7865" y="4646"/>
                </a:cubicBezTo>
                <a:cubicBezTo>
                  <a:pt x="8314" y="4373"/>
                  <a:pt x="9213" y="4373"/>
                  <a:pt x="9438" y="3826"/>
                </a:cubicBezTo>
                <a:cubicBezTo>
                  <a:pt x="9887" y="3280"/>
                  <a:pt x="10561" y="3553"/>
                  <a:pt x="10561" y="2460"/>
                </a:cubicBezTo>
                <a:cubicBezTo>
                  <a:pt x="10786" y="820"/>
                  <a:pt x="13258" y="1913"/>
                  <a:pt x="13258" y="1366"/>
                </a:cubicBezTo>
                <a:cubicBezTo>
                  <a:pt x="13707" y="1366"/>
                  <a:pt x="14157" y="0"/>
                  <a:pt x="15280" y="0"/>
                </a:cubicBezTo>
                <a:cubicBezTo>
                  <a:pt x="16179" y="273"/>
                  <a:pt x="16404" y="546"/>
                  <a:pt x="17078" y="820"/>
                </a:cubicBezTo>
                <a:cubicBezTo>
                  <a:pt x="19550" y="2733"/>
                  <a:pt x="18426" y="3826"/>
                  <a:pt x="21348" y="4920"/>
                </a:cubicBezTo>
                <a:cubicBezTo>
                  <a:pt x="23820" y="5740"/>
                  <a:pt x="26741" y="6560"/>
                  <a:pt x="29213" y="7107"/>
                </a:cubicBezTo>
                <a:cubicBezTo>
                  <a:pt x="31460" y="7380"/>
                  <a:pt x="33707" y="8473"/>
                  <a:pt x="35955" y="9567"/>
                </a:cubicBezTo>
                <a:cubicBezTo>
                  <a:pt x="35955" y="9567"/>
                  <a:pt x="44269" y="14214"/>
                  <a:pt x="44494" y="14487"/>
                </a:cubicBezTo>
                <a:cubicBezTo>
                  <a:pt x="44719" y="14487"/>
                  <a:pt x="49438" y="13394"/>
                  <a:pt x="49662" y="13394"/>
                </a:cubicBezTo>
                <a:cubicBezTo>
                  <a:pt x="49887" y="13394"/>
                  <a:pt x="51460" y="13667"/>
                  <a:pt x="52584" y="14487"/>
                </a:cubicBezTo>
                <a:cubicBezTo>
                  <a:pt x="53258" y="15307"/>
                  <a:pt x="55505" y="17220"/>
                  <a:pt x="55505" y="17220"/>
                </a:cubicBezTo>
                <a:cubicBezTo>
                  <a:pt x="55955" y="17494"/>
                  <a:pt x="58651" y="16947"/>
                  <a:pt x="58651" y="16947"/>
                </a:cubicBezTo>
                <a:cubicBezTo>
                  <a:pt x="60449" y="16947"/>
                  <a:pt x="62022" y="19407"/>
                  <a:pt x="62921" y="19681"/>
                </a:cubicBezTo>
                <a:cubicBezTo>
                  <a:pt x="64044" y="19954"/>
                  <a:pt x="66741" y="18314"/>
                  <a:pt x="67865" y="19681"/>
                </a:cubicBezTo>
                <a:cubicBezTo>
                  <a:pt x="67865" y="19681"/>
                  <a:pt x="70112" y="19954"/>
                  <a:pt x="70337" y="21321"/>
                </a:cubicBezTo>
                <a:cubicBezTo>
                  <a:pt x="70786" y="22687"/>
                  <a:pt x="71685" y="24874"/>
                  <a:pt x="71685" y="24874"/>
                </a:cubicBezTo>
                <a:cubicBezTo>
                  <a:pt x="74606" y="26241"/>
                  <a:pt x="74606" y="26241"/>
                  <a:pt x="74606" y="26241"/>
                </a:cubicBezTo>
                <a:cubicBezTo>
                  <a:pt x="74606" y="26241"/>
                  <a:pt x="76179" y="27881"/>
                  <a:pt x="76404" y="28428"/>
                </a:cubicBezTo>
                <a:cubicBezTo>
                  <a:pt x="76629" y="28701"/>
                  <a:pt x="80000" y="30068"/>
                  <a:pt x="80000" y="30068"/>
                </a:cubicBezTo>
                <a:cubicBezTo>
                  <a:pt x="82247" y="32528"/>
                  <a:pt x="82247" y="32528"/>
                  <a:pt x="82247" y="32528"/>
                </a:cubicBezTo>
                <a:cubicBezTo>
                  <a:pt x="85617" y="32528"/>
                  <a:pt x="85617" y="32528"/>
                  <a:pt x="85617" y="32528"/>
                </a:cubicBezTo>
                <a:cubicBezTo>
                  <a:pt x="87865" y="33075"/>
                  <a:pt x="87865" y="33075"/>
                  <a:pt x="87865" y="33075"/>
                </a:cubicBezTo>
                <a:cubicBezTo>
                  <a:pt x="88988" y="31435"/>
                  <a:pt x="88988" y="31435"/>
                  <a:pt x="88988" y="31435"/>
                </a:cubicBezTo>
                <a:cubicBezTo>
                  <a:pt x="88988" y="31435"/>
                  <a:pt x="94606" y="34715"/>
                  <a:pt x="94831" y="34715"/>
                </a:cubicBezTo>
                <a:cubicBezTo>
                  <a:pt x="95056" y="34715"/>
                  <a:pt x="95056" y="35535"/>
                  <a:pt x="95280" y="36355"/>
                </a:cubicBezTo>
                <a:cubicBezTo>
                  <a:pt x="95280" y="36628"/>
                  <a:pt x="95280" y="36628"/>
                  <a:pt x="95280" y="36628"/>
                </a:cubicBezTo>
                <a:cubicBezTo>
                  <a:pt x="95056" y="36628"/>
                  <a:pt x="95280" y="36628"/>
                  <a:pt x="95280" y="36628"/>
                </a:cubicBezTo>
                <a:cubicBezTo>
                  <a:pt x="95280" y="36628"/>
                  <a:pt x="95280" y="36628"/>
                  <a:pt x="95280" y="36628"/>
                </a:cubicBezTo>
                <a:cubicBezTo>
                  <a:pt x="95280" y="37175"/>
                  <a:pt x="95280" y="37175"/>
                  <a:pt x="95280" y="37175"/>
                </a:cubicBezTo>
                <a:cubicBezTo>
                  <a:pt x="95280" y="37448"/>
                  <a:pt x="95280" y="37448"/>
                  <a:pt x="95280" y="37448"/>
                </a:cubicBezTo>
                <a:cubicBezTo>
                  <a:pt x="95056" y="37448"/>
                  <a:pt x="95056" y="37448"/>
                  <a:pt x="95056" y="37448"/>
                </a:cubicBezTo>
                <a:cubicBezTo>
                  <a:pt x="95056" y="37448"/>
                  <a:pt x="95056" y="37448"/>
                  <a:pt x="95056" y="37448"/>
                </a:cubicBezTo>
                <a:cubicBezTo>
                  <a:pt x="95280" y="37722"/>
                  <a:pt x="95280" y="37722"/>
                  <a:pt x="95280" y="37722"/>
                </a:cubicBezTo>
                <a:cubicBezTo>
                  <a:pt x="95280" y="37722"/>
                  <a:pt x="95280" y="37722"/>
                  <a:pt x="95280" y="37722"/>
                </a:cubicBezTo>
                <a:cubicBezTo>
                  <a:pt x="95280" y="37722"/>
                  <a:pt x="95280" y="37722"/>
                  <a:pt x="95280" y="37995"/>
                </a:cubicBezTo>
                <a:cubicBezTo>
                  <a:pt x="95280" y="37995"/>
                  <a:pt x="95280" y="37995"/>
                  <a:pt x="95280" y="37995"/>
                </a:cubicBezTo>
                <a:cubicBezTo>
                  <a:pt x="95280" y="37995"/>
                  <a:pt x="95280" y="37995"/>
                  <a:pt x="95280" y="38268"/>
                </a:cubicBezTo>
                <a:cubicBezTo>
                  <a:pt x="95280" y="38268"/>
                  <a:pt x="95280" y="38268"/>
                  <a:pt x="95280" y="38268"/>
                </a:cubicBezTo>
                <a:cubicBezTo>
                  <a:pt x="95505" y="38268"/>
                  <a:pt x="95505" y="38268"/>
                  <a:pt x="95505" y="38268"/>
                </a:cubicBezTo>
                <a:cubicBezTo>
                  <a:pt x="95505" y="38268"/>
                  <a:pt x="95505" y="38268"/>
                  <a:pt x="95505" y="38268"/>
                </a:cubicBezTo>
                <a:cubicBezTo>
                  <a:pt x="95505" y="38268"/>
                  <a:pt x="95730" y="38542"/>
                  <a:pt x="95730" y="38542"/>
                </a:cubicBezTo>
                <a:cubicBezTo>
                  <a:pt x="95730" y="38542"/>
                  <a:pt x="95730" y="38542"/>
                  <a:pt x="95955" y="38542"/>
                </a:cubicBezTo>
                <a:cubicBezTo>
                  <a:pt x="95955" y="38542"/>
                  <a:pt x="95955" y="38542"/>
                  <a:pt x="96179" y="38542"/>
                </a:cubicBezTo>
                <a:cubicBezTo>
                  <a:pt x="96179" y="38542"/>
                  <a:pt x="96179" y="38542"/>
                  <a:pt x="96179" y="38542"/>
                </a:cubicBezTo>
                <a:cubicBezTo>
                  <a:pt x="96179" y="38542"/>
                  <a:pt x="96404" y="38542"/>
                  <a:pt x="96404" y="38268"/>
                </a:cubicBezTo>
                <a:cubicBezTo>
                  <a:pt x="99325" y="39088"/>
                  <a:pt x="99325" y="39088"/>
                  <a:pt x="99325" y="39088"/>
                </a:cubicBezTo>
                <a:cubicBezTo>
                  <a:pt x="100000" y="39362"/>
                  <a:pt x="100000" y="39908"/>
                  <a:pt x="100674" y="40455"/>
                </a:cubicBezTo>
                <a:cubicBezTo>
                  <a:pt x="102471" y="39635"/>
                  <a:pt x="102471" y="39635"/>
                  <a:pt x="102471" y="39635"/>
                </a:cubicBezTo>
                <a:cubicBezTo>
                  <a:pt x="104719" y="41548"/>
                  <a:pt x="104719" y="41548"/>
                  <a:pt x="104719" y="41548"/>
                </a:cubicBezTo>
                <a:cubicBezTo>
                  <a:pt x="106741" y="40728"/>
                  <a:pt x="106741" y="40728"/>
                  <a:pt x="106741" y="40728"/>
                </a:cubicBezTo>
                <a:cubicBezTo>
                  <a:pt x="108764" y="40728"/>
                  <a:pt x="108764" y="40728"/>
                  <a:pt x="108764" y="40728"/>
                </a:cubicBezTo>
                <a:cubicBezTo>
                  <a:pt x="108764" y="40182"/>
                  <a:pt x="113483" y="40728"/>
                  <a:pt x="111460" y="43462"/>
                </a:cubicBezTo>
                <a:close/>
                <a:moveTo>
                  <a:pt x="113707" y="76810"/>
                </a:moveTo>
                <a:cubicBezTo>
                  <a:pt x="113707" y="76810"/>
                  <a:pt x="113707" y="76810"/>
                  <a:pt x="113707" y="76810"/>
                </a:cubicBezTo>
                <a:cubicBezTo>
                  <a:pt x="113707" y="78451"/>
                  <a:pt x="115955" y="77904"/>
                  <a:pt x="117078" y="78997"/>
                </a:cubicBezTo>
                <a:cubicBezTo>
                  <a:pt x="117528" y="79544"/>
                  <a:pt x="117078" y="80911"/>
                  <a:pt x="117752" y="81184"/>
                </a:cubicBezTo>
                <a:cubicBezTo>
                  <a:pt x="119325" y="82824"/>
                  <a:pt x="120000" y="79817"/>
                  <a:pt x="118651" y="76810"/>
                </a:cubicBezTo>
                <a:cubicBezTo>
                  <a:pt x="118202" y="76264"/>
                  <a:pt x="117528" y="76264"/>
                  <a:pt x="116853" y="76264"/>
                </a:cubicBezTo>
                <a:cubicBezTo>
                  <a:pt x="115730" y="76264"/>
                  <a:pt x="113483" y="75444"/>
                  <a:pt x="113707" y="76810"/>
                </a:cubicBezTo>
                <a:close/>
                <a:moveTo>
                  <a:pt x="100674" y="82004"/>
                </a:moveTo>
                <a:cubicBezTo>
                  <a:pt x="100674" y="82004"/>
                  <a:pt x="100674" y="82004"/>
                  <a:pt x="100674" y="82004"/>
                </a:cubicBezTo>
                <a:cubicBezTo>
                  <a:pt x="101573" y="82277"/>
                  <a:pt x="102471" y="81184"/>
                  <a:pt x="103370" y="81731"/>
                </a:cubicBezTo>
                <a:cubicBezTo>
                  <a:pt x="103820" y="82277"/>
                  <a:pt x="103595" y="83371"/>
                  <a:pt x="103820" y="84191"/>
                </a:cubicBezTo>
                <a:cubicBezTo>
                  <a:pt x="102471" y="85831"/>
                  <a:pt x="106067" y="85558"/>
                  <a:pt x="106292" y="85558"/>
                </a:cubicBezTo>
                <a:cubicBezTo>
                  <a:pt x="106292" y="86104"/>
                  <a:pt x="106741" y="87471"/>
                  <a:pt x="107415" y="86924"/>
                </a:cubicBezTo>
                <a:cubicBezTo>
                  <a:pt x="111011" y="81731"/>
                  <a:pt x="111011" y="81731"/>
                  <a:pt x="111011" y="81731"/>
                </a:cubicBezTo>
                <a:cubicBezTo>
                  <a:pt x="111011" y="81184"/>
                  <a:pt x="110786" y="80637"/>
                  <a:pt x="110337" y="80637"/>
                </a:cubicBezTo>
                <a:cubicBezTo>
                  <a:pt x="109438" y="80091"/>
                  <a:pt x="108314" y="81184"/>
                  <a:pt x="107640" y="80637"/>
                </a:cubicBezTo>
                <a:cubicBezTo>
                  <a:pt x="106966" y="80091"/>
                  <a:pt x="108314" y="77904"/>
                  <a:pt x="107415" y="77084"/>
                </a:cubicBezTo>
                <a:cubicBezTo>
                  <a:pt x="105617" y="75444"/>
                  <a:pt x="104943" y="77357"/>
                  <a:pt x="103595" y="78724"/>
                </a:cubicBezTo>
                <a:cubicBezTo>
                  <a:pt x="102696" y="79544"/>
                  <a:pt x="101348" y="79817"/>
                  <a:pt x="100449" y="80911"/>
                </a:cubicBezTo>
                <a:cubicBezTo>
                  <a:pt x="100224" y="81184"/>
                  <a:pt x="100449" y="82004"/>
                  <a:pt x="100674" y="82004"/>
                </a:cubicBezTo>
                <a:close/>
                <a:moveTo>
                  <a:pt x="87865" y="89931"/>
                </a:moveTo>
                <a:cubicBezTo>
                  <a:pt x="87865" y="89931"/>
                  <a:pt x="87865" y="89931"/>
                  <a:pt x="87865" y="89931"/>
                </a:cubicBezTo>
                <a:cubicBezTo>
                  <a:pt x="86966" y="90751"/>
                  <a:pt x="88764" y="92118"/>
                  <a:pt x="89213" y="92118"/>
                </a:cubicBezTo>
                <a:cubicBezTo>
                  <a:pt x="89662" y="92118"/>
                  <a:pt x="92359" y="89931"/>
                  <a:pt x="92359" y="89111"/>
                </a:cubicBezTo>
                <a:cubicBezTo>
                  <a:pt x="92134" y="88018"/>
                  <a:pt x="91011" y="87744"/>
                  <a:pt x="90337" y="87744"/>
                </a:cubicBezTo>
                <a:cubicBezTo>
                  <a:pt x="89438" y="88018"/>
                  <a:pt x="88539" y="89111"/>
                  <a:pt x="87865" y="89931"/>
                </a:cubicBezTo>
                <a:close/>
              </a:path>
            </a:pathLst>
          </a:custGeom>
          <a:solidFill>
            <a:srgbClr val="0053FF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3052;p256">
            <a:extLst>
              <a:ext uri="{FF2B5EF4-FFF2-40B4-BE49-F238E27FC236}">
                <a16:creationId xmlns:a16="http://schemas.microsoft.com/office/drawing/2014/main" id="{32439C77-7BE8-A5D2-27FE-68661EDD215D}"/>
              </a:ext>
            </a:extLst>
          </p:cNvPr>
          <p:cNvSpPr/>
          <p:nvPr/>
        </p:nvSpPr>
        <p:spPr>
          <a:xfrm>
            <a:off x="10168646" y="5099918"/>
            <a:ext cx="1493952" cy="134889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5294" y="10105"/>
                </a:moveTo>
                <a:cubicBezTo>
                  <a:pt x="66764" y="9473"/>
                  <a:pt x="66764" y="9473"/>
                  <a:pt x="66764" y="9473"/>
                </a:cubicBezTo>
                <a:cubicBezTo>
                  <a:pt x="66764" y="9473"/>
                  <a:pt x="68529" y="8842"/>
                  <a:pt x="68823" y="8842"/>
                </a:cubicBezTo>
                <a:cubicBezTo>
                  <a:pt x="69117" y="8842"/>
                  <a:pt x="70588" y="8526"/>
                  <a:pt x="70882" y="8210"/>
                </a:cubicBezTo>
                <a:cubicBezTo>
                  <a:pt x="71176" y="8210"/>
                  <a:pt x="72058" y="7578"/>
                  <a:pt x="72352" y="7263"/>
                </a:cubicBezTo>
                <a:cubicBezTo>
                  <a:pt x="72647" y="7263"/>
                  <a:pt x="73235" y="7263"/>
                  <a:pt x="73823" y="6631"/>
                </a:cubicBezTo>
                <a:cubicBezTo>
                  <a:pt x="74117" y="6315"/>
                  <a:pt x="74411" y="5368"/>
                  <a:pt x="74411" y="5052"/>
                </a:cubicBezTo>
                <a:cubicBezTo>
                  <a:pt x="74411" y="4736"/>
                  <a:pt x="74117" y="4736"/>
                  <a:pt x="73823" y="3789"/>
                </a:cubicBezTo>
                <a:cubicBezTo>
                  <a:pt x="73235" y="2842"/>
                  <a:pt x="72647" y="2210"/>
                  <a:pt x="72647" y="1894"/>
                </a:cubicBezTo>
                <a:cubicBezTo>
                  <a:pt x="72352" y="1263"/>
                  <a:pt x="72352" y="631"/>
                  <a:pt x="72647" y="631"/>
                </a:cubicBezTo>
                <a:cubicBezTo>
                  <a:pt x="72941" y="315"/>
                  <a:pt x="73823" y="0"/>
                  <a:pt x="74411" y="0"/>
                </a:cubicBezTo>
                <a:cubicBezTo>
                  <a:pt x="75000" y="315"/>
                  <a:pt x="76470" y="631"/>
                  <a:pt x="76764" y="631"/>
                </a:cubicBezTo>
                <a:cubicBezTo>
                  <a:pt x="77058" y="631"/>
                  <a:pt x="78529" y="1578"/>
                  <a:pt x="78529" y="1578"/>
                </a:cubicBezTo>
                <a:cubicBezTo>
                  <a:pt x="78529" y="1578"/>
                  <a:pt x="79117" y="3157"/>
                  <a:pt x="79117" y="3473"/>
                </a:cubicBezTo>
                <a:cubicBezTo>
                  <a:pt x="79117" y="3789"/>
                  <a:pt x="80588" y="5684"/>
                  <a:pt x="80000" y="5684"/>
                </a:cubicBezTo>
                <a:cubicBezTo>
                  <a:pt x="79705" y="5684"/>
                  <a:pt x="78529" y="6000"/>
                  <a:pt x="78529" y="6000"/>
                </a:cubicBezTo>
                <a:cubicBezTo>
                  <a:pt x="77941" y="6947"/>
                  <a:pt x="77941" y="6947"/>
                  <a:pt x="77941" y="6947"/>
                </a:cubicBezTo>
                <a:cubicBezTo>
                  <a:pt x="77941" y="6947"/>
                  <a:pt x="77352" y="8210"/>
                  <a:pt x="77352" y="8526"/>
                </a:cubicBezTo>
                <a:cubicBezTo>
                  <a:pt x="77352" y="8842"/>
                  <a:pt x="77058" y="10421"/>
                  <a:pt x="77058" y="10421"/>
                </a:cubicBezTo>
                <a:cubicBezTo>
                  <a:pt x="78529" y="13894"/>
                  <a:pt x="78529" y="13894"/>
                  <a:pt x="78529" y="13894"/>
                </a:cubicBezTo>
                <a:cubicBezTo>
                  <a:pt x="77058" y="16105"/>
                  <a:pt x="77058" y="16105"/>
                  <a:pt x="77058" y="16105"/>
                </a:cubicBezTo>
                <a:cubicBezTo>
                  <a:pt x="75882" y="17368"/>
                  <a:pt x="75882" y="17368"/>
                  <a:pt x="75882" y="17368"/>
                </a:cubicBezTo>
                <a:cubicBezTo>
                  <a:pt x="75882" y="17368"/>
                  <a:pt x="74117" y="17368"/>
                  <a:pt x="74117" y="17052"/>
                </a:cubicBezTo>
                <a:cubicBezTo>
                  <a:pt x="74117" y="16736"/>
                  <a:pt x="72941" y="16105"/>
                  <a:pt x="72941" y="16105"/>
                </a:cubicBezTo>
                <a:cubicBezTo>
                  <a:pt x="72941" y="16105"/>
                  <a:pt x="71176" y="16421"/>
                  <a:pt x="70882" y="16736"/>
                </a:cubicBezTo>
                <a:cubicBezTo>
                  <a:pt x="70588" y="16736"/>
                  <a:pt x="66470" y="17052"/>
                  <a:pt x="66470" y="17052"/>
                </a:cubicBezTo>
                <a:cubicBezTo>
                  <a:pt x="66470" y="17052"/>
                  <a:pt x="65588" y="16736"/>
                  <a:pt x="65294" y="16736"/>
                </a:cubicBezTo>
                <a:cubicBezTo>
                  <a:pt x="65000" y="16736"/>
                  <a:pt x="63529" y="16736"/>
                  <a:pt x="63529" y="16736"/>
                </a:cubicBezTo>
                <a:cubicBezTo>
                  <a:pt x="63235" y="15473"/>
                  <a:pt x="63235" y="15473"/>
                  <a:pt x="63235" y="15473"/>
                </a:cubicBezTo>
                <a:cubicBezTo>
                  <a:pt x="62058" y="15789"/>
                  <a:pt x="62058" y="15789"/>
                  <a:pt x="62058" y="15789"/>
                </a:cubicBezTo>
                <a:cubicBezTo>
                  <a:pt x="61764" y="17052"/>
                  <a:pt x="61764" y="17052"/>
                  <a:pt x="61764" y="17052"/>
                </a:cubicBezTo>
                <a:cubicBezTo>
                  <a:pt x="60294" y="18000"/>
                  <a:pt x="60294" y="18000"/>
                  <a:pt x="60294" y="18000"/>
                </a:cubicBezTo>
                <a:cubicBezTo>
                  <a:pt x="58823" y="18947"/>
                  <a:pt x="58823" y="18947"/>
                  <a:pt x="58823" y="18947"/>
                </a:cubicBezTo>
                <a:cubicBezTo>
                  <a:pt x="55882" y="18947"/>
                  <a:pt x="55882" y="18947"/>
                  <a:pt x="55882" y="18947"/>
                </a:cubicBezTo>
                <a:cubicBezTo>
                  <a:pt x="54117" y="18947"/>
                  <a:pt x="54117" y="18947"/>
                  <a:pt x="54117" y="18947"/>
                </a:cubicBezTo>
                <a:cubicBezTo>
                  <a:pt x="54117" y="19578"/>
                  <a:pt x="54117" y="19578"/>
                  <a:pt x="54117" y="19578"/>
                </a:cubicBezTo>
                <a:cubicBezTo>
                  <a:pt x="53235" y="21473"/>
                  <a:pt x="53235" y="21473"/>
                  <a:pt x="53235" y="21473"/>
                </a:cubicBezTo>
                <a:cubicBezTo>
                  <a:pt x="52058" y="22421"/>
                  <a:pt x="52058" y="22421"/>
                  <a:pt x="52058" y="22421"/>
                </a:cubicBezTo>
                <a:cubicBezTo>
                  <a:pt x="52058" y="22421"/>
                  <a:pt x="50294" y="23052"/>
                  <a:pt x="50000" y="23368"/>
                </a:cubicBezTo>
                <a:cubicBezTo>
                  <a:pt x="50000" y="23368"/>
                  <a:pt x="48823" y="23052"/>
                  <a:pt x="48823" y="23052"/>
                </a:cubicBezTo>
                <a:cubicBezTo>
                  <a:pt x="47352" y="24000"/>
                  <a:pt x="47352" y="24000"/>
                  <a:pt x="47352" y="24000"/>
                </a:cubicBezTo>
                <a:cubicBezTo>
                  <a:pt x="47058" y="24947"/>
                  <a:pt x="47058" y="24947"/>
                  <a:pt x="47058" y="24947"/>
                </a:cubicBezTo>
                <a:cubicBezTo>
                  <a:pt x="47647" y="25578"/>
                  <a:pt x="47647" y="25578"/>
                  <a:pt x="47647" y="25578"/>
                </a:cubicBezTo>
                <a:cubicBezTo>
                  <a:pt x="48823" y="26210"/>
                  <a:pt x="48823" y="26210"/>
                  <a:pt x="48823" y="26210"/>
                </a:cubicBezTo>
                <a:cubicBezTo>
                  <a:pt x="48823" y="26210"/>
                  <a:pt x="49705" y="26526"/>
                  <a:pt x="49705" y="26842"/>
                </a:cubicBezTo>
                <a:cubicBezTo>
                  <a:pt x="49705" y="26842"/>
                  <a:pt x="49411" y="27473"/>
                  <a:pt x="49411" y="27473"/>
                </a:cubicBezTo>
                <a:cubicBezTo>
                  <a:pt x="49411" y="29052"/>
                  <a:pt x="49411" y="29052"/>
                  <a:pt x="49411" y="29052"/>
                </a:cubicBezTo>
                <a:cubicBezTo>
                  <a:pt x="49411" y="29052"/>
                  <a:pt x="50294" y="29368"/>
                  <a:pt x="50588" y="29368"/>
                </a:cubicBezTo>
                <a:cubicBezTo>
                  <a:pt x="50588" y="29368"/>
                  <a:pt x="51470" y="28736"/>
                  <a:pt x="51470" y="28736"/>
                </a:cubicBezTo>
                <a:cubicBezTo>
                  <a:pt x="51470" y="28421"/>
                  <a:pt x="51764" y="28105"/>
                  <a:pt x="51764" y="28105"/>
                </a:cubicBezTo>
                <a:cubicBezTo>
                  <a:pt x="52352" y="28736"/>
                  <a:pt x="52352" y="28736"/>
                  <a:pt x="52352" y="28736"/>
                </a:cubicBezTo>
                <a:cubicBezTo>
                  <a:pt x="52352" y="28736"/>
                  <a:pt x="52647" y="29368"/>
                  <a:pt x="52941" y="29368"/>
                </a:cubicBezTo>
                <a:cubicBezTo>
                  <a:pt x="52941" y="29368"/>
                  <a:pt x="53823" y="29368"/>
                  <a:pt x="53823" y="29368"/>
                </a:cubicBezTo>
                <a:cubicBezTo>
                  <a:pt x="55000" y="30000"/>
                  <a:pt x="55000" y="30000"/>
                  <a:pt x="55000" y="30000"/>
                </a:cubicBezTo>
                <a:cubicBezTo>
                  <a:pt x="56470" y="31263"/>
                  <a:pt x="56470" y="31263"/>
                  <a:pt x="56470" y="31263"/>
                </a:cubicBezTo>
                <a:cubicBezTo>
                  <a:pt x="56470" y="31263"/>
                  <a:pt x="57647" y="31894"/>
                  <a:pt x="57352" y="32210"/>
                </a:cubicBezTo>
                <a:cubicBezTo>
                  <a:pt x="56764" y="32526"/>
                  <a:pt x="56176" y="32842"/>
                  <a:pt x="55882" y="32842"/>
                </a:cubicBezTo>
                <a:cubicBezTo>
                  <a:pt x="55882" y="32842"/>
                  <a:pt x="55294" y="32526"/>
                  <a:pt x="55294" y="32210"/>
                </a:cubicBezTo>
                <a:cubicBezTo>
                  <a:pt x="55294" y="31578"/>
                  <a:pt x="55000" y="31263"/>
                  <a:pt x="54705" y="31263"/>
                </a:cubicBezTo>
                <a:cubicBezTo>
                  <a:pt x="54411" y="31263"/>
                  <a:pt x="53823" y="30631"/>
                  <a:pt x="53823" y="30631"/>
                </a:cubicBezTo>
                <a:cubicBezTo>
                  <a:pt x="53529" y="30631"/>
                  <a:pt x="52941" y="30631"/>
                  <a:pt x="52647" y="30947"/>
                </a:cubicBezTo>
                <a:cubicBezTo>
                  <a:pt x="52352" y="30947"/>
                  <a:pt x="51764" y="30947"/>
                  <a:pt x="51764" y="30631"/>
                </a:cubicBezTo>
                <a:cubicBezTo>
                  <a:pt x="51470" y="30631"/>
                  <a:pt x="51176" y="29684"/>
                  <a:pt x="51176" y="29684"/>
                </a:cubicBezTo>
                <a:cubicBezTo>
                  <a:pt x="49705" y="29368"/>
                  <a:pt x="49705" y="29368"/>
                  <a:pt x="49705" y="29368"/>
                </a:cubicBezTo>
                <a:cubicBezTo>
                  <a:pt x="49705" y="29368"/>
                  <a:pt x="49411" y="29684"/>
                  <a:pt x="49411" y="30000"/>
                </a:cubicBezTo>
                <a:cubicBezTo>
                  <a:pt x="49411" y="30000"/>
                  <a:pt x="48823" y="30631"/>
                  <a:pt x="48823" y="30631"/>
                </a:cubicBezTo>
                <a:cubicBezTo>
                  <a:pt x="48529" y="30947"/>
                  <a:pt x="48529" y="30947"/>
                  <a:pt x="48529" y="30947"/>
                </a:cubicBezTo>
                <a:cubicBezTo>
                  <a:pt x="48529" y="31578"/>
                  <a:pt x="48529" y="31578"/>
                  <a:pt x="48529" y="31578"/>
                </a:cubicBezTo>
                <a:cubicBezTo>
                  <a:pt x="49117" y="32210"/>
                  <a:pt x="49117" y="32210"/>
                  <a:pt x="49117" y="32210"/>
                </a:cubicBezTo>
                <a:cubicBezTo>
                  <a:pt x="50294" y="33157"/>
                  <a:pt x="50294" y="33157"/>
                  <a:pt x="50294" y="33157"/>
                </a:cubicBezTo>
                <a:cubicBezTo>
                  <a:pt x="50294" y="33157"/>
                  <a:pt x="51764" y="33473"/>
                  <a:pt x="51764" y="33473"/>
                </a:cubicBezTo>
                <a:cubicBezTo>
                  <a:pt x="52058" y="33473"/>
                  <a:pt x="52647" y="34421"/>
                  <a:pt x="52647" y="34421"/>
                </a:cubicBezTo>
                <a:cubicBezTo>
                  <a:pt x="52647" y="35368"/>
                  <a:pt x="52647" y="35368"/>
                  <a:pt x="52647" y="35368"/>
                </a:cubicBezTo>
                <a:cubicBezTo>
                  <a:pt x="52352" y="36315"/>
                  <a:pt x="52352" y="36315"/>
                  <a:pt x="52352" y="36315"/>
                </a:cubicBezTo>
                <a:cubicBezTo>
                  <a:pt x="52352" y="36315"/>
                  <a:pt x="52352" y="36947"/>
                  <a:pt x="51764" y="36631"/>
                </a:cubicBezTo>
                <a:cubicBezTo>
                  <a:pt x="51176" y="36315"/>
                  <a:pt x="50882" y="36000"/>
                  <a:pt x="50882" y="36000"/>
                </a:cubicBezTo>
                <a:cubicBezTo>
                  <a:pt x="50000" y="35684"/>
                  <a:pt x="50000" y="35684"/>
                  <a:pt x="50000" y="35684"/>
                </a:cubicBezTo>
                <a:cubicBezTo>
                  <a:pt x="49705" y="34421"/>
                  <a:pt x="49705" y="34421"/>
                  <a:pt x="49705" y="34421"/>
                </a:cubicBezTo>
                <a:cubicBezTo>
                  <a:pt x="49705" y="34421"/>
                  <a:pt x="49117" y="33789"/>
                  <a:pt x="49117" y="33789"/>
                </a:cubicBezTo>
                <a:cubicBezTo>
                  <a:pt x="48823" y="33789"/>
                  <a:pt x="47352" y="32842"/>
                  <a:pt x="47352" y="32842"/>
                </a:cubicBezTo>
                <a:cubicBezTo>
                  <a:pt x="45588" y="32842"/>
                  <a:pt x="45588" y="32842"/>
                  <a:pt x="45588" y="32842"/>
                </a:cubicBezTo>
                <a:cubicBezTo>
                  <a:pt x="44411" y="32842"/>
                  <a:pt x="44411" y="32842"/>
                  <a:pt x="44411" y="32842"/>
                </a:cubicBezTo>
                <a:cubicBezTo>
                  <a:pt x="44117" y="33789"/>
                  <a:pt x="44117" y="33789"/>
                  <a:pt x="44117" y="33789"/>
                </a:cubicBezTo>
                <a:cubicBezTo>
                  <a:pt x="44117" y="33789"/>
                  <a:pt x="44117" y="34421"/>
                  <a:pt x="44411" y="34421"/>
                </a:cubicBezTo>
                <a:cubicBezTo>
                  <a:pt x="44411" y="34736"/>
                  <a:pt x="45294" y="35368"/>
                  <a:pt x="45294" y="35368"/>
                </a:cubicBezTo>
                <a:cubicBezTo>
                  <a:pt x="45294" y="35368"/>
                  <a:pt x="45882" y="35368"/>
                  <a:pt x="45882" y="35684"/>
                </a:cubicBezTo>
                <a:cubicBezTo>
                  <a:pt x="46176" y="36000"/>
                  <a:pt x="46764" y="36631"/>
                  <a:pt x="46764" y="36631"/>
                </a:cubicBezTo>
                <a:cubicBezTo>
                  <a:pt x="46764" y="36631"/>
                  <a:pt x="47058" y="36631"/>
                  <a:pt x="47352" y="36631"/>
                </a:cubicBezTo>
                <a:cubicBezTo>
                  <a:pt x="47941" y="36631"/>
                  <a:pt x="48529" y="36947"/>
                  <a:pt x="48529" y="36947"/>
                </a:cubicBezTo>
                <a:cubicBezTo>
                  <a:pt x="49411" y="37263"/>
                  <a:pt x="49411" y="37263"/>
                  <a:pt x="49411" y="37263"/>
                </a:cubicBezTo>
                <a:cubicBezTo>
                  <a:pt x="49705" y="37578"/>
                  <a:pt x="49705" y="37578"/>
                  <a:pt x="49705" y="37578"/>
                </a:cubicBezTo>
                <a:cubicBezTo>
                  <a:pt x="49705" y="37578"/>
                  <a:pt x="48823" y="37894"/>
                  <a:pt x="48529" y="37894"/>
                </a:cubicBezTo>
                <a:cubicBezTo>
                  <a:pt x="48235" y="38210"/>
                  <a:pt x="47352" y="38210"/>
                  <a:pt x="47352" y="38210"/>
                </a:cubicBezTo>
                <a:cubicBezTo>
                  <a:pt x="47352" y="38210"/>
                  <a:pt x="46764" y="37578"/>
                  <a:pt x="46470" y="37578"/>
                </a:cubicBezTo>
                <a:cubicBezTo>
                  <a:pt x="46470" y="37578"/>
                  <a:pt x="45588" y="37894"/>
                  <a:pt x="45588" y="37894"/>
                </a:cubicBezTo>
                <a:cubicBezTo>
                  <a:pt x="45588" y="37894"/>
                  <a:pt x="45000" y="38526"/>
                  <a:pt x="44705" y="37894"/>
                </a:cubicBezTo>
                <a:cubicBezTo>
                  <a:pt x="44411" y="37263"/>
                  <a:pt x="44117" y="36631"/>
                  <a:pt x="44117" y="36631"/>
                </a:cubicBezTo>
                <a:cubicBezTo>
                  <a:pt x="44117" y="36000"/>
                  <a:pt x="44117" y="36000"/>
                  <a:pt x="44117" y="36000"/>
                </a:cubicBezTo>
                <a:cubicBezTo>
                  <a:pt x="44117" y="35052"/>
                  <a:pt x="44117" y="35052"/>
                  <a:pt x="44117" y="35052"/>
                </a:cubicBezTo>
                <a:cubicBezTo>
                  <a:pt x="43823" y="34105"/>
                  <a:pt x="43823" y="34105"/>
                  <a:pt x="43823" y="34105"/>
                </a:cubicBezTo>
                <a:cubicBezTo>
                  <a:pt x="42647" y="33473"/>
                  <a:pt x="42647" y="33473"/>
                  <a:pt x="42647" y="33473"/>
                </a:cubicBezTo>
                <a:cubicBezTo>
                  <a:pt x="41176" y="33473"/>
                  <a:pt x="41176" y="33473"/>
                  <a:pt x="41176" y="33473"/>
                </a:cubicBezTo>
                <a:cubicBezTo>
                  <a:pt x="39705" y="32526"/>
                  <a:pt x="39705" y="32526"/>
                  <a:pt x="39705" y="32526"/>
                </a:cubicBezTo>
                <a:cubicBezTo>
                  <a:pt x="37941" y="31894"/>
                  <a:pt x="37941" y="31894"/>
                  <a:pt x="37941" y="31894"/>
                </a:cubicBezTo>
                <a:cubicBezTo>
                  <a:pt x="37352" y="30631"/>
                  <a:pt x="37352" y="30631"/>
                  <a:pt x="37352" y="30631"/>
                </a:cubicBezTo>
                <a:cubicBezTo>
                  <a:pt x="38529" y="29684"/>
                  <a:pt x="38529" y="29684"/>
                  <a:pt x="38529" y="29684"/>
                </a:cubicBezTo>
                <a:cubicBezTo>
                  <a:pt x="38235" y="28736"/>
                  <a:pt x="38235" y="28736"/>
                  <a:pt x="38235" y="28736"/>
                </a:cubicBezTo>
                <a:cubicBezTo>
                  <a:pt x="37647" y="28105"/>
                  <a:pt x="37647" y="28105"/>
                  <a:pt x="37647" y="28105"/>
                </a:cubicBezTo>
                <a:cubicBezTo>
                  <a:pt x="36176" y="29052"/>
                  <a:pt x="36176" y="29052"/>
                  <a:pt x="36176" y="29052"/>
                </a:cubicBezTo>
                <a:cubicBezTo>
                  <a:pt x="36176" y="30000"/>
                  <a:pt x="36176" y="30000"/>
                  <a:pt x="36176" y="30000"/>
                </a:cubicBezTo>
                <a:cubicBezTo>
                  <a:pt x="34705" y="30631"/>
                  <a:pt x="34705" y="30631"/>
                  <a:pt x="34705" y="30631"/>
                </a:cubicBezTo>
                <a:cubicBezTo>
                  <a:pt x="34117" y="31894"/>
                  <a:pt x="34117" y="31894"/>
                  <a:pt x="34117" y="31894"/>
                </a:cubicBezTo>
                <a:cubicBezTo>
                  <a:pt x="35000" y="32842"/>
                  <a:pt x="35000" y="32842"/>
                  <a:pt x="35000" y="32842"/>
                </a:cubicBezTo>
                <a:cubicBezTo>
                  <a:pt x="35000" y="34421"/>
                  <a:pt x="35000" y="34421"/>
                  <a:pt x="35000" y="34421"/>
                </a:cubicBezTo>
                <a:cubicBezTo>
                  <a:pt x="35000" y="34421"/>
                  <a:pt x="34705" y="36000"/>
                  <a:pt x="35000" y="36315"/>
                </a:cubicBezTo>
                <a:cubicBezTo>
                  <a:pt x="35000" y="36315"/>
                  <a:pt x="34705" y="37263"/>
                  <a:pt x="34705" y="37894"/>
                </a:cubicBezTo>
                <a:cubicBezTo>
                  <a:pt x="35000" y="38210"/>
                  <a:pt x="35000" y="38526"/>
                  <a:pt x="35588" y="38842"/>
                </a:cubicBezTo>
                <a:cubicBezTo>
                  <a:pt x="35882" y="39157"/>
                  <a:pt x="35882" y="39157"/>
                  <a:pt x="36470" y="39473"/>
                </a:cubicBezTo>
                <a:cubicBezTo>
                  <a:pt x="37058" y="39789"/>
                  <a:pt x="37352" y="40105"/>
                  <a:pt x="37352" y="40105"/>
                </a:cubicBezTo>
                <a:cubicBezTo>
                  <a:pt x="37941" y="41368"/>
                  <a:pt x="37941" y="41368"/>
                  <a:pt x="37941" y="41368"/>
                </a:cubicBezTo>
                <a:cubicBezTo>
                  <a:pt x="37941" y="41368"/>
                  <a:pt x="38235" y="41684"/>
                  <a:pt x="38529" y="41684"/>
                </a:cubicBezTo>
                <a:cubicBezTo>
                  <a:pt x="38823" y="42000"/>
                  <a:pt x="39705" y="42315"/>
                  <a:pt x="39705" y="42631"/>
                </a:cubicBezTo>
                <a:cubicBezTo>
                  <a:pt x="39705" y="43263"/>
                  <a:pt x="40000" y="43894"/>
                  <a:pt x="40000" y="43894"/>
                </a:cubicBezTo>
                <a:cubicBezTo>
                  <a:pt x="40000" y="43894"/>
                  <a:pt x="40294" y="44526"/>
                  <a:pt x="40294" y="44526"/>
                </a:cubicBezTo>
                <a:cubicBezTo>
                  <a:pt x="40588" y="44842"/>
                  <a:pt x="40882" y="44526"/>
                  <a:pt x="40882" y="44842"/>
                </a:cubicBezTo>
                <a:cubicBezTo>
                  <a:pt x="41176" y="45157"/>
                  <a:pt x="40882" y="45473"/>
                  <a:pt x="41470" y="45789"/>
                </a:cubicBezTo>
                <a:cubicBezTo>
                  <a:pt x="41764" y="46421"/>
                  <a:pt x="42352" y="46736"/>
                  <a:pt x="42352" y="46736"/>
                </a:cubicBezTo>
                <a:cubicBezTo>
                  <a:pt x="42647" y="46736"/>
                  <a:pt x="43235" y="47052"/>
                  <a:pt x="43235" y="47052"/>
                </a:cubicBezTo>
                <a:cubicBezTo>
                  <a:pt x="45000" y="48315"/>
                  <a:pt x="45000" y="48315"/>
                  <a:pt x="45000" y="48315"/>
                </a:cubicBezTo>
                <a:cubicBezTo>
                  <a:pt x="46176" y="49894"/>
                  <a:pt x="46176" y="49894"/>
                  <a:pt x="46176" y="49894"/>
                </a:cubicBezTo>
                <a:cubicBezTo>
                  <a:pt x="47058" y="50842"/>
                  <a:pt x="47058" y="50842"/>
                  <a:pt x="47058" y="50842"/>
                </a:cubicBezTo>
                <a:cubicBezTo>
                  <a:pt x="46764" y="52105"/>
                  <a:pt x="46764" y="52105"/>
                  <a:pt x="46764" y="52105"/>
                </a:cubicBezTo>
                <a:cubicBezTo>
                  <a:pt x="46470" y="52736"/>
                  <a:pt x="46470" y="52736"/>
                  <a:pt x="46470" y="52736"/>
                </a:cubicBezTo>
                <a:cubicBezTo>
                  <a:pt x="46470" y="52736"/>
                  <a:pt x="45882" y="53052"/>
                  <a:pt x="45588" y="53052"/>
                </a:cubicBezTo>
                <a:cubicBezTo>
                  <a:pt x="45588" y="53052"/>
                  <a:pt x="45000" y="53368"/>
                  <a:pt x="45000" y="53368"/>
                </a:cubicBezTo>
                <a:cubicBezTo>
                  <a:pt x="45000" y="53368"/>
                  <a:pt x="44705" y="53052"/>
                  <a:pt x="44705" y="53052"/>
                </a:cubicBezTo>
                <a:cubicBezTo>
                  <a:pt x="45000" y="52736"/>
                  <a:pt x="45882" y="52421"/>
                  <a:pt x="45882" y="52421"/>
                </a:cubicBezTo>
                <a:cubicBezTo>
                  <a:pt x="45882" y="52421"/>
                  <a:pt x="45882" y="51473"/>
                  <a:pt x="45588" y="51473"/>
                </a:cubicBezTo>
                <a:cubicBezTo>
                  <a:pt x="45294" y="51157"/>
                  <a:pt x="44411" y="50526"/>
                  <a:pt x="44411" y="50526"/>
                </a:cubicBezTo>
                <a:cubicBezTo>
                  <a:pt x="43823" y="49894"/>
                  <a:pt x="43823" y="49894"/>
                  <a:pt x="43823" y="49894"/>
                </a:cubicBezTo>
                <a:cubicBezTo>
                  <a:pt x="42941" y="49894"/>
                  <a:pt x="42941" y="49894"/>
                  <a:pt x="42941" y="49894"/>
                </a:cubicBezTo>
                <a:cubicBezTo>
                  <a:pt x="42941" y="49894"/>
                  <a:pt x="42352" y="49894"/>
                  <a:pt x="42352" y="50210"/>
                </a:cubicBezTo>
                <a:cubicBezTo>
                  <a:pt x="42058" y="50526"/>
                  <a:pt x="41176" y="51157"/>
                  <a:pt x="41176" y="51157"/>
                </a:cubicBezTo>
                <a:cubicBezTo>
                  <a:pt x="40588" y="52421"/>
                  <a:pt x="40588" y="52421"/>
                  <a:pt x="40588" y="52421"/>
                </a:cubicBezTo>
                <a:cubicBezTo>
                  <a:pt x="42058" y="52736"/>
                  <a:pt x="42058" y="52736"/>
                  <a:pt x="42058" y="52736"/>
                </a:cubicBezTo>
                <a:cubicBezTo>
                  <a:pt x="42058" y="52736"/>
                  <a:pt x="42647" y="53368"/>
                  <a:pt x="42647" y="53368"/>
                </a:cubicBezTo>
                <a:cubicBezTo>
                  <a:pt x="42647" y="53684"/>
                  <a:pt x="43235" y="54315"/>
                  <a:pt x="43235" y="54315"/>
                </a:cubicBezTo>
                <a:cubicBezTo>
                  <a:pt x="43823" y="54631"/>
                  <a:pt x="43823" y="54631"/>
                  <a:pt x="43823" y="54631"/>
                </a:cubicBezTo>
                <a:cubicBezTo>
                  <a:pt x="43823" y="55263"/>
                  <a:pt x="43823" y="55263"/>
                  <a:pt x="43823" y="55263"/>
                </a:cubicBezTo>
                <a:cubicBezTo>
                  <a:pt x="43529" y="56210"/>
                  <a:pt x="43529" y="56210"/>
                  <a:pt x="43529" y="56210"/>
                </a:cubicBezTo>
                <a:cubicBezTo>
                  <a:pt x="42647" y="57473"/>
                  <a:pt x="42647" y="57473"/>
                  <a:pt x="42647" y="57473"/>
                </a:cubicBezTo>
                <a:cubicBezTo>
                  <a:pt x="42647" y="57473"/>
                  <a:pt x="42058" y="57789"/>
                  <a:pt x="42058" y="57789"/>
                </a:cubicBezTo>
                <a:cubicBezTo>
                  <a:pt x="41764" y="57789"/>
                  <a:pt x="41176" y="58421"/>
                  <a:pt x="41176" y="58421"/>
                </a:cubicBezTo>
                <a:cubicBezTo>
                  <a:pt x="41176" y="58421"/>
                  <a:pt x="40882" y="58421"/>
                  <a:pt x="40882" y="58421"/>
                </a:cubicBezTo>
                <a:cubicBezTo>
                  <a:pt x="40588" y="58421"/>
                  <a:pt x="40000" y="58105"/>
                  <a:pt x="39705" y="58105"/>
                </a:cubicBezTo>
                <a:cubicBezTo>
                  <a:pt x="39705" y="58105"/>
                  <a:pt x="39117" y="58421"/>
                  <a:pt x="39117" y="58421"/>
                </a:cubicBezTo>
                <a:cubicBezTo>
                  <a:pt x="39117" y="58421"/>
                  <a:pt x="38235" y="59052"/>
                  <a:pt x="39411" y="59368"/>
                </a:cubicBezTo>
                <a:cubicBezTo>
                  <a:pt x="40588" y="59368"/>
                  <a:pt x="40882" y="59368"/>
                  <a:pt x="41176" y="59368"/>
                </a:cubicBezTo>
                <a:cubicBezTo>
                  <a:pt x="41176" y="59368"/>
                  <a:pt x="42352" y="59368"/>
                  <a:pt x="42352" y="59368"/>
                </a:cubicBezTo>
                <a:cubicBezTo>
                  <a:pt x="42352" y="59368"/>
                  <a:pt x="42647" y="59368"/>
                  <a:pt x="42941" y="59684"/>
                </a:cubicBezTo>
                <a:cubicBezTo>
                  <a:pt x="43529" y="59684"/>
                  <a:pt x="43823" y="59684"/>
                  <a:pt x="44117" y="60000"/>
                </a:cubicBezTo>
                <a:cubicBezTo>
                  <a:pt x="44411" y="60000"/>
                  <a:pt x="44705" y="60315"/>
                  <a:pt x="44705" y="60315"/>
                </a:cubicBezTo>
                <a:cubicBezTo>
                  <a:pt x="44705" y="60631"/>
                  <a:pt x="44705" y="60631"/>
                  <a:pt x="45000" y="60631"/>
                </a:cubicBezTo>
                <a:cubicBezTo>
                  <a:pt x="45294" y="60631"/>
                  <a:pt x="45588" y="60947"/>
                  <a:pt x="45588" y="60947"/>
                </a:cubicBezTo>
                <a:cubicBezTo>
                  <a:pt x="45882" y="60947"/>
                  <a:pt x="45882" y="60947"/>
                  <a:pt x="45882" y="60947"/>
                </a:cubicBezTo>
                <a:cubicBezTo>
                  <a:pt x="45882" y="60947"/>
                  <a:pt x="46176" y="60947"/>
                  <a:pt x="46470" y="60947"/>
                </a:cubicBezTo>
                <a:cubicBezTo>
                  <a:pt x="46764" y="60947"/>
                  <a:pt x="46764" y="60631"/>
                  <a:pt x="47058" y="60631"/>
                </a:cubicBezTo>
                <a:cubicBezTo>
                  <a:pt x="47352" y="60631"/>
                  <a:pt x="48235" y="60631"/>
                  <a:pt x="48235" y="60631"/>
                </a:cubicBezTo>
                <a:cubicBezTo>
                  <a:pt x="48823" y="61894"/>
                  <a:pt x="48823" y="61894"/>
                  <a:pt x="48823" y="61894"/>
                </a:cubicBezTo>
                <a:cubicBezTo>
                  <a:pt x="48823" y="61894"/>
                  <a:pt x="48823" y="62210"/>
                  <a:pt x="49117" y="62210"/>
                </a:cubicBezTo>
                <a:cubicBezTo>
                  <a:pt x="49117" y="62526"/>
                  <a:pt x="49705" y="62842"/>
                  <a:pt x="50000" y="62842"/>
                </a:cubicBezTo>
                <a:cubicBezTo>
                  <a:pt x="50294" y="62842"/>
                  <a:pt x="52647" y="62210"/>
                  <a:pt x="52647" y="62210"/>
                </a:cubicBezTo>
                <a:cubicBezTo>
                  <a:pt x="51470" y="61263"/>
                  <a:pt x="51470" y="61263"/>
                  <a:pt x="51470" y="61263"/>
                </a:cubicBezTo>
                <a:cubicBezTo>
                  <a:pt x="51470" y="61263"/>
                  <a:pt x="50882" y="60631"/>
                  <a:pt x="50588" y="60315"/>
                </a:cubicBezTo>
                <a:cubicBezTo>
                  <a:pt x="50588" y="60000"/>
                  <a:pt x="49117" y="59052"/>
                  <a:pt x="49117" y="59052"/>
                </a:cubicBezTo>
                <a:cubicBezTo>
                  <a:pt x="47647" y="58736"/>
                  <a:pt x="47647" y="58736"/>
                  <a:pt x="47647" y="58736"/>
                </a:cubicBezTo>
                <a:cubicBezTo>
                  <a:pt x="45882" y="57789"/>
                  <a:pt x="45882" y="57789"/>
                  <a:pt x="45882" y="57789"/>
                </a:cubicBezTo>
                <a:cubicBezTo>
                  <a:pt x="44117" y="57157"/>
                  <a:pt x="44117" y="57157"/>
                  <a:pt x="44117" y="57157"/>
                </a:cubicBezTo>
                <a:cubicBezTo>
                  <a:pt x="44117" y="57157"/>
                  <a:pt x="44705" y="55894"/>
                  <a:pt x="45000" y="55578"/>
                </a:cubicBezTo>
                <a:cubicBezTo>
                  <a:pt x="45000" y="55263"/>
                  <a:pt x="45000" y="54315"/>
                  <a:pt x="45294" y="54315"/>
                </a:cubicBezTo>
                <a:cubicBezTo>
                  <a:pt x="45588" y="54631"/>
                  <a:pt x="46176" y="54631"/>
                  <a:pt x="46470" y="54631"/>
                </a:cubicBezTo>
                <a:cubicBezTo>
                  <a:pt x="46764" y="54631"/>
                  <a:pt x="47352" y="54315"/>
                  <a:pt x="47647" y="54315"/>
                </a:cubicBezTo>
                <a:cubicBezTo>
                  <a:pt x="47941" y="54315"/>
                  <a:pt x="48529" y="54631"/>
                  <a:pt x="48529" y="54631"/>
                </a:cubicBezTo>
                <a:cubicBezTo>
                  <a:pt x="48529" y="54631"/>
                  <a:pt x="48823" y="55263"/>
                  <a:pt x="48823" y="55578"/>
                </a:cubicBezTo>
                <a:cubicBezTo>
                  <a:pt x="49117" y="55578"/>
                  <a:pt x="49117" y="56210"/>
                  <a:pt x="49411" y="56526"/>
                </a:cubicBezTo>
                <a:cubicBezTo>
                  <a:pt x="49705" y="56526"/>
                  <a:pt x="51176" y="57157"/>
                  <a:pt x="51176" y="57157"/>
                </a:cubicBezTo>
                <a:cubicBezTo>
                  <a:pt x="51176" y="57157"/>
                  <a:pt x="52941" y="57789"/>
                  <a:pt x="52941" y="57789"/>
                </a:cubicBezTo>
                <a:cubicBezTo>
                  <a:pt x="53235" y="57789"/>
                  <a:pt x="53823" y="57789"/>
                  <a:pt x="53823" y="57789"/>
                </a:cubicBezTo>
                <a:cubicBezTo>
                  <a:pt x="54705" y="58736"/>
                  <a:pt x="54705" y="58736"/>
                  <a:pt x="54705" y="58736"/>
                </a:cubicBezTo>
                <a:cubicBezTo>
                  <a:pt x="56470" y="58421"/>
                  <a:pt x="56470" y="58421"/>
                  <a:pt x="56470" y="58421"/>
                </a:cubicBezTo>
                <a:cubicBezTo>
                  <a:pt x="58235" y="58105"/>
                  <a:pt x="58235" y="58105"/>
                  <a:pt x="58235" y="58105"/>
                </a:cubicBezTo>
                <a:cubicBezTo>
                  <a:pt x="58529" y="58736"/>
                  <a:pt x="58529" y="58736"/>
                  <a:pt x="58529" y="58736"/>
                </a:cubicBezTo>
                <a:cubicBezTo>
                  <a:pt x="58529" y="58736"/>
                  <a:pt x="59411" y="59368"/>
                  <a:pt x="59411" y="59368"/>
                </a:cubicBezTo>
                <a:cubicBezTo>
                  <a:pt x="59411" y="59684"/>
                  <a:pt x="60000" y="60947"/>
                  <a:pt x="60000" y="60947"/>
                </a:cubicBezTo>
                <a:cubicBezTo>
                  <a:pt x="60000" y="60947"/>
                  <a:pt x="60000" y="61894"/>
                  <a:pt x="60000" y="61894"/>
                </a:cubicBezTo>
                <a:cubicBezTo>
                  <a:pt x="60000" y="62210"/>
                  <a:pt x="60588" y="63473"/>
                  <a:pt x="60588" y="63473"/>
                </a:cubicBezTo>
                <a:cubicBezTo>
                  <a:pt x="60882" y="63789"/>
                  <a:pt x="62058" y="65052"/>
                  <a:pt x="62058" y="65368"/>
                </a:cubicBezTo>
                <a:cubicBezTo>
                  <a:pt x="62058" y="65368"/>
                  <a:pt x="62647" y="66315"/>
                  <a:pt x="62941" y="66315"/>
                </a:cubicBezTo>
                <a:cubicBezTo>
                  <a:pt x="62941" y="66315"/>
                  <a:pt x="63235" y="66000"/>
                  <a:pt x="63235" y="66000"/>
                </a:cubicBezTo>
                <a:cubicBezTo>
                  <a:pt x="63529" y="66000"/>
                  <a:pt x="64411" y="65368"/>
                  <a:pt x="64411" y="65368"/>
                </a:cubicBezTo>
                <a:cubicBezTo>
                  <a:pt x="64411" y="65368"/>
                  <a:pt x="65294" y="65368"/>
                  <a:pt x="65294" y="65684"/>
                </a:cubicBezTo>
                <a:cubicBezTo>
                  <a:pt x="65294" y="66000"/>
                  <a:pt x="66470" y="66947"/>
                  <a:pt x="66470" y="66947"/>
                </a:cubicBezTo>
                <a:cubicBezTo>
                  <a:pt x="66470" y="66947"/>
                  <a:pt x="66764" y="68210"/>
                  <a:pt x="66764" y="68210"/>
                </a:cubicBezTo>
                <a:cubicBezTo>
                  <a:pt x="66470" y="68526"/>
                  <a:pt x="65588" y="68842"/>
                  <a:pt x="65588" y="69157"/>
                </a:cubicBezTo>
                <a:cubicBezTo>
                  <a:pt x="65294" y="69157"/>
                  <a:pt x="64411" y="69157"/>
                  <a:pt x="64411" y="69157"/>
                </a:cubicBezTo>
                <a:cubicBezTo>
                  <a:pt x="64117" y="69473"/>
                  <a:pt x="62941" y="69789"/>
                  <a:pt x="62941" y="69789"/>
                </a:cubicBezTo>
                <a:cubicBezTo>
                  <a:pt x="62941" y="68526"/>
                  <a:pt x="62941" y="68526"/>
                  <a:pt x="62941" y="68526"/>
                </a:cubicBezTo>
                <a:cubicBezTo>
                  <a:pt x="62941" y="68526"/>
                  <a:pt x="62941" y="68210"/>
                  <a:pt x="62647" y="68210"/>
                </a:cubicBezTo>
                <a:cubicBezTo>
                  <a:pt x="62647" y="68210"/>
                  <a:pt x="60882" y="67578"/>
                  <a:pt x="60882" y="67578"/>
                </a:cubicBezTo>
                <a:cubicBezTo>
                  <a:pt x="60588" y="66000"/>
                  <a:pt x="60588" y="66000"/>
                  <a:pt x="60588" y="66000"/>
                </a:cubicBezTo>
                <a:cubicBezTo>
                  <a:pt x="59705" y="65052"/>
                  <a:pt x="59705" y="65052"/>
                  <a:pt x="59705" y="65052"/>
                </a:cubicBezTo>
                <a:cubicBezTo>
                  <a:pt x="58823" y="64421"/>
                  <a:pt x="58823" y="64421"/>
                  <a:pt x="58823" y="64421"/>
                </a:cubicBezTo>
                <a:cubicBezTo>
                  <a:pt x="58235" y="63473"/>
                  <a:pt x="58235" y="63473"/>
                  <a:pt x="58235" y="63473"/>
                </a:cubicBezTo>
                <a:cubicBezTo>
                  <a:pt x="57058" y="63473"/>
                  <a:pt x="57058" y="63473"/>
                  <a:pt x="57058" y="63473"/>
                </a:cubicBezTo>
                <a:cubicBezTo>
                  <a:pt x="57058" y="63473"/>
                  <a:pt x="56470" y="63789"/>
                  <a:pt x="56470" y="63789"/>
                </a:cubicBezTo>
                <a:cubicBezTo>
                  <a:pt x="56176" y="64105"/>
                  <a:pt x="55000" y="63789"/>
                  <a:pt x="55000" y="63789"/>
                </a:cubicBezTo>
                <a:cubicBezTo>
                  <a:pt x="54117" y="64105"/>
                  <a:pt x="54117" y="64105"/>
                  <a:pt x="54117" y="64105"/>
                </a:cubicBezTo>
                <a:cubicBezTo>
                  <a:pt x="54117" y="64736"/>
                  <a:pt x="54117" y="64736"/>
                  <a:pt x="54117" y="64736"/>
                </a:cubicBezTo>
                <a:cubicBezTo>
                  <a:pt x="55588" y="64736"/>
                  <a:pt x="55588" y="64736"/>
                  <a:pt x="55588" y="64736"/>
                </a:cubicBezTo>
                <a:cubicBezTo>
                  <a:pt x="56764" y="65052"/>
                  <a:pt x="56764" y="65052"/>
                  <a:pt x="56764" y="65052"/>
                </a:cubicBezTo>
                <a:cubicBezTo>
                  <a:pt x="58529" y="65368"/>
                  <a:pt x="58529" y="65368"/>
                  <a:pt x="58529" y="65368"/>
                </a:cubicBezTo>
                <a:cubicBezTo>
                  <a:pt x="58529" y="66631"/>
                  <a:pt x="58529" y="66631"/>
                  <a:pt x="58529" y="66631"/>
                </a:cubicBezTo>
                <a:cubicBezTo>
                  <a:pt x="58529" y="66631"/>
                  <a:pt x="58823" y="67263"/>
                  <a:pt x="58823" y="67578"/>
                </a:cubicBezTo>
                <a:cubicBezTo>
                  <a:pt x="58823" y="67894"/>
                  <a:pt x="59411" y="69157"/>
                  <a:pt x="59411" y="69157"/>
                </a:cubicBezTo>
                <a:cubicBezTo>
                  <a:pt x="60000" y="71052"/>
                  <a:pt x="60000" y="71052"/>
                  <a:pt x="60000" y="71052"/>
                </a:cubicBezTo>
                <a:cubicBezTo>
                  <a:pt x="60588" y="72315"/>
                  <a:pt x="60588" y="72315"/>
                  <a:pt x="60588" y="72315"/>
                </a:cubicBezTo>
                <a:cubicBezTo>
                  <a:pt x="61176" y="72631"/>
                  <a:pt x="61176" y="72631"/>
                  <a:pt x="61176" y="72631"/>
                </a:cubicBezTo>
                <a:cubicBezTo>
                  <a:pt x="61176" y="73894"/>
                  <a:pt x="61176" y="73894"/>
                  <a:pt x="61176" y="73894"/>
                </a:cubicBezTo>
                <a:cubicBezTo>
                  <a:pt x="61764" y="74210"/>
                  <a:pt x="61764" y="74210"/>
                  <a:pt x="61764" y="74210"/>
                </a:cubicBezTo>
                <a:cubicBezTo>
                  <a:pt x="61764" y="74210"/>
                  <a:pt x="61470" y="74526"/>
                  <a:pt x="61470" y="74842"/>
                </a:cubicBezTo>
                <a:cubicBezTo>
                  <a:pt x="61470" y="74842"/>
                  <a:pt x="60882" y="75789"/>
                  <a:pt x="60882" y="75789"/>
                </a:cubicBezTo>
                <a:cubicBezTo>
                  <a:pt x="60882" y="75789"/>
                  <a:pt x="60294" y="75789"/>
                  <a:pt x="60000" y="75789"/>
                </a:cubicBezTo>
                <a:cubicBezTo>
                  <a:pt x="60000" y="75473"/>
                  <a:pt x="59705" y="74842"/>
                  <a:pt x="59411" y="74842"/>
                </a:cubicBezTo>
                <a:cubicBezTo>
                  <a:pt x="58823" y="74526"/>
                  <a:pt x="58823" y="73894"/>
                  <a:pt x="58529" y="73894"/>
                </a:cubicBezTo>
                <a:cubicBezTo>
                  <a:pt x="58235" y="73894"/>
                  <a:pt x="57352" y="73894"/>
                  <a:pt x="57352" y="73894"/>
                </a:cubicBezTo>
                <a:cubicBezTo>
                  <a:pt x="57352" y="73894"/>
                  <a:pt x="56764" y="72947"/>
                  <a:pt x="56470" y="72631"/>
                </a:cubicBezTo>
                <a:cubicBezTo>
                  <a:pt x="56470" y="72631"/>
                  <a:pt x="56176" y="72315"/>
                  <a:pt x="55882" y="72000"/>
                </a:cubicBezTo>
                <a:cubicBezTo>
                  <a:pt x="55588" y="71684"/>
                  <a:pt x="55000" y="70736"/>
                  <a:pt x="55000" y="71052"/>
                </a:cubicBezTo>
                <a:cubicBezTo>
                  <a:pt x="55000" y="71684"/>
                  <a:pt x="55294" y="72315"/>
                  <a:pt x="55000" y="72315"/>
                </a:cubicBezTo>
                <a:cubicBezTo>
                  <a:pt x="54411" y="72315"/>
                  <a:pt x="54117" y="72315"/>
                  <a:pt x="54117" y="72315"/>
                </a:cubicBezTo>
                <a:cubicBezTo>
                  <a:pt x="54117" y="72315"/>
                  <a:pt x="53529" y="72947"/>
                  <a:pt x="53235" y="73263"/>
                </a:cubicBezTo>
                <a:cubicBezTo>
                  <a:pt x="53235" y="73263"/>
                  <a:pt x="53529" y="73263"/>
                  <a:pt x="52941" y="73578"/>
                </a:cubicBezTo>
                <a:cubicBezTo>
                  <a:pt x="52647" y="73578"/>
                  <a:pt x="52058" y="73578"/>
                  <a:pt x="52058" y="73578"/>
                </a:cubicBezTo>
                <a:cubicBezTo>
                  <a:pt x="52058" y="73263"/>
                  <a:pt x="52058" y="73263"/>
                  <a:pt x="52058" y="72947"/>
                </a:cubicBezTo>
                <a:cubicBezTo>
                  <a:pt x="52352" y="72631"/>
                  <a:pt x="54117" y="71684"/>
                  <a:pt x="54117" y="71684"/>
                </a:cubicBezTo>
                <a:cubicBezTo>
                  <a:pt x="54117" y="71368"/>
                  <a:pt x="53529" y="70421"/>
                  <a:pt x="53529" y="70421"/>
                </a:cubicBezTo>
                <a:cubicBezTo>
                  <a:pt x="53235" y="70736"/>
                  <a:pt x="53235" y="70736"/>
                  <a:pt x="53235" y="70736"/>
                </a:cubicBezTo>
                <a:cubicBezTo>
                  <a:pt x="52352" y="71368"/>
                  <a:pt x="52352" y="71368"/>
                  <a:pt x="52352" y="71368"/>
                </a:cubicBezTo>
                <a:cubicBezTo>
                  <a:pt x="51176" y="72315"/>
                  <a:pt x="51176" y="72315"/>
                  <a:pt x="51176" y="72315"/>
                </a:cubicBezTo>
                <a:cubicBezTo>
                  <a:pt x="50294" y="72631"/>
                  <a:pt x="50294" y="72631"/>
                  <a:pt x="50294" y="72631"/>
                </a:cubicBezTo>
                <a:cubicBezTo>
                  <a:pt x="49411" y="73263"/>
                  <a:pt x="49411" y="73263"/>
                  <a:pt x="49411" y="73263"/>
                </a:cubicBezTo>
                <a:cubicBezTo>
                  <a:pt x="48235" y="73578"/>
                  <a:pt x="48235" y="73578"/>
                  <a:pt x="48235" y="73578"/>
                </a:cubicBezTo>
                <a:cubicBezTo>
                  <a:pt x="47058" y="73578"/>
                  <a:pt x="47058" y="73578"/>
                  <a:pt x="47058" y="73578"/>
                </a:cubicBezTo>
                <a:cubicBezTo>
                  <a:pt x="46470" y="73263"/>
                  <a:pt x="46470" y="73263"/>
                  <a:pt x="46470" y="73263"/>
                </a:cubicBezTo>
                <a:cubicBezTo>
                  <a:pt x="45882" y="72315"/>
                  <a:pt x="45882" y="72315"/>
                  <a:pt x="45882" y="72315"/>
                </a:cubicBezTo>
                <a:cubicBezTo>
                  <a:pt x="45588" y="72315"/>
                  <a:pt x="45588" y="72315"/>
                  <a:pt x="45588" y="72315"/>
                </a:cubicBezTo>
                <a:cubicBezTo>
                  <a:pt x="45588" y="72315"/>
                  <a:pt x="45294" y="71684"/>
                  <a:pt x="45588" y="71368"/>
                </a:cubicBezTo>
                <a:cubicBezTo>
                  <a:pt x="45588" y="71368"/>
                  <a:pt x="45882" y="71052"/>
                  <a:pt x="46470" y="71052"/>
                </a:cubicBezTo>
                <a:cubicBezTo>
                  <a:pt x="47058" y="71052"/>
                  <a:pt x="47352" y="71052"/>
                  <a:pt x="47647" y="71052"/>
                </a:cubicBezTo>
                <a:cubicBezTo>
                  <a:pt x="47941" y="71052"/>
                  <a:pt x="48235" y="70736"/>
                  <a:pt x="48235" y="70736"/>
                </a:cubicBezTo>
                <a:cubicBezTo>
                  <a:pt x="48235" y="70736"/>
                  <a:pt x="48529" y="70736"/>
                  <a:pt x="48529" y="70421"/>
                </a:cubicBezTo>
                <a:cubicBezTo>
                  <a:pt x="48529" y="70105"/>
                  <a:pt x="47647" y="68842"/>
                  <a:pt x="47647" y="68842"/>
                </a:cubicBezTo>
                <a:cubicBezTo>
                  <a:pt x="47647" y="68842"/>
                  <a:pt x="46470" y="68842"/>
                  <a:pt x="46176" y="69157"/>
                </a:cubicBezTo>
                <a:cubicBezTo>
                  <a:pt x="45588" y="69157"/>
                  <a:pt x="45588" y="69789"/>
                  <a:pt x="45000" y="69473"/>
                </a:cubicBezTo>
                <a:cubicBezTo>
                  <a:pt x="44411" y="69157"/>
                  <a:pt x="42941" y="68526"/>
                  <a:pt x="42941" y="68526"/>
                </a:cubicBezTo>
                <a:cubicBezTo>
                  <a:pt x="41764" y="67263"/>
                  <a:pt x="41764" y="67263"/>
                  <a:pt x="41764" y="67263"/>
                </a:cubicBezTo>
                <a:cubicBezTo>
                  <a:pt x="41176" y="67894"/>
                  <a:pt x="41176" y="67894"/>
                  <a:pt x="41176" y="67894"/>
                </a:cubicBezTo>
                <a:cubicBezTo>
                  <a:pt x="40294" y="68526"/>
                  <a:pt x="40294" y="68526"/>
                  <a:pt x="40294" y="68526"/>
                </a:cubicBezTo>
                <a:cubicBezTo>
                  <a:pt x="40294" y="68526"/>
                  <a:pt x="40294" y="69157"/>
                  <a:pt x="39705" y="68526"/>
                </a:cubicBezTo>
                <a:cubicBezTo>
                  <a:pt x="39117" y="67578"/>
                  <a:pt x="39117" y="66947"/>
                  <a:pt x="39117" y="66947"/>
                </a:cubicBezTo>
                <a:cubicBezTo>
                  <a:pt x="38235" y="66947"/>
                  <a:pt x="38235" y="66947"/>
                  <a:pt x="38235" y="66947"/>
                </a:cubicBezTo>
                <a:cubicBezTo>
                  <a:pt x="37941" y="67894"/>
                  <a:pt x="37941" y="67894"/>
                  <a:pt x="37941" y="67894"/>
                </a:cubicBezTo>
                <a:cubicBezTo>
                  <a:pt x="37941" y="67894"/>
                  <a:pt x="37352" y="68842"/>
                  <a:pt x="37352" y="68842"/>
                </a:cubicBezTo>
                <a:cubicBezTo>
                  <a:pt x="37058" y="68842"/>
                  <a:pt x="36176" y="68842"/>
                  <a:pt x="35882" y="69157"/>
                </a:cubicBezTo>
                <a:cubicBezTo>
                  <a:pt x="35882" y="69157"/>
                  <a:pt x="34411" y="69157"/>
                  <a:pt x="34411" y="69157"/>
                </a:cubicBezTo>
                <a:cubicBezTo>
                  <a:pt x="32352" y="68526"/>
                  <a:pt x="32352" y="68526"/>
                  <a:pt x="32352" y="68526"/>
                </a:cubicBezTo>
                <a:cubicBezTo>
                  <a:pt x="32352" y="68526"/>
                  <a:pt x="31764" y="68842"/>
                  <a:pt x="31764" y="68842"/>
                </a:cubicBezTo>
                <a:cubicBezTo>
                  <a:pt x="31470" y="69157"/>
                  <a:pt x="28529" y="69789"/>
                  <a:pt x="28529" y="69789"/>
                </a:cubicBezTo>
                <a:cubicBezTo>
                  <a:pt x="27058" y="70736"/>
                  <a:pt x="27058" y="70736"/>
                  <a:pt x="27058" y="70736"/>
                </a:cubicBezTo>
                <a:cubicBezTo>
                  <a:pt x="26176" y="70736"/>
                  <a:pt x="26176" y="70736"/>
                  <a:pt x="26176" y="70736"/>
                </a:cubicBezTo>
                <a:cubicBezTo>
                  <a:pt x="25294" y="69473"/>
                  <a:pt x="25294" y="69473"/>
                  <a:pt x="25294" y="69473"/>
                </a:cubicBezTo>
                <a:cubicBezTo>
                  <a:pt x="24705" y="68526"/>
                  <a:pt x="24705" y="68526"/>
                  <a:pt x="24705" y="68526"/>
                </a:cubicBezTo>
                <a:cubicBezTo>
                  <a:pt x="24705" y="69789"/>
                  <a:pt x="24705" y="69789"/>
                  <a:pt x="24705" y="69789"/>
                </a:cubicBezTo>
                <a:cubicBezTo>
                  <a:pt x="24411" y="70421"/>
                  <a:pt x="24411" y="70421"/>
                  <a:pt x="24411" y="70421"/>
                </a:cubicBezTo>
                <a:cubicBezTo>
                  <a:pt x="24411" y="70421"/>
                  <a:pt x="23235" y="71684"/>
                  <a:pt x="22941" y="72000"/>
                </a:cubicBezTo>
                <a:cubicBezTo>
                  <a:pt x="22941" y="72000"/>
                  <a:pt x="21470" y="70421"/>
                  <a:pt x="21470" y="70421"/>
                </a:cubicBezTo>
                <a:cubicBezTo>
                  <a:pt x="21176" y="68210"/>
                  <a:pt x="21176" y="68210"/>
                  <a:pt x="21176" y="68210"/>
                </a:cubicBezTo>
                <a:cubicBezTo>
                  <a:pt x="19705" y="66631"/>
                  <a:pt x="19705" y="66631"/>
                  <a:pt x="19705" y="66631"/>
                </a:cubicBezTo>
                <a:cubicBezTo>
                  <a:pt x="18823" y="66947"/>
                  <a:pt x="18823" y="66947"/>
                  <a:pt x="18823" y="66947"/>
                </a:cubicBezTo>
                <a:cubicBezTo>
                  <a:pt x="18529" y="65368"/>
                  <a:pt x="18529" y="65368"/>
                  <a:pt x="18529" y="65368"/>
                </a:cubicBezTo>
                <a:cubicBezTo>
                  <a:pt x="17941" y="64421"/>
                  <a:pt x="17941" y="64421"/>
                  <a:pt x="17941" y="64421"/>
                </a:cubicBezTo>
                <a:cubicBezTo>
                  <a:pt x="16764" y="64421"/>
                  <a:pt x="16764" y="64421"/>
                  <a:pt x="16764" y="64421"/>
                </a:cubicBezTo>
                <a:cubicBezTo>
                  <a:pt x="16470" y="65052"/>
                  <a:pt x="16470" y="65052"/>
                  <a:pt x="16470" y="65052"/>
                </a:cubicBezTo>
                <a:cubicBezTo>
                  <a:pt x="16176" y="66000"/>
                  <a:pt x="16176" y="66000"/>
                  <a:pt x="16176" y="66000"/>
                </a:cubicBezTo>
                <a:cubicBezTo>
                  <a:pt x="16176" y="66000"/>
                  <a:pt x="16470" y="66947"/>
                  <a:pt x="16470" y="66947"/>
                </a:cubicBezTo>
                <a:cubicBezTo>
                  <a:pt x="16470" y="67263"/>
                  <a:pt x="16176" y="67578"/>
                  <a:pt x="15882" y="67578"/>
                </a:cubicBezTo>
                <a:cubicBezTo>
                  <a:pt x="15882" y="67578"/>
                  <a:pt x="14411" y="68210"/>
                  <a:pt x="14411" y="68210"/>
                </a:cubicBezTo>
                <a:cubicBezTo>
                  <a:pt x="14411" y="68210"/>
                  <a:pt x="14117" y="67263"/>
                  <a:pt x="14117" y="66947"/>
                </a:cubicBezTo>
                <a:cubicBezTo>
                  <a:pt x="14117" y="66315"/>
                  <a:pt x="14117" y="65368"/>
                  <a:pt x="14117" y="65368"/>
                </a:cubicBezTo>
                <a:cubicBezTo>
                  <a:pt x="14117" y="65368"/>
                  <a:pt x="15294" y="64736"/>
                  <a:pt x="15294" y="64736"/>
                </a:cubicBezTo>
                <a:cubicBezTo>
                  <a:pt x="15294" y="64421"/>
                  <a:pt x="16176" y="62842"/>
                  <a:pt x="16176" y="62842"/>
                </a:cubicBezTo>
                <a:cubicBezTo>
                  <a:pt x="16176" y="61894"/>
                  <a:pt x="16176" y="61894"/>
                  <a:pt x="16176" y="61894"/>
                </a:cubicBezTo>
                <a:cubicBezTo>
                  <a:pt x="16176" y="61894"/>
                  <a:pt x="17352" y="61578"/>
                  <a:pt x="17647" y="61578"/>
                </a:cubicBezTo>
                <a:cubicBezTo>
                  <a:pt x="17941" y="61578"/>
                  <a:pt x="18529" y="61578"/>
                  <a:pt x="18823" y="61894"/>
                </a:cubicBezTo>
                <a:cubicBezTo>
                  <a:pt x="19411" y="62210"/>
                  <a:pt x="19117" y="62210"/>
                  <a:pt x="19705" y="62210"/>
                </a:cubicBezTo>
                <a:cubicBezTo>
                  <a:pt x="20294" y="61894"/>
                  <a:pt x="20882" y="61578"/>
                  <a:pt x="20882" y="61263"/>
                </a:cubicBezTo>
                <a:cubicBezTo>
                  <a:pt x="20882" y="60947"/>
                  <a:pt x="21176" y="59684"/>
                  <a:pt x="20294" y="59684"/>
                </a:cubicBezTo>
                <a:cubicBezTo>
                  <a:pt x="19705" y="59684"/>
                  <a:pt x="18823" y="60315"/>
                  <a:pt x="18529" y="60315"/>
                </a:cubicBezTo>
                <a:cubicBezTo>
                  <a:pt x="18235" y="60631"/>
                  <a:pt x="17941" y="60315"/>
                  <a:pt x="17352" y="60000"/>
                </a:cubicBezTo>
                <a:cubicBezTo>
                  <a:pt x="17058" y="60000"/>
                  <a:pt x="16470" y="59684"/>
                  <a:pt x="16470" y="59684"/>
                </a:cubicBezTo>
                <a:cubicBezTo>
                  <a:pt x="15588" y="60631"/>
                  <a:pt x="15588" y="60631"/>
                  <a:pt x="15588" y="60631"/>
                </a:cubicBezTo>
                <a:cubicBezTo>
                  <a:pt x="15588" y="60631"/>
                  <a:pt x="16176" y="61894"/>
                  <a:pt x="15000" y="60947"/>
                </a:cubicBezTo>
                <a:cubicBezTo>
                  <a:pt x="13823" y="60315"/>
                  <a:pt x="13823" y="60000"/>
                  <a:pt x="13823" y="60000"/>
                </a:cubicBezTo>
                <a:cubicBezTo>
                  <a:pt x="12647" y="58736"/>
                  <a:pt x="12647" y="58736"/>
                  <a:pt x="12647" y="58736"/>
                </a:cubicBezTo>
                <a:cubicBezTo>
                  <a:pt x="12058" y="56526"/>
                  <a:pt x="12058" y="56526"/>
                  <a:pt x="12058" y="56526"/>
                </a:cubicBezTo>
                <a:cubicBezTo>
                  <a:pt x="11176" y="55263"/>
                  <a:pt x="11176" y="55263"/>
                  <a:pt x="11176" y="55263"/>
                </a:cubicBezTo>
                <a:cubicBezTo>
                  <a:pt x="11176" y="55263"/>
                  <a:pt x="10882" y="55894"/>
                  <a:pt x="10588" y="56526"/>
                </a:cubicBezTo>
                <a:cubicBezTo>
                  <a:pt x="10294" y="56842"/>
                  <a:pt x="9705" y="56842"/>
                  <a:pt x="9411" y="56526"/>
                </a:cubicBezTo>
                <a:cubicBezTo>
                  <a:pt x="9411" y="55894"/>
                  <a:pt x="8529" y="54631"/>
                  <a:pt x="8529" y="54631"/>
                </a:cubicBezTo>
                <a:cubicBezTo>
                  <a:pt x="8823" y="53368"/>
                  <a:pt x="8823" y="53368"/>
                  <a:pt x="8823" y="53368"/>
                </a:cubicBezTo>
                <a:cubicBezTo>
                  <a:pt x="7647" y="53052"/>
                  <a:pt x="7647" y="53052"/>
                  <a:pt x="7647" y="53052"/>
                </a:cubicBezTo>
                <a:cubicBezTo>
                  <a:pt x="7647" y="53052"/>
                  <a:pt x="7058" y="52736"/>
                  <a:pt x="7058" y="52421"/>
                </a:cubicBezTo>
                <a:cubicBezTo>
                  <a:pt x="7352" y="51789"/>
                  <a:pt x="7941" y="50842"/>
                  <a:pt x="7941" y="50842"/>
                </a:cubicBezTo>
                <a:cubicBezTo>
                  <a:pt x="8529" y="49578"/>
                  <a:pt x="8529" y="49578"/>
                  <a:pt x="8529" y="49578"/>
                </a:cubicBezTo>
                <a:cubicBezTo>
                  <a:pt x="8529" y="49578"/>
                  <a:pt x="8529" y="48631"/>
                  <a:pt x="8235" y="48315"/>
                </a:cubicBezTo>
                <a:cubicBezTo>
                  <a:pt x="8235" y="48000"/>
                  <a:pt x="7941" y="43894"/>
                  <a:pt x="7941" y="43894"/>
                </a:cubicBezTo>
                <a:cubicBezTo>
                  <a:pt x="10294" y="42315"/>
                  <a:pt x="10294" y="42315"/>
                  <a:pt x="10294" y="42315"/>
                </a:cubicBezTo>
                <a:cubicBezTo>
                  <a:pt x="11764" y="39789"/>
                  <a:pt x="11764" y="39789"/>
                  <a:pt x="11764" y="39789"/>
                </a:cubicBezTo>
                <a:cubicBezTo>
                  <a:pt x="12352" y="36947"/>
                  <a:pt x="12352" y="36947"/>
                  <a:pt x="12352" y="36947"/>
                </a:cubicBezTo>
                <a:cubicBezTo>
                  <a:pt x="13235" y="34421"/>
                  <a:pt x="13235" y="34421"/>
                  <a:pt x="13235" y="34421"/>
                </a:cubicBezTo>
                <a:cubicBezTo>
                  <a:pt x="13235" y="34421"/>
                  <a:pt x="14411" y="33157"/>
                  <a:pt x="14411" y="33473"/>
                </a:cubicBezTo>
                <a:cubicBezTo>
                  <a:pt x="14705" y="33789"/>
                  <a:pt x="14411" y="30947"/>
                  <a:pt x="14411" y="30947"/>
                </a:cubicBezTo>
                <a:cubicBezTo>
                  <a:pt x="13529" y="30000"/>
                  <a:pt x="13529" y="30000"/>
                  <a:pt x="13529" y="30000"/>
                </a:cubicBezTo>
                <a:cubicBezTo>
                  <a:pt x="13529" y="28421"/>
                  <a:pt x="13529" y="28421"/>
                  <a:pt x="13529" y="28421"/>
                </a:cubicBezTo>
                <a:cubicBezTo>
                  <a:pt x="13529" y="28421"/>
                  <a:pt x="15000" y="28105"/>
                  <a:pt x="15294" y="28105"/>
                </a:cubicBezTo>
                <a:cubicBezTo>
                  <a:pt x="15588" y="28105"/>
                  <a:pt x="16176" y="27789"/>
                  <a:pt x="17058" y="27473"/>
                </a:cubicBezTo>
                <a:cubicBezTo>
                  <a:pt x="17647" y="27473"/>
                  <a:pt x="18235" y="26842"/>
                  <a:pt x="18823" y="26842"/>
                </a:cubicBezTo>
                <a:cubicBezTo>
                  <a:pt x="19117" y="26842"/>
                  <a:pt x="20588" y="26842"/>
                  <a:pt x="20588" y="26842"/>
                </a:cubicBezTo>
                <a:cubicBezTo>
                  <a:pt x="20588" y="26842"/>
                  <a:pt x="22058" y="25894"/>
                  <a:pt x="22352" y="25578"/>
                </a:cubicBezTo>
                <a:cubicBezTo>
                  <a:pt x="22647" y="25263"/>
                  <a:pt x="23529" y="24000"/>
                  <a:pt x="23529" y="24000"/>
                </a:cubicBezTo>
                <a:cubicBezTo>
                  <a:pt x="23529" y="24000"/>
                  <a:pt x="23823" y="22421"/>
                  <a:pt x="24411" y="22105"/>
                </a:cubicBezTo>
                <a:cubicBezTo>
                  <a:pt x="24705" y="22105"/>
                  <a:pt x="25588" y="21473"/>
                  <a:pt x="26176" y="21473"/>
                </a:cubicBezTo>
                <a:cubicBezTo>
                  <a:pt x="26764" y="21157"/>
                  <a:pt x="28235" y="20842"/>
                  <a:pt x="28529" y="20842"/>
                </a:cubicBezTo>
                <a:cubicBezTo>
                  <a:pt x="28823" y="20842"/>
                  <a:pt x="32352" y="20210"/>
                  <a:pt x="32352" y="20210"/>
                </a:cubicBezTo>
                <a:cubicBezTo>
                  <a:pt x="33823" y="18947"/>
                  <a:pt x="33823" y="18947"/>
                  <a:pt x="33823" y="18947"/>
                </a:cubicBezTo>
                <a:cubicBezTo>
                  <a:pt x="33529" y="16105"/>
                  <a:pt x="33529" y="16105"/>
                  <a:pt x="33529" y="16105"/>
                </a:cubicBezTo>
                <a:cubicBezTo>
                  <a:pt x="37941" y="15473"/>
                  <a:pt x="37941" y="15473"/>
                  <a:pt x="37941" y="15473"/>
                </a:cubicBezTo>
                <a:cubicBezTo>
                  <a:pt x="39705" y="14210"/>
                  <a:pt x="39705" y="14210"/>
                  <a:pt x="39705" y="14210"/>
                </a:cubicBezTo>
                <a:cubicBezTo>
                  <a:pt x="39705" y="14210"/>
                  <a:pt x="40588" y="13263"/>
                  <a:pt x="40882" y="13263"/>
                </a:cubicBezTo>
                <a:cubicBezTo>
                  <a:pt x="41176" y="13578"/>
                  <a:pt x="41764" y="13263"/>
                  <a:pt x="41764" y="13263"/>
                </a:cubicBezTo>
                <a:cubicBezTo>
                  <a:pt x="43823" y="12631"/>
                  <a:pt x="43823" y="12631"/>
                  <a:pt x="43823" y="12631"/>
                </a:cubicBezTo>
                <a:cubicBezTo>
                  <a:pt x="43823" y="12631"/>
                  <a:pt x="46470" y="11684"/>
                  <a:pt x="46764" y="11368"/>
                </a:cubicBezTo>
                <a:cubicBezTo>
                  <a:pt x="46764" y="11368"/>
                  <a:pt x="48235" y="10736"/>
                  <a:pt x="48235" y="10736"/>
                </a:cubicBezTo>
                <a:cubicBezTo>
                  <a:pt x="48823" y="9473"/>
                  <a:pt x="48823" y="9473"/>
                  <a:pt x="48823" y="9473"/>
                </a:cubicBezTo>
                <a:cubicBezTo>
                  <a:pt x="48823" y="9473"/>
                  <a:pt x="49411" y="8842"/>
                  <a:pt x="50294" y="8842"/>
                </a:cubicBezTo>
                <a:cubicBezTo>
                  <a:pt x="50882" y="8842"/>
                  <a:pt x="51470" y="8842"/>
                  <a:pt x="51764" y="8842"/>
                </a:cubicBezTo>
                <a:cubicBezTo>
                  <a:pt x="51764" y="8526"/>
                  <a:pt x="52058" y="7894"/>
                  <a:pt x="52352" y="7894"/>
                </a:cubicBezTo>
                <a:cubicBezTo>
                  <a:pt x="52647" y="7894"/>
                  <a:pt x="54411" y="7578"/>
                  <a:pt x="54411" y="7578"/>
                </a:cubicBezTo>
                <a:cubicBezTo>
                  <a:pt x="55294" y="9157"/>
                  <a:pt x="55294" y="9157"/>
                  <a:pt x="55294" y="9157"/>
                </a:cubicBezTo>
                <a:cubicBezTo>
                  <a:pt x="55294" y="9157"/>
                  <a:pt x="57058" y="10421"/>
                  <a:pt x="57352" y="10421"/>
                </a:cubicBezTo>
                <a:cubicBezTo>
                  <a:pt x="57647" y="10421"/>
                  <a:pt x="59117" y="9157"/>
                  <a:pt x="59117" y="9157"/>
                </a:cubicBezTo>
                <a:cubicBezTo>
                  <a:pt x="62058" y="10105"/>
                  <a:pt x="62058" y="10105"/>
                  <a:pt x="62058" y="10105"/>
                </a:cubicBezTo>
                <a:cubicBezTo>
                  <a:pt x="64411" y="10736"/>
                  <a:pt x="64411" y="10736"/>
                  <a:pt x="64411" y="10736"/>
                </a:cubicBezTo>
                <a:cubicBezTo>
                  <a:pt x="65294" y="10105"/>
                  <a:pt x="65294" y="10105"/>
                  <a:pt x="65294" y="10105"/>
                </a:cubicBezTo>
                <a:close/>
                <a:moveTo>
                  <a:pt x="55294" y="47052"/>
                </a:moveTo>
                <a:cubicBezTo>
                  <a:pt x="55294" y="47052"/>
                  <a:pt x="55294" y="47052"/>
                  <a:pt x="55294" y="47052"/>
                </a:cubicBezTo>
                <a:cubicBezTo>
                  <a:pt x="55588" y="47368"/>
                  <a:pt x="55588" y="47368"/>
                  <a:pt x="55588" y="47368"/>
                </a:cubicBezTo>
                <a:cubicBezTo>
                  <a:pt x="55588" y="47368"/>
                  <a:pt x="56176" y="47368"/>
                  <a:pt x="56470" y="47052"/>
                </a:cubicBezTo>
                <a:cubicBezTo>
                  <a:pt x="56764" y="47052"/>
                  <a:pt x="56176" y="46736"/>
                  <a:pt x="56176" y="46736"/>
                </a:cubicBezTo>
                <a:cubicBezTo>
                  <a:pt x="55588" y="46736"/>
                  <a:pt x="55588" y="46736"/>
                  <a:pt x="55588" y="46736"/>
                </a:cubicBezTo>
                <a:cubicBezTo>
                  <a:pt x="55588" y="46736"/>
                  <a:pt x="55294" y="47052"/>
                  <a:pt x="55294" y="47052"/>
                </a:cubicBezTo>
                <a:close/>
                <a:moveTo>
                  <a:pt x="54117" y="49578"/>
                </a:moveTo>
                <a:cubicBezTo>
                  <a:pt x="54117" y="49578"/>
                  <a:pt x="54117" y="49578"/>
                  <a:pt x="54117" y="49578"/>
                </a:cubicBezTo>
                <a:cubicBezTo>
                  <a:pt x="54411" y="49894"/>
                  <a:pt x="54411" y="49894"/>
                  <a:pt x="54411" y="49894"/>
                </a:cubicBezTo>
                <a:cubicBezTo>
                  <a:pt x="54411" y="49894"/>
                  <a:pt x="54705" y="48947"/>
                  <a:pt x="55000" y="48631"/>
                </a:cubicBezTo>
                <a:cubicBezTo>
                  <a:pt x="55294" y="48000"/>
                  <a:pt x="54705" y="48315"/>
                  <a:pt x="54705" y="48315"/>
                </a:cubicBezTo>
                <a:cubicBezTo>
                  <a:pt x="54411" y="48631"/>
                  <a:pt x="54411" y="48631"/>
                  <a:pt x="54411" y="48631"/>
                </a:cubicBezTo>
                <a:cubicBezTo>
                  <a:pt x="54411" y="48631"/>
                  <a:pt x="54117" y="49578"/>
                  <a:pt x="54117" y="49578"/>
                </a:cubicBezTo>
                <a:close/>
                <a:moveTo>
                  <a:pt x="93529" y="72947"/>
                </a:moveTo>
                <a:cubicBezTo>
                  <a:pt x="93529" y="72947"/>
                  <a:pt x="93529" y="72947"/>
                  <a:pt x="93529" y="72947"/>
                </a:cubicBezTo>
                <a:cubicBezTo>
                  <a:pt x="93529" y="72947"/>
                  <a:pt x="94411" y="73578"/>
                  <a:pt x="94411" y="73578"/>
                </a:cubicBezTo>
                <a:cubicBezTo>
                  <a:pt x="93823" y="74842"/>
                  <a:pt x="93823" y="74842"/>
                  <a:pt x="93823" y="74842"/>
                </a:cubicBezTo>
                <a:cubicBezTo>
                  <a:pt x="92941" y="74210"/>
                  <a:pt x="92941" y="74210"/>
                  <a:pt x="92941" y="74210"/>
                </a:cubicBezTo>
                <a:cubicBezTo>
                  <a:pt x="93529" y="72947"/>
                  <a:pt x="93529" y="72947"/>
                  <a:pt x="93529" y="72947"/>
                </a:cubicBezTo>
                <a:close/>
                <a:moveTo>
                  <a:pt x="100588" y="78947"/>
                </a:moveTo>
                <a:cubicBezTo>
                  <a:pt x="100588" y="78947"/>
                  <a:pt x="100588" y="78947"/>
                  <a:pt x="100588" y="78947"/>
                </a:cubicBezTo>
                <a:cubicBezTo>
                  <a:pt x="100588" y="78947"/>
                  <a:pt x="102058" y="79263"/>
                  <a:pt x="102058" y="78947"/>
                </a:cubicBezTo>
                <a:cubicBezTo>
                  <a:pt x="102058" y="78631"/>
                  <a:pt x="102352" y="78000"/>
                  <a:pt x="102352" y="78000"/>
                </a:cubicBezTo>
                <a:cubicBezTo>
                  <a:pt x="102058" y="77684"/>
                  <a:pt x="101176" y="77368"/>
                  <a:pt x="101176" y="77368"/>
                </a:cubicBezTo>
                <a:cubicBezTo>
                  <a:pt x="100882" y="77368"/>
                  <a:pt x="100588" y="77368"/>
                  <a:pt x="100294" y="77052"/>
                </a:cubicBezTo>
                <a:cubicBezTo>
                  <a:pt x="98529" y="74842"/>
                  <a:pt x="99705" y="77684"/>
                  <a:pt x="100588" y="78000"/>
                </a:cubicBezTo>
                <a:cubicBezTo>
                  <a:pt x="100588" y="78315"/>
                  <a:pt x="100588" y="78315"/>
                  <a:pt x="100588" y="78315"/>
                </a:cubicBezTo>
                <a:cubicBezTo>
                  <a:pt x="100588" y="78947"/>
                  <a:pt x="100588" y="78947"/>
                  <a:pt x="100588" y="78947"/>
                </a:cubicBezTo>
                <a:close/>
                <a:moveTo>
                  <a:pt x="102647" y="81157"/>
                </a:moveTo>
                <a:cubicBezTo>
                  <a:pt x="102647" y="81157"/>
                  <a:pt x="102647" y="81157"/>
                  <a:pt x="102647" y="81157"/>
                </a:cubicBezTo>
                <a:cubicBezTo>
                  <a:pt x="103823" y="79578"/>
                  <a:pt x="103823" y="79578"/>
                  <a:pt x="103823" y="79578"/>
                </a:cubicBezTo>
                <a:cubicBezTo>
                  <a:pt x="103823" y="79578"/>
                  <a:pt x="104411" y="78947"/>
                  <a:pt x="104705" y="78947"/>
                </a:cubicBezTo>
                <a:cubicBezTo>
                  <a:pt x="105000" y="78947"/>
                  <a:pt x="106176" y="78631"/>
                  <a:pt x="106176" y="78631"/>
                </a:cubicBezTo>
                <a:cubicBezTo>
                  <a:pt x="106176" y="78631"/>
                  <a:pt x="107058" y="78947"/>
                  <a:pt x="106470" y="79263"/>
                </a:cubicBezTo>
                <a:cubicBezTo>
                  <a:pt x="106176" y="79578"/>
                  <a:pt x="105294" y="80210"/>
                  <a:pt x="105000" y="80210"/>
                </a:cubicBezTo>
                <a:cubicBezTo>
                  <a:pt x="104705" y="80526"/>
                  <a:pt x="104117" y="81473"/>
                  <a:pt x="104117" y="81473"/>
                </a:cubicBezTo>
                <a:cubicBezTo>
                  <a:pt x="102941" y="81789"/>
                  <a:pt x="102941" y="81789"/>
                  <a:pt x="102941" y="81789"/>
                </a:cubicBezTo>
                <a:cubicBezTo>
                  <a:pt x="101764" y="82421"/>
                  <a:pt x="101764" y="82421"/>
                  <a:pt x="101764" y="82421"/>
                </a:cubicBezTo>
                <a:cubicBezTo>
                  <a:pt x="102058" y="83684"/>
                  <a:pt x="102058" y="83684"/>
                  <a:pt x="102058" y="83684"/>
                </a:cubicBezTo>
                <a:cubicBezTo>
                  <a:pt x="102058" y="83684"/>
                  <a:pt x="101764" y="84000"/>
                  <a:pt x="101470" y="84000"/>
                </a:cubicBezTo>
                <a:cubicBezTo>
                  <a:pt x="101470" y="83684"/>
                  <a:pt x="100588" y="83052"/>
                  <a:pt x="100588" y="83052"/>
                </a:cubicBezTo>
                <a:cubicBezTo>
                  <a:pt x="100882" y="81473"/>
                  <a:pt x="100882" y="81473"/>
                  <a:pt x="100882" y="81473"/>
                </a:cubicBezTo>
                <a:cubicBezTo>
                  <a:pt x="102058" y="81473"/>
                  <a:pt x="102058" y="81473"/>
                  <a:pt x="102058" y="81473"/>
                </a:cubicBezTo>
                <a:cubicBezTo>
                  <a:pt x="102647" y="81157"/>
                  <a:pt x="102647" y="81157"/>
                  <a:pt x="102647" y="81157"/>
                </a:cubicBezTo>
                <a:close/>
                <a:moveTo>
                  <a:pt x="114117" y="90315"/>
                </a:moveTo>
                <a:cubicBezTo>
                  <a:pt x="114117" y="90315"/>
                  <a:pt x="114117" y="90315"/>
                  <a:pt x="114117" y="90315"/>
                </a:cubicBezTo>
                <a:cubicBezTo>
                  <a:pt x="114117" y="90315"/>
                  <a:pt x="115294" y="91578"/>
                  <a:pt x="115294" y="91578"/>
                </a:cubicBezTo>
                <a:cubicBezTo>
                  <a:pt x="115000" y="93157"/>
                  <a:pt x="115000" y="93157"/>
                  <a:pt x="115000" y="93157"/>
                </a:cubicBezTo>
                <a:cubicBezTo>
                  <a:pt x="115000" y="93157"/>
                  <a:pt x="115000" y="93789"/>
                  <a:pt x="115588" y="93789"/>
                </a:cubicBezTo>
                <a:cubicBezTo>
                  <a:pt x="116176" y="94105"/>
                  <a:pt x="117058" y="94105"/>
                  <a:pt x="117058" y="93473"/>
                </a:cubicBezTo>
                <a:cubicBezTo>
                  <a:pt x="117058" y="92842"/>
                  <a:pt x="117352" y="92210"/>
                  <a:pt x="117647" y="91894"/>
                </a:cubicBezTo>
                <a:cubicBezTo>
                  <a:pt x="117941" y="91263"/>
                  <a:pt x="118529" y="90315"/>
                  <a:pt x="118529" y="90315"/>
                </a:cubicBezTo>
                <a:cubicBezTo>
                  <a:pt x="118529" y="90315"/>
                  <a:pt x="118823" y="90315"/>
                  <a:pt x="119117" y="90000"/>
                </a:cubicBezTo>
                <a:cubicBezTo>
                  <a:pt x="119411" y="90000"/>
                  <a:pt x="118823" y="89052"/>
                  <a:pt x="118823" y="89052"/>
                </a:cubicBezTo>
                <a:cubicBezTo>
                  <a:pt x="118823" y="89052"/>
                  <a:pt x="118529" y="89052"/>
                  <a:pt x="119117" y="87789"/>
                </a:cubicBezTo>
                <a:cubicBezTo>
                  <a:pt x="119705" y="86842"/>
                  <a:pt x="119705" y="86842"/>
                  <a:pt x="119705" y="86842"/>
                </a:cubicBezTo>
                <a:cubicBezTo>
                  <a:pt x="119705" y="86526"/>
                  <a:pt x="120000" y="85578"/>
                  <a:pt x="120000" y="85263"/>
                </a:cubicBezTo>
                <a:cubicBezTo>
                  <a:pt x="119705" y="84631"/>
                  <a:pt x="119411" y="83052"/>
                  <a:pt x="119411" y="83052"/>
                </a:cubicBezTo>
                <a:cubicBezTo>
                  <a:pt x="118823" y="83684"/>
                  <a:pt x="118823" y="83684"/>
                  <a:pt x="118823" y="83684"/>
                </a:cubicBezTo>
                <a:cubicBezTo>
                  <a:pt x="118823" y="83684"/>
                  <a:pt x="118235" y="84315"/>
                  <a:pt x="117647" y="84315"/>
                </a:cubicBezTo>
                <a:cubicBezTo>
                  <a:pt x="117058" y="84631"/>
                  <a:pt x="116470" y="84947"/>
                  <a:pt x="116470" y="85263"/>
                </a:cubicBezTo>
                <a:cubicBezTo>
                  <a:pt x="116470" y="85263"/>
                  <a:pt x="116470" y="86210"/>
                  <a:pt x="116176" y="86526"/>
                </a:cubicBezTo>
                <a:cubicBezTo>
                  <a:pt x="115882" y="86842"/>
                  <a:pt x="115000" y="87789"/>
                  <a:pt x="115000" y="87789"/>
                </a:cubicBezTo>
                <a:cubicBezTo>
                  <a:pt x="114411" y="89368"/>
                  <a:pt x="114411" y="89368"/>
                  <a:pt x="114411" y="89368"/>
                </a:cubicBezTo>
                <a:cubicBezTo>
                  <a:pt x="114411" y="89368"/>
                  <a:pt x="114117" y="90315"/>
                  <a:pt x="114117" y="90315"/>
                </a:cubicBezTo>
                <a:close/>
                <a:moveTo>
                  <a:pt x="109705" y="104526"/>
                </a:moveTo>
                <a:cubicBezTo>
                  <a:pt x="109705" y="104526"/>
                  <a:pt x="109705" y="104526"/>
                  <a:pt x="109705" y="104526"/>
                </a:cubicBezTo>
                <a:cubicBezTo>
                  <a:pt x="109117" y="104210"/>
                  <a:pt x="108529" y="103578"/>
                  <a:pt x="108529" y="102947"/>
                </a:cubicBezTo>
                <a:cubicBezTo>
                  <a:pt x="108529" y="102631"/>
                  <a:pt x="108823" y="102000"/>
                  <a:pt x="108823" y="102000"/>
                </a:cubicBezTo>
                <a:cubicBezTo>
                  <a:pt x="108823" y="102000"/>
                  <a:pt x="108235" y="101684"/>
                  <a:pt x="108235" y="101368"/>
                </a:cubicBezTo>
                <a:cubicBezTo>
                  <a:pt x="108235" y="101368"/>
                  <a:pt x="108823" y="100105"/>
                  <a:pt x="108823" y="99473"/>
                </a:cubicBezTo>
                <a:cubicBezTo>
                  <a:pt x="108529" y="99157"/>
                  <a:pt x="108823" y="97263"/>
                  <a:pt x="108823" y="97263"/>
                </a:cubicBezTo>
                <a:cubicBezTo>
                  <a:pt x="108823" y="97263"/>
                  <a:pt x="109705" y="96947"/>
                  <a:pt x="109705" y="97263"/>
                </a:cubicBezTo>
                <a:cubicBezTo>
                  <a:pt x="109705" y="97578"/>
                  <a:pt x="109411" y="98526"/>
                  <a:pt x="109411" y="98842"/>
                </a:cubicBezTo>
                <a:cubicBezTo>
                  <a:pt x="109411" y="99157"/>
                  <a:pt x="109117" y="100421"/>
                  <a:pt x="109117" y="100736"/>
                </a:cubicBezTo>
                <a:cubicBezTo>
                  <a:pt x="109117" y="100736"/>
                  <a:pt x="109411" y="100421"/>
                  <a:pt x="110000" y="101052"/>
                </a:cubicBezTo>
                <a:cubicBezTo>
                  <a:pt x="110588" y="101684"/>
                  <a:pt x="110588" y="102631"/>
                  <a:pt x="110588" y="102631"/>
                </a:cubicBezTo>
                <a:cubicBezTo>
                  <a:pt x="110000" y="103263"/>
                  <a:pt x="110000" y="103263"/>
                  <a:pt x="110000" y="103263"/>
                </a:cubicBezTo>
                <a:cubicBezTo>
                  <a:pt x="109705" y="104526"/>
                  <a:pt x="109705" y="104526"/>
                  <a:pt x="109705" y="104526"/>
                </a:cubicBezTo>
                <a:close/>
                <a:moveTo>
                  <a:pt x="106176" y="105157"/>
                </a:moveTo>
                <a:cubicBezTo>
                  <a:pt x="106176" y="105157"/>
                  <a:pt x="106176" y="105157"/>
                  <a:pt x="106176" y="105157"/>
                </a:cubicBezTo>
                <a:cubicBezTo>
                  <a:pt x="106176" y="105157"/>
                  <a:pt x="105882" y="106421"/>
                  <a:pt x="105882" y="106736"/>
                </a:cubicBezTo>
                <a:cubicBezTo>
                  <a:pt x="105882" y="106736"/>
                  <a:pt x="106176" y="106736"/>
                  <a:pt x="106470" y="106736"/>
                </a:cubicBezTo>
                <a:cubicBezTo>
                  <a:pt x="106764" y="106421"/>
                  <a:pt x="107058" y="106421"/>
                  <a:pt x="107352" y="106105"/>
                </a:cubicBezTo>
                <a:cubicBezTo>
                  <a:pt x="107647" y="105789"/>
                  <a:pt x="108529" y="105157"/>
                  <a:pt x="108823" y="105157"/>
                </a:cubicBezTo>
                <a:cubicBezTo>
                  <a:pt x="109117" y="104842"/>
                  <a:pt x="107647" y="104210"/>
                  <a:pt x="107647" y="104210"/>
                </a:cubicBezTo>
                <a:cubicBezTo>
                  <a:pt x="106176" y="105157"/>
                  <a:pt x="106176" y="105157"/>
                  <a:pt x="106176" y="105157"/>
                </a:cubicBezTo>
                <a:close/>
                <a:moveTo>
                  <a:pt x="66176" y="41684"/>
                </a:moveTo>
                <a:cubicBezTo>
                  <a:pt x="66176" y="41684"/>
                  <a:pt x="66176" y="41684"/>
                  <a:pt x="66176" y="41684"/>
                </a:cubicBezTo>
                <a:cubicBezTo>
                  <a:pt x="66764" y="42000"/>
                  <a:pt x="66764" y="42000"/>
                  <a:pt x="66764" y="42000"/>
                </a:cubicBezTo>
                <a:cubicBezTo>
                  <a:pt x="66764" y="42000"/>
                  <a:pt x="67058" y="41684"/>
                  <a:pt x="67352" y="41368"/>
                </a:cubicBezTo>
                <a:cubicBezTo>
                  <a:pt x="67647" y="41052"/>
                  <a:pt x="67058" y="40736"/>
                  <a:pt x="67058" y="40736"/>
                </a:cubicBezTo>
                <a:cubicBezTo>
                  <a:pt x="66764" y="41052"/>
                  <a:pt x="66764" y="41052"/>
                  <a:pt x="66764" y="41052"/>
                </a:cubicBezTo>
                <a:cubicBezTo>
                  <a:pt x="66764" y="41052"/>
                  <a:pt x="66176" y="41684"/>
                  <a:pt x="66176" y="41684"/>
                </a:cubicBezTo>
                <a:close/>
                <a:moveTo>
                  <a:pt x="48235" y="51789"/>
                </a:moveTo>
                <a:cubicBezTo>
                  <a:pt x="48235" y="51789"/>
                  <a:pt x="48235" y="51789"/>
                  <a:pt x="48235" y="51789"/>
                </a:cubicBezTo>
                <a:cubicBezTo>
                  <a:pt x="48529" y="52105"/>
                  <a:pt x="48529" y="52105"/>
                  <a:pt x="48529" y="52105"/>
                </a:cubicBezTo>
                <a:cubicBezTo>
                  <a:pt x="48529" y="52105"/>
                  <a:pt x="48823" y="51473"/>
                  <a:pt x="49411" y="51157"/>
                </a:cubicBezTo>
                <a:cubicBezTo>
                  <a:pt x="49705" y="50842"/>
                  <a:pt x="49117" y="50842"/>
                  <a:pt x="49117" y="50842"/>
                </a:cubicBezTo>
                <a:cubicBezTo>
                  <a:pt x="48529" y="51157"/>
                  <a:pt x="48529" y="51157"/>
                  <a:pt x="48529" y="51157"/>
                </a:cubicBezTo>
                <a:cubicBezTo>
                  <a:pt x="48529" y="51157"/>
                  <a:pt x="48235" y="51473"/>
                  <a:pt x="48235" y="51789"/>
                </a:cubicBezTo>
                <a:close/>
                <a:moveTo>
                  <a:pt x="51176" y="51157"/>
                </a:moveTo>
                <a:cubicBezTo>
                  <a:pt x="51176" y="51157"/>
                  <a:pt x="51176" y="51157"/>
                  <a:pt x="51176" y="51157"/>
                </a:cubicBezTo>
                <a:cubicBezTo>
                  <a:pt x="51176" y="51789"/>
                  <a:pt x="51176" y="51789"/>
                  <a:pt x="51176" y="51789"/>
                </a:cubicBezTo>
                <a:cubicBezTo>
                  <a:pt x="51176" y="51789"/>
                  <a:pt x="52058" y="52105"/>
                  <a:pt x="52647" y="52421"/>
                </a:cubicBezTo>
                <a:cubicBezTo>
                  <a:pt x="53529" y="52736"/>
                  <a:pt x="52941" y="51789"/>
                  <a:pt x="52941" y="51789"/>
                </a:cubicBezTo>
                <a:cubicBezTo>
                  <a:pt x="52352" y="51157"/>
                  <a:pt x="52352" y="51157"/>
                  <a:pt x="52352" y="51157"/>
                </a:cubicBezTo>
                <a:cubicBezTo>
                  <a:pt x="52352" y="51157"/>
                  <a:pt x="51470" y="50842"/>
                  <a:pt x="51176" y="51157"/>
                </a:cubicBezTo>
                <a:close/>
                <a:moveTo>
                  <a:pt x="62058" y="51789"/>
                </a:moveTo>
                <a:cubicBezTo>
                  <a:pt x="62058" y="51789"/>
                  <a:pt x="62058" y="51789"/>
                  <a:pt x="62058" y="51789"/>
                </a:cubicBezTo>
                <a:cubicBezTo>
                  <a:pt x="61764" y="52421"/>
                  <a:pt x="61764" y="52421"/>
                  <a:pt x="61764" y="52421"/>
                </a:cubicBezTo>
                <a:cubicBezTo>
                  <a:pt x="61764" y="52421"/>
                  <a:pt x="62352" y="53052"/>
                  <a:pt x="62647" y="53684"/>
                </a:cubicBezTo>
                <a:cubicBezTo>
                  <a:pt x="62941" y="53684"/>
                  <a:pt x="64117" y="54947"/>
                  <a:pt x="64705" y="54947"/>
                </a:cubicBezTo>
                <a:cubicBezTo>
                  <a:pt x="67058" y="55894"/>
                  <a:pt x="63235" y="52736"/>
                  <a:pt x="62941" y="52421"/>
                </a:cubicBezTo>
                <a:cubicBezTo>
                  <a:pt x="62941" y="52421"/>
                  <a:pt x="62058" y="51473"/>
                  <a:pt x="62058" y="51789"/>
                </a:cubicBezTo>
                <a:close/>
                <a:moveTo>
                  <a:pt x="75882" y="56210"/>
                </a:moveTo>
                <a:cubicBezTo>
                  <a:pt x="75882" y="56210"/>
                  <a:pt x="75882" y="56210"/>
                  <a:pt x="75882" y="56210"/>
                </a:cubicBezTo>
                <a:cubicBezTo>
                  <a:pt x="76470" y="56842"/>
                  <a:pt x="76470" y="56842"/>
                  <a:pt x="76470" y="56842"/>
                </a:cubicBezTo>
                <a:cubicBezTo>
                  <a:pt x="76470" y="56842"/>
                  <a:pt x="77352" y="56526"/>
                  <a:pt x="77941" y="56210"/>
                </a:cubicBezTo>
                <a:cubicBezTo>
                  <a:pt x="78529" y="56210"/>
                  <a:pt x="77941" y="55578"/>
                  <a:pt x="77941" y="55578"/>
                </a:cubicBezTo>
                <a:cubicBezTo>
                  <a:pt x="77058" y="55578"/>
                  <a:pt x="77058" y="55578"/>
                  <a:pt x="77058" y="55578"/>
                </a:cubicBezTo>
                <a:cubicBezTo>
                  <a:pt x="77058" y="55578"/>
                  <a:pt x="75882" y="55894"/>
                  <a:pt x="75882" y="56210"/>
                </a:cubicBezTo>
                <a:close/>
                <a:moveTo>
                  <a:pt x="70000" y="23052"/>
                </a:moveTo>
                <a:cubicBezTo>
                  <a:pt x="70000" y="23052"/>
                  <a:pt x="70000" y="23052"/>
                  <a:pt x="70000" y="23052"/>
                </a:cubicBezTo>
                <a:cubicBezTo>
                  <a:pt x="70000" y="23052"/>
                  <a:pt x="68823" y="23684"/>
                  <a:pt x="68823" y="23684"/>
                </a:cubicBezTo>
                <a:cubicBezTo>
                  <a:pt x="68529" y="23684"/>
                  <a:pt x="68823" y="24315"/>
                  <a:pt x="69117" y="24315"/>
                </a:cubicBezTo>
                <a:cubicBezTo>
                  <a:pt x="69411" y="24631"/>
                  <a:pt x="70294" y="24947"/>
                  <a:pt x="70294" y="24947"/>
                </a:cubicBezTo>
                <a:cubicBezTo>
                  <a:pt x="70588" y="24947"/>
                  <a:pt x="71470" y="24315"/>
                  <a:pt x="72058" y="23684"/>
                </a:cubicBezTo>
                <a:cubicBezTo>
                  <a:pt x="72647" y="23368"/>
                  <a:pt x="71470" y="23052"/>
                  <a:pt x="71470" y="23052"/>
                </a:cubicBezTo>
                <a:cubicBezTo>
                  <a:pt x="70000" y="23052"/>
                  <a:pt x="70000" y="23052"/>
                  <a:pt x="70000" y="23052"/>
                </a:cubicBezTo>
                <a:close/>
                <a:moveTo>
                  <a:pt x="59411" y="20842"/>
                </a:moveTo>
                <a:cubicBezTo>
                  <a:pt x="59411" y="20842"/>
                  <a:pt x="59411" y="20842"/>
                  <a:pt x="59411" y="20842"/>
                </a:cubicBezTo>
                <a:cubicBezTo>
                  <a:pt x="59411" y="20842"/>
                  <a:pt x="58235" y="20842"/>
                  <a:pt x="57941" y="20842"/>
                </a:cubicBezTo>
                <a:cubicBezTo>
                  <a:pt x="57941" y="20842"/>
                  <a:pt x="57647" y="21157"/>
                  <a:pt x="57352" y="21473"/>
                </a:cubicBezTo>
                <a:cubicBezTo>
                  <a:pt x="57058" y="21789"/>
                  <a:pt x="57058" y="22421"/>
                  <a:pt x="56764" y="23052"/>
                </a:cubicBezTo>
                <a:cubicBezTo>
                  <a:pt x="56764" y="23684"/>
                  <a:pt x="57058" y="23684"/>
                  <a:pt x="57058" y="23684"/>
                </a:cubicBezTo>
                <a:cubicBezTo>
                  <a:pt x="57352" y="24000"/>
                  <a:pt x="57352" y="24000"/>
                  <a:pt x="57941" y="24631"/>
                </a:cubicBezTo>
                <a:cubicBezTo>
                  <a:pt x="58529" y="24947"/>
                  <a:pt x="59117" y="24315"/>
                  <a:pt x="59705" y="24000"/>
                </a:cubicBezTo>
                <a:cubicBezTo>
                  <a:pt x="60588" y="23684"/>
                  <a:pt x="60000" y="23368"/>
                  <a:pt x="60294" y="22736"/>
                </a:cubicBezTo>
                <a:cubicBezTo>
                  <a:pt x="60294" y="22421"/>
                  <a:pt x="60000" y="21473"/>
                  <a:pt x="60000" y="21473"/>
                </a:cubicBezTo>
                <a:cubicBezTo>
                  <a:pt x="60000" y="21157"/>
                  <a:pt x="59411" y="20842"/>
                  <a:pt x="59411" y="20842"/>
                </a:cubicBezTo>
                <a:close/>
                <a:moveTo>
                  <a:pt x="69411" y="32526"/>
                </a:moveTo>
                <a:cubicBezTo>
                  <a:pt x="69411" y="32526"/>
                  <a:pt x="69411" y="32526"/>
                  <a:pt x="69411" y="32526"/>
                </a:cubicBezTo>
                <a:cubicBezTo>
                  <a:pt x="69411" y="32526"/>
                  <a:pt x="69117" y="33157"/>
                  <a:pt x="69117" y="33157"/>
                </a:cubicBezTo>
                <a:cubicBezTo>
                  <a:pt x="69117" y="33157"/>
                  <a:pt x="69117" y="33789"/>
                  <a:pt x="69117" y="33789"/>
                </a:cubicBezTo>
                <a:cubicBezTo>
                  <a:pt x="69117" y="33789"/>
                  <a:pt x="68823" y="34105"/>
                  <a:pt x="68529" y="34421"/>
                </a:cubicBezTo>
                <a:cubicBezTo>
                  <a:pt x="67941" y="35052"/>
                  <a:pt x="68529" y="35052"/>
                  <a:pt x="68823" y="35368"/>
                </a:cubicBezTo>
                <a:cubicBezTo>
                  <a:pt x="69117" y="36000"/>
                  <a:pt x="68823" y="35684"/>
                  <a:pt x="69117" y="35684"/>
                </a:cubicBezTo>
                <a:cubicBezTo>
                  <a:pt x="69117" y="36000"/>
                  <a:pt x="69411" y="35684"/>
                  <a:pt x="70000" y="35368"/>
                </a:cubicBezTo>
                <a:cubicBezTo>
                  <a:pt x="70588" y="35052"/>
                  <a:pt x="70294" y="35052"/>
                  <a:pt x="70294" y="35052"/>
                </a:cubicBezTo>
                <a:cubicBezTo>
                  <a:pt x="70294" y="35052"/>
                  <a:pt x="69705" y="34105"/>
                  <a:pt x="69705" y="34105"/>
                </a:cubicBezTo>
                <a:cubicBezTo>
                  <a:pt x="69705" y="34105"/>
                  <a:pt x="69705" y="33789"/>
                  <a:pt x="69705" y="33789"/>
                </a:cubicBezTo>
                <a:cubicBezTo>
                  <a:pt x="69705" y="33473"/>
                  <a:pt x="70000" y="33473"/>
                  <a:pt x="70294" y="33157"/>
                </a:cubicBezTo>
                <a:cubicBezTo>
                  <a:pt x="70588" y="32526"/>
                  <a:pt x="70588" y="32210"/>
                  <a:pt x="70588" y="32210"/>
                </a:cubicBezTo>
                <a:cubicBezTo>
                  <a:pt x="70588" y="31894"/>
                  <a:pt x="70000" y="31894"/>
                  <a:pt x="70000" y="31894"/>
                </a:cubicBezTo>
                <a:cubicBezTo>
                  <a:pt x="70000" y="31894"/>
                  <a:pt x="69411" y="32210"/>
                  <a:pt x="69411" y="32526"/>
                </a:cubicBezTo>
                <a:close/>
                <a:moveTo>
                  <a:pt x="68529" y="33157"/>
                </a:moveTo>
                <a:cubicBezTo>
                  <a:pt x="68529" y="33157"/>
                  <a:pt x="68529" y="33157"/>
                  <a:pt x="68529" y="33157"/>
                </a:cubicBezTo>
                <a:cubicBezTo>
                  <a:pt x="68235" y="32526"/>
                  <a:pt x="68235" y="32526"/>
                  <a:pt x="68235" y="32526"/>
                </a:cubicBezTo>
                <a:cubicBezTo>
                  <a:pt x="68235" y="32526"/>
                  <a:pt x="67941" y="32210"/>
                  <a:pt x="67058" y="32210"/>
                </a:cubicBezTo>
                <a:cubicBezTo>
                  <a:pt x="66470" y="32210"/>
                  <a:pt x="66470" y="32526"/>
                  <a:pt x="65882" y="32526"/>
                </a:cubicBezTo>
                <a:cubicBezTo>
                  <a:pt x="65294" y="32526"/>
                  <a:pt x="65294" y="33157"/>
                  <a:pt x="65294" y="33473"/>
                </a:cubicBezTo>
                <a:cubicBezTo>
                  <a:pt x="65000" y="34105"/>
                  <a:pt x="65294" y="33789"/>
                  <a:pt x="65588" y="34105"/>
                </a:cubicBezTo>
                <a:cubicBezTo>
                  <a:pt x="65882" y="34421"/>
                  <a:pt x="65588" y="34421"/>
                  <a:pt x="65882" y="35368"/>
                </a:cubicBezTo>
                <a:cubicBezTo>
                  <a:pt x="65882" y="36000"/>
                  <a:pt x="66176" y="35684"/>
                  <a:pt x="66176" y="35684"/>
                </a:cubicBezTo>
                <a:cubicBezTo>
                  <a:pt x="66470" y="36000"/>
                  <a:pt x="66764" y="35684"/>
                  <a:pt x="67352" y="35368"/>
                </a:cubicBezTo>
                <a:cubicBezTo>
                  <a:pt x="67941" y="34736"/>
                  <a:pt x="67352" y="34736"/>
                  <a:pt x="67352" y="34736"/>
                </a:cubicBezTo>
                <a:cubicBezTo>
                  <a:pt x="67352" y="34736"/>
                  <a:pt x="67941" y="34421"/>
                  <a:pt x="68529" y="33789"/>
                </a:cubicBezTo>
                <a:cubicBezTo>
                  <a:pt x="68823" y="33157"/>
                  <a:pt x="68529" y="33157"/>
                  <a:pt x="68529" y="33157"/>
                </a:cubicBezTo>
                <a:close/>
                <a:moveTo>
                  <a:pt x="83529" y="43894"/>
                </a:moveTo>
                <a:cubicBezTo>
                  <a:pt x="83529" y="43894"/>
                  <a:pt x="83529" y="43894"/>
                  <a:pt x="83529" y="43894"/>
                </a:cubicBezTo>
                <a:cubicBezTo>
                  <a:pt x="83235" y="43894"/>
                  <a:pt x="82941" y="44526"/>
                  <a:pt x="82941" y="44526"/>
                </a:cubicBezTo>
                <a:cubicBezTo>
                  <a:pt x="82941" y="44526"/>
                  <a:pt x="82647" y="44842"/>
                  <a:pt x="82647" y="45157"/>
                </a:cubicBezTo>
                <a:cubicBezTo>
                  <a:pt x="82352" y="45157"/>
                  <a:pt x="82058" y="45789"/>
                  <a:pt x="82058" y="45789"/>
                </a:cubicBezTo>
                <a:cubicBezTo>
                  <a:pt x="82058" y="45789"/>
                  <a:pt x="82352" y="46105"/>
                  <a:pt x="82647" y="46105"/>
                </a:cubicBezTo>
                <a:cubicBezTo>
                  <a:pt x="82941" y="46421"/>
                  <a:pt x="82941" y="46421"/>
                  <a:pt x="83235" y="46421"/>
                </a:cubicBezTo>
                <a:cubicBezTo>
                  <a:pt x="83529" y="46421"/>
                  <a:pt x="83529" y="46421"/>
                  <a:pt x="84411" y="46421"/>
                </a:cubicBezTo>
                <a:cubicBezTo>
                  <a:pt x="85588" y="46421"/>
                  <a:pt x="86470" y="46421"/>
                  <a:pt x="86764" y="46421"/>
                </a:cubicBezTo>
                <a:cubicBezTo>
                  <a:pt x="86764" y="46421"/>
                  <a:pt x="87352" y="46105"/>
                  <a:pt x="87352" y="46105"/>
                </a:cubicBezTo>
                <a:cubicBezTo>
                  <a:pt x="87352" y="45789"/>
                  <a:pt x="87352" y="45789"/>
                  <a:pt x="87058" y="45473"/>
                </a:cubicBezTo>
                <a:cubicBezTo>
                  <a:pt x="86764" y="44842"/>
                  <a:pt x="86176" y="44526"/>
                  <a:pt x="86176" y="44526"/>
                </a:cubicBezTo>
                <a:cubicBezTo>
                  <a:pt x="85882" y="44526"/>
                  <a:pt x="86176" y="43894"/>
                  <a:pt x="86470" y="44210"/>
                </a:cubicBezTo>
                <a:cubicBezTo>
                  <a:pt x="86470" y="44210"/>
                  <a:pt x="87352" y="45157"/>
                  <a:pt x="87352" y="45157"/>
                </a:cubicBezTo>
                <a:cubicBezTo>
                  <a:pt x="87647" y="45157"/>
                  <a:pt x="88235" y="45157"/>
                  <a:pt x="88235" y="44526"/>
                </a:cubicBezTo>
                <a:cubicBezTo>
                  <a:pt x="87941" y="44210"/>
                  <a:pt x="88529" y="43578"/>
                  <a:pt x="87647" y="43263"/>
                </a:cubicBezTo>
                <a:cubicBezTo>
                  <a:pt x="87058" y="42947"/>
                  <a:pt x="86764" y="42631"/>
                  <a:pt x="86470" y="42631"/>
                </a:cubicBezTo>
                <a:cubicBezTo>
                  <a:pt x="85882" y="42631"/>
                  <a:pt x="86764" y="42947"/>
                  <a:pt x="85588" y="42000"/>
                </a:cubicBezTo>
                <a:cubicBezTo>
                  <a:pt x="84411" y="41052"/>
                  <a:pt x="84411" y="41368"/>
                  <a:pt x="84411" y="41368"/>
                </a:cubicBezTo>
                <a:cubicBezTo>
                  <a:pt x="84411" y="41368"/>
                  <a:pt x="85000" y="40421"/>
                  <a:pt x="84705" y="40105"/>
                </a:cubicBezTo>
                <a:cubicBezTo>
                  <a:pt x="84705" y="40105"/>
                  <a:pt x="83529" y="39789"/>
                  <a:pt x="83529" y="39789"/>
                </a:cubicBezTo>
                <a:cubicBezTo>
                  <a:pt x="83529" y="39789"/>
                  <a:pt x="82058" y="40105"/>
                  <a:pt x="82058" y="40105"/>
                </a:cubicBezTo>
                <a:cubicBezTo>
                  <a:pt x="81764" y="40421"/>
                  <a:pt x="81470" y="40736"/>
                  <a:pt x="81470" y="40736"/>
                </a:cubicBezTo>
                <a:cubicBezTo>
                  <a:pt x="81470" y="41368"/>
                  <a:pt x="81470" y="41368"/>
                  <a:pt x="81470" y="41368"/>
                </a:cubicBezTo>
                <a:cubicBezTo>
                  <a:pt x="80882" y="41684"/>
                  <a:pt x="80882" y="41684"/>
                  <a:pt x="80882" y="41684"/>
                </a:cubicBezTo>
                <a:cubicBezTo>
                  <a:pt x="80882" y="41684"/>
                  <a:pt x="80588" y="42315"/>
                  <a:pt x="80588" y="42315"/>
                </a:cubicBezTo>
                <a:cubicBezTo>
                  <a:pt x="80294" y="42315"/>
                  <a:pt x="79705" y="42631"/>
                  <a:pt x="79705" y="42631"/>
                </a:cubicBezTo>
                <a:cubicBezTo>
                  <a:pt x="79411" y="42631"/>
                  <a:pt x="78823" y="42631"/>
                  <a:pt x="78823" y="42947"/>
                </a:cubicBezTo>
                <a:cubicBezTo>
                  <a:pt x="78529" y="43263"/>
                  <a:pt x="77647" y="43578"/>
                  <a:pt x="77647" y="43578"/>
                </a:cubicBezTo>
                <a:cubicBezTo>
                  <a:pt x="77647" y="43578"/>
                  <a:pt x="77352" y="43894"/>
                  <a:pt x="77941" y="44526"/>
                </a:cubicBezTo>
                <a:cubicBezTo>
                  <a:pt x="78529" y="44842"/>
                  <a:pt x="79117" y="44842"/>
                  <a:pt x="79117" y="45157"/>
                </a:cubicBezTo>
                <a:cubicBezTo>
                  <a:pt x="79411" y="45157"/>
                  <a:pt x="79411" y="45157"/>
                  <a:pt x="79705" y="45157"/>
                </a:cubicBezTo>
                <a:cubicBezTo>
                  <a:pt x="80000" y="45473"/>
                  <a:pt x="80000" y="45473"/>
                  <a:pt x="80588" y="45473"/>
                </a:cubicBezTo>
                <a:cubicBezTo>
                  <a:pt x="80882" y="45157"/>
                  <a:pt x="81470" y="45157"/>
                  <a:pt x="81470" y="44842"/>
                </a:cubicBezTo>
                <a:cubicBezTo>
                  <a:pt x="81764" y="44526"/>
                  <a:pt x="81764" y="44210"/>
                  <a:pt x="82058" y="43894"/>
                </a:cubicBezTo>
                <a:cubicBezTo>
                  <a:pt x="82058" y="43578"/>
                  <a:pt x="82058" y="43263"/>
                  <a:pt x="82647" y="43263"/>
                </a:cubicBezTo>
                <a:cubicBezTo>
                  <a:pt x="82941" y="43263"/>
                  <a:pt x="83529" y="42947"/>
                  <a:pt x="83529" y="42947"/>
                </a:cubicBezTo>
                <a:cubicBezTo>
                  <a:pt x="83529" y="42947"/>
                  <a:pt x="83529" y="43894"/>
                  <a:pt x="83529" y="43894"/>
                </a:cubicBezTo>
                <a:close/>
                <a:moveTo>
                  <a:pt x="85000" y="57473"/>
                </a:moveTo>
                <a:cubicBezTo>
                  <a:pt x="85000" y="57473"/>
                  <a:pt x="85000" y="57473"/>
                  <a:pt x="85000" y="57473"/>
                </a:cubicBezTo>
                <a:cubicBezTo>
                  <a:pt x="84705" y="57157"/>
                  <a:pt x="84705" y="57157"/>
                  <a:pt x="84705" y="57157"/>
                </a:cubicBezTo>
                <a:cubicBezTo>
                  <a:pt x="84705" y="56842"/>
                  <a:pt x="84705" y="56842"/>
                  <a:pt x="84705" y="56842"/>
                </a:cubicBezTo>
                <a:cubicBezTo>
                  <a:pt x="83823" y="55894"/>
                  <a:pt x="83823" y="55894"/>
                  <a:pt x="83823" y="55894"/>
                </a:cubicBezTo>
                <a:cubicBezTo>
                  <a:pt x="83823" y="55894"/>
                  <a:pt x="85000" y="55578"/>
                  <a:pt x="85588" y="55263"/>
                </a:cubicBezTo>
                <a:cubicBezTo>
                  <a:pt x="86470" y="54947"/>
                  <a:pt x="85588" y="54631"/>
                  <a:pt x="85588" y="54315"/>
                </a:cubicBezTo>
                <a:cubicBezTo>
                  <a:pt x="85588" y="54315"/>
                  <a:pt x="85294" y="54315"/>
                  <a:pt x="84705" y="54315"/>
                </a:cubicBezTo>
                <a:cubicBezTo>
                  <a:pt x="84411" y="54315"/>
                  <a:pt x="84117" y="54315"/>
                  <a:pt x="83529" y="54631"/>
                </a:cubicBezTo>
                <a:cubicBezTo>
                  <a:pt x="83235" y="54631"/>
                  <a:pt x="82941" y="54000"/>
                  <a:pt x="82941" y="54000"/>
                </a:cubicBezTo>
                <a:cubicBezTo>
                  <a:pt x="82647" y="54000"/>
                  <a:pt x="81470" y="54000"/>
                  <a:pt x="81176" y="54000"/>
                </a:cubicBezTo>
                <a:cubicBezTo>
                  <a:pt x="81176" y="54000"/>
                  <a:pt x="80882" y="54631"/>
                  <a:pt x="80588" y="54947"/>
                </a:cubicBezTo>
                <a:cubicBezTo>
                  <a:pt x="80294" y="55263"/>
                  <a:pt x="80000" y="55578"/>
                  <a:pt x="79705" y="55578"/>
                </a:cubicBezTo>
                <a:cubicBezTo>
                  <a:pt x="79411" y="55894"/>
                  <a:pt x="80588" y="56526"/>
                  <a:pt x="80882" y="56526"/>
                </a:cubicBezTo>
                <a:cubicBezTo>
                  <a:pt x="80882" y="56842"/>
                  <a:pt x="81764" y="56842"/>
                  <a:pt x="81764" y="57157"/>
                </a:cubicBezTo>
                <a:cubicBezTo>
                  <a:pt x="82058" y="57157"/>
                  <a:pt x="82941" y="57789"/>
                  <a:pt x="83235" y="57789"/>
                </a:cubicBezTo>
                <a:cubicBezTo>
                  <a:pt x="83529" y="58105"/>
                  <a:pt x="82941" y="58421"/>
                  <a:pt x="82647" y="59052"/>
                </a:cubicBezTo>
                <a:cubicBezTo>
                  <a:pt x="82352" y="59684"/>
                  <a:pt x="82058" y="59684"/>
                  <a:pt x="81764" y="60000"/>
                </a:cubicBezTo>
                <a:cubicBezTo>
                  <a:pt x="81470" y="60315"/>
                  <a:pt x="82058" y="60631"/>
                  <a:pt x="82352" y="60947"/>
                </a:cubicBezTo>
                <a:cubicBezTo>
                  <a:pt x="82647" y="61263"/>
                  <a:pt x="83235" y="61578"/>
                  <a:pt x="83235" y="61578"/>
                </a:cubicBezTo>
                <a:cubicBezTo>
                  <a:pt x="83529" y="61578"/>
                  <a:pt x="84411" y="60947"/>
                  <a:pt x="84411" y="60947"/>
                </a:cubicBezTo>
                <a:cubicBezTo>
                  <a:pt x="84411" y="60947"/>
                  <a:pt x="84705" y="60000"/>
                  <a:pt x="84705" y="60000"/>
                </a:cubicBezTo>
                <a:cubicBezTo>
                  <a:pt x="84705" y="59684"/>
                  <a:pt x="85000" y="59052"/>
                  <a:pt x="85000" y="59052"/>
                </a:cubicBezTo>
                <a:cubicBezTo>
                  <a:pt x="85294" y="58736"/>
                  <a:pt x="85294" y="58736"/>
                  <a:pt x="85294" y="58736"/>
                </a:cubicBezTo>
                <a:cubicBezTo>
                  <a:pt x="85000" y="57473"/>
                  <a:pt x="85000" y="57473"/>
                  <a:pt x="85000" y="57473"/>
                </a:cubicBezTo>
                <a:close/>
                <a:moveTo>
                  <a:pt x="92941" y="66000"/>
                </a:moveTo>
                <a:cubicBezTo>
                  <a:pt x="92941" y="66000"/>
                  <a:pt x="92941" y="66000"/>
                  <a:pt x="92941" y="66000"/>
                </a:cubicBezTo>
                <a:cubicBezTo>
                  <a:pt x="93235" y="65684"/>
                  <a:pt x="93823" y="65052"/>
                  <a:pt x="93823" y="64736"/>
                </a:cubicBezTo>
                <a:cubicBezTo>
                  <a:pt x="93823" y="64736"/>
                  <a:pt x="94411" y="64736"/>
                  <a:pt x="94705" y="64736"/>
                </a:cubicBezTo>
                <a:cubicBezTo>
                  <a:pt x="94705" y="64736"/>
                  <a:pt x="95882" y="65052"/>
                  <a:pt x="95882" y="65052"/>
                </a:cubicBezTo>
                <a:cubicBezTo>
                  <a:pt x="95882" y="65052"/>
                  <a:pt x="96764" y="65052"/>
                  <a:pt x="96764" y="65052"/>
                </a:cubicBezTo>
                <a:cubicBezTo>
                  <a:pt x="96764" y="65052"/>
                  <a:pt x="97647" y="64421"/>
                  <a:pt x="97647" y="64421"/>
                </a:cubicBezTo>
                <a:cubicBezTo>
                  <a:pt x="97941" y="64421"/>
                  <a:pt x="98823" y="65368"/>
                  <a:pt x="98823" y="65368"/>
                </a:cubicBezTo>
                <a:cubicBezTo>
                  <a:pt x="98823" y="65368"/>
                  <a:pt x="98235" y="66315"/>
                  <a:pt x="97941" y="66315"/>
                </a:cubicBezTo>
                <a:cubicBezTo>
                  <a:pt x="97647" y="66631"/>
                  <a:pt x="97352" y="66631"/>
                  <a:pt x="97058" y="66947"/>
                </a:cubicBezTo>
                <a:cubicBezTo>
                  <a:pt x="96764" y="67578"/>
                  <a:pt x="96764" y="67578"/>
                  <a:pt x="96764" y="67894"/>
                </a:cubicBezTo>
                <a:cubicBezTo>
                  <a:pt x="96470" y="67894"/>
                  <a:pt x="96176" y="68526"/>
                  <a:pt x="95588" y="67894"/>
                </a:cubicBezTo>
                <a:cubicBezTo>
                  <a:pt x="95000" y="67578"/>
                  <a:pt x="94411" y="66947"/>
                  <a:pt x="94411" y="66947"/>
                </a:cubicBezTo>
                <a:cubicBezTo>
                  <a:pt x="94411" y="66947"/>
                  <a:pt x="93823" y="67263"/>
                  <a:pt x="93529" y="67263"/>
                </a:cubicBezTo>
                <a:cubicBezTo>
                  <a:pt x="93235" y="67578"/>
                  <a:pt x="92647" y="67263"/>
                  <a:pt x="92647" y="67263"/>
                </a:cubicBezTo>
                <a:cubicBezTo>
                  <a:pt x="92941" y="66947"/>
                  <a:pt x="92647" y="66315"/>
                  <a:pt x="92941" y="66000"/>
                </a:cubicBezTo>
                <a:close/>
                <a:moveTo>
                  <a:pt x="86764" y="72315"/>
                </a:moveTo>
                <a:cubicBezTo>
                  <a:pt x="86764" y="72315"/>
                  <a:pt x="86764" y="72315"/>
                  <a:pt x="86764" y="72315"/>
                </a:cubicBezTo>
                <a:cubicBezTo>
                  <a:pt x="86764" y="72315"/>
                  <a:pt x="85588" y="71684"/>
                  <a:pt x="85882" y="71368"/>
                </a:cubicBezTo>
                <a:cubicBezTo>
                  <a:pt x="86176" y="70736"/>
                  <a:pt x="87352" y="69473"/>
                  <a:pt x="87647" y="69157"/>
                </a:cubicBezTo>
                <a:cubicBezTo>
                  <a:pt x="87647" y="69157"/>
                  <a:pt x="88529" y="69473"/>
                  <a:pt x="88529" y="69473"/>
                </a:cubicBezTo>
                <a:cubicBezTo>
                  <a:pt x="88823" y="69473"/>
                  <a:pt x="89117" y="68526"/>
                  <a:pt x="89411" y="68526"/>
                </a:cubicBezTo>
                <a:cubicBezTo>
                  <a:pt x="89411" y="68526"/>
                  <a:pt x="90588" y="68526"/>
                  <a:pt x="90588" y="68526"/>
                </a:cubicBezTo>
                <a:cubicBezTo>
                  <a:pt x="90588" y="68526"/>
                  <a:pt x="90000" y="69789"/>
                  <a:pt x="89411" y="70105"/>
                </a:cubicBezTo>
                <a:cubicBezTo>
                  <a:pt x="88823" y="70421"/>
                  <a:pt x="88529" y="70421"/>
                  <a:pt x="88529" y="70736"/>
                </a:cubicBezTo>
                <a:cubicBezTo>
                  <a:pt x="88235" y="71052"/>
                  <a:pt x="87941" y="71368"/>
                  <a:pt x="87941" y="71684"/>
                </a:cubicBezTo>
                <a:cubicBezTo>
                  <a:pt x="87647" y="71684"/>
                  <a:pt x="86764" y="72315"/>
                  <a:pt x="86764" y="72315"/>
                </a:cubicBezTo>
                <a:close/>
                <a:moveTo>
                  <a:pt x="82941" y="84631"/>
                </a:moveTo>
                <a:cubicBezTo>
                  <a:pt x="82941" y="84631"/>
                  <a:pt x="82941" y="84631"/>
                  <a:pt x="82941" y="84631"/>
                </a:cubicBezTo>
                <a:cubicBezTo>
                  <a:pt x="83235" y="84947"/>
                  <a:pt x="82647" y="86210"/>
                  <a:pt x="81764" y="85578"/>
                </a:cubicBezTo>
                <a:cubicBezTo>
                  <a:pt x="81764" y="85578"/>
                  <a:pt x="81470" y="84947"/>
                  <a:pt x="82058" y="84631"/>
                </a:cubicBezTo>
                <a:cubicBezTo>
                  <a:pt x="82352" y="84631"/>
                  <a:pt x="82941" y="84631"/>
                  <a:pt x="82941" y="84631"/>
                </a:cubicBezTo>
                <a:close/>
                <a:moveTo>
                  <a:pt x="82058" y="92210"/>
                </a:moveTo>
                <a:cubicBezTo>
                  <a:pt x="82058" y="92210"/>
                  <a:pt x="82058" y="92210"/>
                  <a:pt x="82058" y="92210"/>
                </a:cubicBezTo>
                <a:cubicBezTo>
                  <a:pt x="82058" y="92210"/>
                  <a:pt x="82647" y="91578"/>
                  <a:pt x="82647" y="91578"/>
                </a:cubicBezTo>
                <a:cubicBezTo>
                  <a:pt x="82941" y="91578"/>
                  <a:pt x="83235" y="91894"/>
                  <a:pt x="83235" y="91894"/>
                </a:cubicBezTo>
                <a:cubicBezTo>
                  <a:pt x="83235" y="91894"/>
                  <a:pt x="84117" y="92526"/>
                  <a:pt x="84117" y="92526"/>
                </a:cubicBezTo>
                <a:cubicBezTo>
                  <a:pt x="84117" y="92842"/>
                  <a:pt x="84411" y="93473"/>
                  <a:pt x="84117" y="93473"/>
                </a:cubicBezTo>
                <a:cubicBezTo>
                  <a:pt x="83823" y="93789"/>
                  <a:pt x="83529" y="94105"/>
                  <a:pt x="83235" y="93789"/>
                </a:cubicBezTo>
                <a:cubicBezTo>
                  <a:pt x="82941" y="93789"/>
                  <a:pt x="82647" y="93789"/>
                  <a:pt x="82647" y="93473"/>
                </a:cubicBezTo>
                <a:cubicBezTo>
                  <a:pt x="82647" y="93157"/>
                  <a:pt x="82647" y="93157"/>
                  <a:pt x="82647" y="92842"/>
                </a:cubicBezTo>
                <a:cubicBezTo>
                  <a:pt x="82647" y="92842"/>
                  <a:pt x="82058" y="92842"/>
                  <a:pt x="82058" y="92842"/>
                </a:cubicBezTo>
                <a:cubicBezTo>
                  <a:pt x="82058" y="92210"/>
                  <a:pt x="82058" y="92210"/>
                  <a:pt x="82058" y="92210"/>
                </a:cubicBezTo>
                <a:close/>
                <a:moveTo>
                  <a:pt x="70000" y="88105"/>
                </a:moveTo>
                <a:cubicBezTo>
                  <a:pt x="70000" y="88105"/>
                  <a:pt x="70000" y="88105"/>
                  <a:pt x="70000" y="88105"/>
                </a:cubicBezTo>
                <a:cubicBezTo>
                  <a:pt x="70294" y="88105"/>
                  <a:pt x="70882" y="87789"/>
                  <a:pt x="70882" y="88105"/>
                </a:cubicBezTo>
                <a:cubicBezTo>
                  <a:pt x="71176" y="88421"/>
                  <a:pt x="71470" y="88421"/>
                  <a:pt x="71470" y="88736"/>
                </a:cubicBezTo>
                <a:cubicBezTo>
                  <a:pt x="71470" y="88736"/>
                  <a:pt x="71764" y="89052"/>
                  <a:pt x="71176" y="89368"/>
                </a:cubicBezTo>
                <a:cubicBezTo>
                  <a:pt x="70588" y="89368"/>
                  <a:pt x="70294" y="89368"/>
                  <a:pt x="70294" y="89368"/>
                </a:cubicBezTo>
                <a:cubicBezTo>
                  <a:pt x="70588" y="90315"/>
                  <a:pt x="70588" y="90315"/>
                  <a:pt x="70588" y="90315"/>
                </a:cubicBezTo>
                <a:cubicBezTo>
                  <a:pt x="70588" y="90315"/>
                  <a:pt x="71176" y="90315"/>
                  <a:pt x="70294" y="90947"/>
                </a:cubicBezTo>
                <a:cubicBezTo>
                  <a:pt x="69705" y="91578"/>
                  <a:pt x="69117" y="91578"/>
                  <a:pt x="69117" y="91578"/>
                </a:cubicBezTo>
                <a:cubicBezTo>
                  <a:pt x="69117" y="91263"/>
                  <a:pt x="69117" y="91263"/>
                  <a:pt x="69117" y="91263"/>
                </a:cubicBezTo>
                <a:cubicBezTo>
                  <a:pt x="68235" y="91578"/>
                  <a:pt x="68235" y="91578"/>
                  <a:pt x="68235" y="91578"/>
                </a:cubicBezTo>
                <a:cubicBezTo>
                  <a:pt x="68235" y="91578"/>
                  <a:pt x="67941" y="91894"/>
                  <a:pt x="67941" y="91578"/>
                </a:cubicBezTo>
                <a:cubicBezTo>
                  <a:pt x="67647" y="90947"/>
                  <a:pt x="67352" y="90315"/>
                  <a:pt x="67941" y="90315"/>
                </a:cubicBezTo>
                <a:cubicBezTo>
                  <a:pt x="68529" y="90000"/>
                  <a:pt x="68529" y="89684"/>
                  <a:pt x="68823" y="90000"/>
                </a:cubicBezTo>
                <a:cubicBezTo>
                  <a:pt x="69117" y="90315"/>
                  <a:pt x="69117" y="90631"/>
                  <a:pt x="69117" y="90631"/>
                </a:cubicBezTo>
                <a:cubicBezTo>
                  <a:pt x="69411" y="89684"/>
                  <a:pt x="69411" y="89684"/>
                  <a:pt x="69411" y="89684"/>
                </a:cubicBezTo>
                <a:cubicBezTo>
                  <a:pt x="69411" y="89684"/>
                  <a:pt x="69117" y="89684"/>
                  <a:pt x="69117" y="89368"/>
                </a:cubicBezTo>
                <a:cubicBezTo>
                  <a:pt x="69411" y="89052"/>
                  <a:pt x="69411" y="89052"/>
                  <a:pt x="69705" y="88736"/>
                </a:cubicBezTo>
                <a:cubicBezTo>
                  <a:pt x="70000" y="88736"/>
                  <a:pt x="70294" y="89052"/>
                  <a:pt x="70294" y="89052"/>
                </a:cubicBezTo>
                <a:cubicBezTo>
                  <a:pt x="70000" y="88105"/>
                  <a:pt x="70000" y="88105"/>
                  <a:pt x="70000" y="88105"/>
                </a:cubicBezTo>
                <a:close/>
                <a:moveTo>
                  <a:pt x="75882" y="90315"/>
                </a:moveTo>
                <a:cubicBezTo>
                  <a:pt x="75882" y="90315"/>
                  <a:pt x="75882" y="90315"/>
                  <a:pt x="75882" y="90315"/>
                </a:cubicBezTo>
                <a:cubicBezTo>
                  <a:pt x="75882" y="90315"/>
                  <a:pt x="76176" y="90315"/>
                  <a:pt x="76176" y="90631"/>
                </a:cubicBezTo>
                <a:cubicBezTo>
                  <a:pt x="76470" y="90947"/>
                  <a:pt x="76470" y="90947"/>
                  <a:pt x="76176" y="90947"/>
                </a:cubicBezTo>
                <a:cubicBezTo>
                  <a:pt x="76176" y="90947"/>
                  <a:pt x="75294" y="90947"/>
                  <a:pt x="75294" y="90947"/>
                </a:cubicBezTo>
                <a:cubicBezTo>
                  <a:pt x="75294" y="90947"/>
                  <a:pt x="75000" y="91263"/>
                  <a:pt x="75000" y="90631"/>
                </a:cubicBezTo>
                <a:cubicBezTo>
                  <a:pt x="75000" y="90315"/>
                  <a:pt x="75000" y="90000"/>
                  <a:pt x="75000" y="90000"/>
                </a:cubicBezTo>
                <a:cubicBezTo>
                  <a:pt x="75882" y="90315"/>
                  <a:pt x="75882" y="90315"/>
                  <a:pt x="75882" y="90315"/>
                </a:cubicBezTo>
                <a:close/>
                <a:moveTo>
                  <a:pt x="77941" y="89052"/>
                </a:moveTo>
                <a:cubicBezTo>
                  <a:pt x="77941" y="89052"/>
                  <a:pt x="77941" y="89052"/>
                  <a:pt x="77941" y="89052"/>
                </a:cubicBezTo>
                <a:cubicBezTo>
                  <a:pt x="79117" y="88105"/>
                  <a:pt x="79117" y="88105"/>
                  <a:pt x="79117" y="88105"/>
                </a:cubicBezTo>
                <a:cubicBezTo>
                  <a:pt x="79117" y="88105"/>
                  <a:pt x="79411" y="89052"/>
                  <a:pt x="78823" y="89368"/>
                </a:cubicBezTo>
                <a:cubicBezTo>
                  <a:pt x="78529" y="89684"/>
                  <a:pt x="78235" y="89684"/>
                  <a:pt x="78235" y="89684"/>
                </a:cubicBezTo>
                <a:cubicBezTo>
                  <a:pt x="77647" y="89368"/>
                  <a:pt x="77647" y="89368"/>
                  <a:pt x="77647" y="89368"/>
                </a:cubicBezTo>
                <a:cubicBezTo>
                  <a:pt x="77941" y="89052"/>
                  <a:pt x="77941" y="89052"/>
                  <a:pt x="77941" y="89052"/>
                </a:cubicBezTo>
                <a:close/>
                <a:moveTo>
                  <a:pt x="80294" y="86842"/>
                </a:moveTo>
                <a:cubicBezTo>
                  <a:pt x="80294" y="86842"/>
                  <a:pt x="80294" y="86842"/>
                  <a:pt x="80294" y="86842"/>
                </a:cubicBezTo>
                <a:cubicBezTo>
                  <a:pt x="80294" y="86842"/>
                  <a:pt x="80000" y="87789"/>
                  <a:pt x="80294" y="88421"/>
                </a:cubicBezTo>
                <a:cubicBezTo>
                  <a:pt x="80294" y="88736"/>
                  <a:pt x="80294" y="88736"/>
                  <a:pt x="80588" y="88736"/>
                </a:cubicBezTo>
                <a:cubicBezTo>
                  <a:pt x="80882" y="89052"/>
                  <a:pt x="81176" y="89052"/>
                  <a:pt x="81470" y="88736"/>
                </a:cubicBezTo>
                <a:cubicBezTo>
                  <a:pt x="81764" y="88736"/>
                  <a:pt x="81764" y="87789"/>
                  <a:pt x="81764" y="87789"/>
                </a:cubicBezTo>
                <a:cubicBezTo>
                  <a:pt x="81764" y="87789"/>
                  <a:pt x="81764" y="87473"/>
                  <a:pt x="81470" y="86842"/>
                </a:cubicBezTo>
                <a:cubicBezTo>
                  <a:pt x="81176" y="85894"/>
                  <a:pt x="80588" y="86842"/>
                  <a:pt x="80294" y="86842"/>
                </a:cubicBezTo>
                <a:close/>
                <a:moveTo>
                  <a:pt x="80588" y="81789"/>
                </a:moveTo>
                <a:cubicBezTo>
                  <a:pt x="80588" y="81789"/>
                  <a:pt x="80588" y="81789"/>
                  <a:pt x="80588" y="81789"/>
                </a:cubicBezTo>
                <a:cubicBezTo>
                  <a:pt x="80588" y="81473"/>
                  <a:pt x="80588" y="80526"/>
                  <a:pt x="80882" y="80210"/>
                </a:cubicBezTo>
                <a:cubicBezTo>
                  <a:pt x="81176" y="80210"/>
                  <a:pt x="81176" y="79894"/>
                  <a:pt x="81470" y="79578"/>
                </a:cubicBezTo>
                <a:cubicBezTo>
                  <a:pt x="81470" y="79263"/>
                  <a:pt x="82647" y="79263"/>
                  <a:pt x="82647" y="79263"/>
                </a:cubicBezTo>
                <a:cubicBezTo>
                  <a:pt x="82941" y="79894"/>
                  <a:pt x="82941" y="79894"/>
                  <a:pt x="82941" y="79894"/>
                </a:cubicBezTo>
                <a:cubicBezTo>
                  <a:pt x="82941" y="79894"/>
                  <a:pt x="82941" y="80526"/>
                  <a:pt x="82941" y="80842"/>
                </a:cubicBezTo>
                <a:cubicBezTo>
                  <a:pt x="82941" y="81157"/>
                  <a:pt x="82941" y="81157"/>
                  <a:pt x="83235" y="81789"/>
                </a:cubicBezTo>
                <a:cubicBezTo>
                  <a:pt x="83235" y="82105"/>
                  <a:pt x="82941" y="82736"/>
                  <a:pt x="82941" y="83052"/>
                </a:cubicBezTo>
                <a:cubicBezTo>
                  <a:pt x="82647" y="83368"/>
                  <a:pt x="82647" y="83684"/>
                  <a:pt x="82352" y="83684"/>
                </a:cubicBezTo>
                <a:cubicBezTo>
                  <a:pt x="82058" y="84000"/>
                  <a:pt x="82058" y="84315"/>
                  <a:pt x="81764" y="84000"/>
                </a:cubicBezTo>
                <a:cubicBezTo>
                  <a:pt x="81470" y="83684"/>
                  <a:pt x="80588" y="83368"/>
                  <a:pt x="80588" y="83052"/>
                </a:cubicBezTo>
                <a:cubicBezTo>
                  <a:pt x="80588" y="83052"/>
                  <a:pt x="80588" y="82421"/>
                  <a:pt x="80588" y="82421"/>
                </a:cubicBezTo>
                <a:cubicBezTo>
                  <a:pt x="80588" y="81789"/>
                  <a:pt x="80588" y="81789"/>
                  <a:pt x="80588" y="81789"/>
                </a:cubicBezTo>
                <a:close/>
                <a:moveTo>
                  <a:pt x="77058" y="83368"/>
                </a:moveTo>
                <a:cubicBezTo>
                  <a:pt x="77058" y="83368"/>
                  <a:pt x="77058" y="83368"/>
                  <a:pt x="77058" y="83368"/>
                </a:cubicBezTo>
                <a:cubicBezTo>
                  <a:pt x="77058" y="83052"/>
                  <a:pt x="77352" y="81789"/>
                  <a:pt x="77352" y="81789"/>
                </a:cubicBezTo>
                <a:cubicBezTo>
                  <a:pt x="77352" y="81789"/>
                  <a:pt x="77352" y="81157"/>
                  <a:pt x="77941" y="80842"/>
                </a:cubicBezTo>
                <a:cubicBezTo>
                  <a:pt x="78235" y="80842"/>
                  <a:pt x="78235" y="80526"/>
                  <a:pt x="78529" y="80842"/>
                </a:cubicBezTo>
                <a:cubicBezTo>
                  <a:pt x="78823" y="81157"/>
                  <a:pt x="79117" y="81473"/>
                  <a:pt x="79117" y="81473"/>
                </a:cubicBezTo>
                <a:cubicBezTo>
                  <a:pt x="79117" y="81473"/>
                  <a:pt x="78823" y="81473"/>
                  <a:pt x="78823" y="81789"/>
                </a:cubicBezTo>
                <a:cubicBezTo>
                  <a:pt x="78823" y="81789"/>
                  <a:pt x="79117" y="82421"/>
                  <a:pt x="79117" y="82421"/>
                </a:cubicBezTo>
                <a:cubicBezTo>
                  <a:pt x="78823" y="82736"/>
                  <a:pt x="78529" y="83052"/>
                  <a:pt x="78235" y="83368"/>
                </a:cubicBezTo>
                <a:cubicBezTo>
                  <a:pt x="78235" y="83684"/>
                  <a:pt x="77647" y="84000"/>
                  <a:pt x="77647" y="84000"/>
                </a:cubicBezTo>
                <a:cubicBezTo>
                  <a:pt x="76764" y="84631"/>
                  <a:pt x="76764" y="84631"/>
                  <a:pt x="76764" y="84631"/>
                </a:cubicBezTo>
                <a:cubicBezTo>
                  <a:pt x="76764" y="84947"/>
                  <a:pt x="76764" y="84947"/>
                  <a:pt x="76764" y="84947"/>
                </a:cubicBezTo>
                <a:cubicBezTo>
                  <a:pt x="76470" y="84947"/>
                  <a:pt x="76470" y="84947"/>
                  <a:pt x="76470" y="84947"/>
                </a:cubicBezTo>
                <a:cubicBezTo>
                  <a:pt x="75882" y="84000"/>
                  <a:pt x="75882" y="84000"/>
                  <a:pt x="75882" y="84000"/>
                </a:cubicBezTo>
                <a:cubicBezTo>
                  <a:pt x="76764" y="83368"/>
                  <a:pt x="76764" y="83368"/>
                  <a:pt x="76764" y="83368"/>
                </a:cubicBezTo>
                <a:cubicBezTo>
                  <a:pt x="77058" y="83368"/>
                  <a:pt x="77058" y="83368"/>
                  <a:pt x="77058" y="83368"/>
                </a:cubicBezTo>
                <a:close/>
                <a:moveTo>
                  <a:pt x="71176" y="84631"/>
                </a:moveTo>
                <a:cubicBezTo>
                  <a:pt x="71176" y="84631"/>
                  <a:pt x="71176" y="84631"/>
                  <a:pt x="71176" y="84631"/>
                </a:cubicBezTo>
                <a:cubicBezTo>
                  <a:pt x="72058" y="84315"/>
                  <a:pt x="72058" y="84315"/>
                  <a:pt x="72058" y="84315"/>
                </a:cubicBezTo>
                <a:cubicBezTo>
                  <a:pt x="72941" y="84947"/>
                  <a:pt x="72941" y="84947"/>
                  <a:pt x="72941" y="84947"/>
                </a:cubicBezTo>
                <a:cubicBezTo>
                  <a:pt x="72941" y="85894"/>
                  <a:pt x="72941" y="85894"/>
                  <a:pt x="72941" y="85894"/>
                </a:cubicBezTo>
                <a:cubicBezTo>
                  <a:pt x="72941" y="85894"/>
                  <a:pt x="72352" y="87157"/>
                  <a:pt x="72058" y="86842"/>
                </a:cubicBezTo>
                <a:cubicBezTo>
                  <a:pt x="71764" y="86210"/>
                  <a:pt x="71764" y="85578"/>
                  <a:pt x="71764" y="85578"/>
                </a:cubicBezTo>
                <a:cubicBezTo>
                  <a:pt x="71176" y="84631"/>
                  <a:pt x="71176" y="84631"/>
                  <a:pt x="71176" y="84631"/>
                </a:cubicBezTo>
                <a:close/>
                <a:moveTo>
                  <a:pt x="67352" y="82105"/>
                </a:moveTo>
                <a:cubicBezTo>
                  <a:pt x="67352" y="82105"/>
                  <a:pt x="67352" y="82105"/>
                  <a:pt x="67352" y="82105"/>
                </a:cubicBezTo>
                <a:cubicBezTo>
                  <a:pt x="67352" y="82105"/>
                  <a:pt x="68823" y="81789"/>
                  <a:pt x="68823" y="82105"/>
                </a:cubicBezTo>
                <a:cubicBezTo>
                  <a:pt x="68823" y="82105"/>
                  <a:pt x="68823" y="82736"/>
                  <a:pt x="69117" y="82736"/>
                </a:cubicBezTo>
                <a:cubicBezTo>
                  <a:pt x="69117" y="83052"/>
                  <a:pt x="68235" y="84000"/>
                  <a:pt x="67941" y="84000"/>
                </a:cubicBezTo>
                <a:cubicBezTo>
                  <a:pt x="67941" y="84000"/>
                  <a:pt x="67647" y="83684"/>
                  <a:pt x="67647" y="83684"/>
                </a:cubicBezTo>
                <a:cubicBezTo>
                  <a:pt x="67352" y="82105"/>
                  <a:pt x="67352" y="82105"/>
                  <a:pt x="67352" y="82105"/>
                </a:cubicBezTo>
                <a:close/>
                <a:moveTo>
                  <a:pt x="66176" y="78000"/>
                </a:moveTo>
                <a:cubicBezTo>
                  <a:pt x="66176" y="78000"/>
                  <a:pt x="66176" y="78000"/>
                  <a:pt x="66176" y="78000"/>
                </a:cubicBezTo>
                <a:cubicBezTo>
                  <a:pt x="66176" y="78000"/>
                  <a:pt x="66470" y="77684"/>
                  <a:pt x="66764" y="77684"/>
                </a:cubicBezTo>
                <a:cubicBezTo>
                  <a:pt x="67058" y="78000"/>
                  <a:pt x="67058" y="78947"/>
                  <a:pt x="67058" y="78947"/>
                </a:cubicBezTo>
                <a:cubicBezTo>
                  <a:pt x="66764" y="79894"/>
                  <a:pt x="66764" y="79894"/>
                  <a:pt x="66764" y="79894"/>
                </a:cubicBezTo>
                <a:cubicBezTo>
                  <a:pt x="66764" y="79894"/>
                  <a:pt x="66176" y="80842"/>
                  <a:pt x="66176" y="80842"/>
                </a:cubicBezTo>
                <a:cubicBezTo>
                  <a:pt x="66176" y="80526"/>
                  <a:pt x="65882" y="78947"/>
                  <a:pt x="65882" y="78947"/>
                </a:cubicBezTo>
                <a:cubicBezTo>
                  <a:pt x="66176" y="78000"/>
                  <a:pt x="66176" y="78000"/>
                  <a:pt x="66176" y="78000"/>
                </a:cubicBezTo>
                <a:close/>
                <a:moveTo>
                  <a:pt x="64411" y="75473"/>
                </a:moveTo>
                <a:cubicBezTo>
                  <a:pt x="64411" y="75473"/>
                  <a:pt x="64411" y="75473"/>
                  <a:pt x="64411" y="75473"/>
                </a:cubicBezTo>
                <a:cubicBezTo>
                  <a:pt x="64411" y="75473"/>
                  <a:pt x="64117" y="76421"/>
                  <a:pt x="64117" y="76736"/>
                </a:cubicBezTo>
                <a:cubicBezTo>
                  <a:pt x="64117" y="76736"/>
                  <a:pt x="64411" y="77368"/>
                  <a:pt x="64411" y="77368"/>
                </a:cubicBezTo>
                <a:cubicBezTo>
                  <a:pt x="64411" y="77684"/>
                  <a:pt x="64411" y="77368"/>
                  <a:pt x="64705" y="77052"/>
                </a:cubicBezTo>
                <a:cubicBezTo>
                  <a:pt x="65000" y="76736"/>
                  <a:pt x="65000" y="76421"/>
                  <a:pt x="65000" y="76421"/>
                </a:cubicBezTo>
                <a:cubicBezTo>
                  <a:pt x="65000" y="76421"/>
                  <a:pt x="65588" y="76105"/>
                  <a:pt x="65588" y="75789"/>
                </a:cubicBezTo>
                <a:cubicBezTo>
                  <a:pt x="65882" y="75789"/>
                  <a:pt x="65882" y="74842"/>
                  <a:pt x="65882" y="74842"/>
                </a:cubicBezTo>
                <a:cubicBezTo>
                  <a:pt x="65882" y="74842"/>
                  <a:pt x="65000" y="74210"/>
                  <a:pt x="65000" y="74526"/>
                </a:cubicBezTo>
                <a:cubicBezTo>
                  <a:pt x="64705" y="74526"/>
                  <a:pt x="64411" y="75473"/>
                  <a:pt x="64411" y="75473"/>
                </a:cubicBezTo>
                <a:close/>
                <a:moveTo>
                  <a:pt x="68529" y="74842"/>
                </a:moveTo>
                <a:cubicBezTo>
                  <a:pt x="68529" y="74842"/>
                  <a:pt x="68529" y="74842"/>
                  <a:pt x="68529" y="74842"/>
                </a:cubicBezTo>
                <a:cubicBezTo>
                  <a:pt x="68823" y="74842"/>
                  <a:pt x="68823" y="74842"/>
                  <a:pt x="68823" y="74842"/>
                </a:cubicBezTo>
                <a:cubicBezTo>
                  <a:pt x="68823" y="75157"/>
                  <a:pt x="68823" y="75157"/>
                  <a:pt x="68823" y="75157"/>
                </a:cubicBezTo>
                <a:cubicBezTo>
                  <a:pt x="68823" y="75157"/>
                  <a:pt x="69705" y="74842"/>
                  <a:pt x="70000" y="74842"/>
                </a:cubicBezTo>
                <a:cubicBezTo>
                  <a:pt x="70294" y="74526"/>
                  <a:pt x="70000" y="74210"/>
                  <a:pt x="70000" y="73894"/>
                </a:cubicBezTo>
                <a:cubicBezTo>
                  <a:pt x="69705" y="73578"/>
                  <a:pt x="68529" y="74842"/>
                  <a:pt x="68529" y="74842"/>
                </a:cubicBezTo>
                <a:close/>
                <a:moveTo>
                  <a:pt x="72647" y="76105"/>
                </a:moveTo>
                <a:cubicBezTo>
                  <a:pt x="72647" y="76105"/>
                  <a:pt x="72647" y="76105"/>
                  <a:pt x="72647" y="76105"/>
                </a:cubicBezTo>
                <a:cubicBezTo>
                  <a:pt x="72058" y="75789"/>
                  <a:pt x="72058" y="75789"/>
                  <a:pt x="72058" y="75789"/>
                </a:cubicBezTo>
                <a:cubicBezTo>
                  <a:pt x="72058" y="76421"/>
                  <a:pt x="72058" y="76421"/>
                  <a:pt x="72058" y="76421"/>
                </a:cubicBezTo>
                <a:cubicBezTo>
                  <a:pt x="72058" y="76421"/>
                  <a:pt x="72352" y="77052"/>
                  <a:pt x="72647" y="77368"/>
                </a:cubicBezTo>
                <a:cubicBezTo>
                  <a:pt x="72647" y="77368"/>
                  <a:pt x="72058" y="78000"/>
                  <a:pt x="72058" y="78000"/>
                </a:cubicBezTo>
                <a:cubicBezTo>
                  <a:pt x="72647" y="78947"/>
                  <a:pt x="72647" y="78947"/>
                  <a:pt x="72647" y="78947"/>
                </a:cubicBezTo>
                <a:cubicBezTo>
                  <a:pt x="73529" y="77368"/>
                  <a:pt x="73529" y="77368"/>
                  <a:pt x="73529" y="77368"/>
                </a:cubicBezTo>
                <a:cubicBezTo>
                  <a:pt x="73529" y="77368"/>
                  <a:pt x="73235" y="76736"/>
                  <a:pt x="73235" y="76736"/>
                </a:cubicBezTo>
                <a:cubicBezTo>
                  <a:pt x="73235" y="76421"/>
                  <a:pt x="72647" y="76105"/>
                  <a:pt x="72647" y="76105"/>
                </a:cubicBezTo>
                <a:close/>
                <a:moveTo>
                  <a:pt x="76764" y="76105"/>
                </a:moveTo>
                <a:cubicBezTo>
                  <a:pt x="76764" y="76105"/>
                  <a:pt x="76764" y="76105"/>
                  <a:pt x="76764" y="76105"/>
                </a:cubicBezTo>
                <a:cubicBezTo>
                  <a:pt x="77058" y="76736"/>
                  <a:pt x="77058" y="76736"/>
                  <a:pt x="77058" y="76736"/>
                </a:cubicBezTo>
                <a:cubicBezTo>
                  <a:pt x="77058" y="76736"/>
                  <a:pt x="76764" y="77368"/>
                  <a:pt x="76470" y="77368"/>
                </a:cubicBezTo>
                <a:cubicBezTo>
                  <a:pt x="76470" y="77368"/>
                  <a:pt x="76176" y="77052"/>
                  <a:pt x="76176" y="77052"/>
                </a:cubicBezTo>
                <a:cubicBezTo>
                  <a:pt x="76764" y="76105"/>
                  <a:pt x="76764" y="76105"/>
                  <a:pt x="76764" y="76105"/>
                </a:cubicBezTo>
                <a:close/>
                <a:moveTo>
                  <a:pt x="77647" y="75157"/>
                </a:moveTo>
                <a:cubicBezTo>
                  <a:pt x="77647" y="75157"/>
                  <a:pt x="77647" y="75157"/>
                  <a:pt x="77647" y="75157"/>
                </a:cubicBezTo>
                <a:cubicBezTo>
                  <a:pt x="77941" y="75789"/>
                  <a:pt x="77941" y="75789"/>
                  <a:pt x="77941" y="75789"/>
                </a:cubicBezTo>
                <a:cubicBezTo>
                  <a:pt x="77941" y="75789"/>
                  <a:pt x="78823" y="75473"/>
                  <a:pt x="79411" y="75157"/>
                </a:cubicBezTo>
                <a:cubicBezTo>
                  <a:pt x="80294" y="74842"/>
                  <a:pt x="79411" y="74526"/>
                  <a:pt x="79411" y="74526"/>
                </a:cubicBezTo>
                <a:cubicBezTo>
                  <a:pt x="78529" y="74526"/>
                  <a:pt x="78529" y="74526"/>
                  <a:pt x="78529" y="74526"/>
                </a:cubicBezTo>
                <a:cubicBezTo>
                  <a:pt x="78529" y="74526"/>
                  <a:pt x="77647" y="74842"/>
                  <a:pt x="77647" y="75157"/>
                </a:cubicBezTo>
                <a:close/>
                <a:moveTo>
                  <a:pt x="72647" y="72631"/>
                </a:moveTo>
                <a:cubicBezTo>
                  <a:pt x="72647" y="72631"/>
                  <a:pt x="72647" y="72631"/>
                  <a:pt x="72647" y="72631"/>
                </a:cubicBezTo>
                <a:cubicBezTo>
                  <a:pt x="73529" y="73578"/>
                  <a:pt x="73529" y="73578"/>
                  <a:pt x="73529" y="73578"/>
                </a:cubicBezTo>
                <a:cubicBezTo>
                  <a:pt x="73529" y="73578"/>
                  <a:pt x="74705" y="74210"/>
                  <a:pt x="75000" y="74210"/>
                </a:cubicBezTo>
                <a:cubicBezTo>
                  <a:pt x="75000" y="74526"/>
                  <a:pt x="75588" y="74210"/>
                  <a:pt x="76176" y="74210"/>
                </a:cubicBezTo>
                <a:cubicBezTo>
                  <a:pt x="76470" y="73894"/>
                  <a:pt x="76470" y="73894"/>
                  <a:pt x="76470" y="73578"/>
                </a:cubicBezTo>
                <a:cubicBezTo>
                  <a:pt x="76470" y="73578"/>
                  <a:pt x="76176" y="73263"/>
                  <a:pt x="76176" y="73263"/>
                </a:cubicBezTo>
                <a:cubicBezTo>
                  <a:pt x="76176" y="73263"/>
                  <a:pt x="75882" y="72631"/>
                  <a:pt x="75000" y="72631"/>
                </a:cubicBezTo>
                <a:cubicBezTo>
                  <a:pt x="74411" y="72947"/>
                  <a:pt x="74411" y="72631"/>
                  <a:pt x="74411" y="72631"/>
                </a:cubicBezTo>
                <a:cubicBezTo>
                  <a:pt x="74411" y="72631"/>
                  <a:pt x="74117" y="72631"/>
                  <a:pt x="73235" y="72315"/>
                </a:cubicBezTo>
                <a:cubicBezTo>
                  <a:pt x="72647" y="72315"/>
                  <a:pt x="72941" y="72631"/>
                  <a:pt x="72647" y="72631"/>
                </a:cubicBezTo>
                <a:close/>
                <a:moveTo>
                  <a:pt x="72058" y="72315"/>
                </a:moveTo>
                <a:cubicBezTo>
                  <a:pt x="72058" y="72315"/>
                  <a:pt x="72058" y="72315"/>
                  <a:pt x="72058" y="72315"/>
                </a:cubicBezTo>
                <a:cubicBezTo>
                  <a:pt x="72352" y="72000"/>
                  <a:pt x="72352" y="72000"/>
                  <a:pt x="72352" y="72000"/>
                </a:cubicBezTo>
                <a:cubicBezTo>
                  <a:pt x="72352" y="72000"/>
                  <a:pt x="72352" y="71368"/>
                  <a:pt x="72352" y="70421"/>
                </a:cubicBezTo>
                <a:cubicBezTo>
                  <a:pt x="72352" y="69789"/>
                  <a:pt x="72058" y="70105"/>
                  <a:pt x="72058" y="70105"/>
                </a:cubicBezTo>
                <a:cubicBezTo>
                  <a:pt x="72058" y="69789"/>
                  <a:pt x="72058" y="69473"/>
                  <a:pt x="71764" y="68842"/>
                </a:cubicBezTo>
                <a:cubicBezTo>
                  <a:pt x="71470" y="68526"/>
                  <a:pt x="71470" y="68842"/>
                  <a:pt x="71176" y="68842"/>
                </a:cubicBezTo>
                <a:cubicBezTo>
                  <a:pt x="71176" y="68842"/>
                  <a:pt x="70882" y="69157"/>
                  <a:pt x="70294" y="69157"/>
                </a:cubicBezTo>
                <a:cubicBezTo>
                  <a:pt x="69705" y="69157"/>
                  <a:pt x="70000" y="68526"/>
                  <a:pt x="69705" y="68210"/>
                </a:cubicBezTo>
                <a:cubicBezTo>
                  <a:pt x="69411" y="67894"/>
                  <a:pt x="68823" y="67894"/>
                  <a:pt x="68823" y="67894"/>
                </a:cubicBezTo>
                <a:cubicBezTo>
                  <a:pt x="68529" y="67894"/>
                  <a:pt x="67941" y="68842"/>
                  <a:pt x="67941" y="69157"/>
                </a:cubicBezTo>
                <a:cubicBezTo>
                  <a:pt x="67941" y="69473"/>
                  <a:pt x="68235" y="69473"/>
                  <a:pt x="69117" y="70421"/>
                </a:cubicBezTo>
                <a:cubicBezTo>
                  <a:pt x="70000" y="71052"/>
                  <a:pt x="70294" y="71052"/>
                  <a:pt x="70588" y="71052"/>
                </a:cubicBezTo>
                <a:cubicBezTo>
                  <a:pt x="70882" y="71368"/>
                  <a:pt x="71764" y="72000"/>
                  <a:pt x="72058" y="72315"/>
                </a:cubicBezTo>
                <a:close/>
                <a:moveTo>
                  <a:pt x="63529" y="113684"/>
                </a:moveTo>
                <a:cubicBezTo>
                  <a:pt x="63529" y="113684"/>
                  <a:pt x="63529" y="113684"/>
                  <a:pt x="63529" y="113684"/>
                </a:cubicBezTo>
                <a:cubicBezTo>
                  <a:pt x="63823" y="112736"/>
                  <a:pt x="63823" y="112736"/>
                  <a:pt x="63823" y="112736"/>
                </a:cubicBezTo>
                <a:cubicBezTo>
                  <a:pt x="63235" y="111789"/>
                  <a:pt x="63235" y="111789"/>
                  <a:pt x="63235" y="111789"/>
                </a:cubicBezTo>
                <a:cubicBezTo>
                  <a:pt x="63235" y="110526"/>
                  <a:pt x="63235" y="110526"/>
                  <a:pt x="63235" y="110526"/>
                </a:cubicBezTo>
                <a:cubicBezTo>
                  <a:pt x="63529" y="110210"/>
                  <a:pt x="63529" y="110210"/>
                  <a:pt x="63529" y="110210"/>
                </a:cubicBezTo>
                <a:cubicBezTo>
                  <a:pt x="63529" y="110210"/>
                  <a:pt x="64117" y="110842"/>
                  <a:pt x="64117" y="111157"/>
                </a:cubicBezTo>
                <a:cubicBezTo>
                  <a:pt x="64117" y="111473"/>
                  <a:pt x="64117" y="112105"/>
                  <a:pt x="64117" y="112105"/>
                </a:cubicBezTo>
                <a:cubicBezTo>
                  <a:pt x="64117" y="112105"/>
                  <a:pt x="65000" y="112736"/>
                  <a:pt x="65000" y="112736"/>
                </a:cubicBezTo>
                <a:cubicBezTo>
                  <a:pt x="65294" y="112736"/>
                  <a:pt x="67058" y="112421"/>
                  <a:pt x="67058" y="112421"/>
                </a:cubicBezTo>
                <a:cubicBezTo>
                  <a:pt x="67058" y="112421"/>
                  <a:pt x="67647" y="111473"/>
                  <a:pt x="67647" y="111473"/>
                </a:cubicBezTo>
                <a:cubicBezTo>
                  <a:pt x="67941" y="111157"/>
                  <a:pt x="68823" y="110526"/>
                  <a:pt x="68823" y="110526"/>
                </a:cubicBezTo>
                <a:cubicBezTo>
                  <a:pt x="68823" y="110526"/>
                  <a:pt x="68823" y="110210"/>
                  <a:pt x="69411" y="110842"/>
                </a:cubicBezTo>
                <a:cubicBezTo>
                  <a:pt x="70000" y="111157"/>
                  <a:pt x="69411" y="112105"/>
                  <a:pt x="69411" y="112105"/>
                </a:cubicBezTo>
                <a:cubicBezTo>
                  <a:pt x="69117" y="112105"/>
                  <a:pt x="69117" y="112421"/>
                  <a:pt x="69117" y="112421"/>
                </a:cubicBezTo>
                <a:cubicBezTo>
                  <a:pt x="69705" y="113052"/>
                  <a:pt x="69705" y="113052"/>
                  <a:pt x="69705" y="113052"/>
                </a:cubicBezTo>
                <a:cubicBezTo>
                  <a:pt x="69705" y="113052"/>
                  <a:pt x="69705" y="112421"/>
                  <a:pt x="70000" y="112421"/>
                </a:cubicBezTo>
                <a:cubicBezTo>
                  <a:pt x="70294" y="112421"/>
                  <a:pt x="70294" y="112105"/>
                  <a:pt x="70588" y="112105"/>
                </a:cubicBezTo>
                <a:cubicBezTo>
                  <a:pt x="70588" y="112421"/>
                  <a:pt x="71176" y="113052"/>
                  <a:pt x="71176" y="113052"/>
                </a:cubicBezTo>
                <a:cubicBezTo>
                  <a:pt x="71176" y="113052"/>
                  <a:pt x="71176" y="114000"/>
                  <a:pt x="71470" y="114000"/>
                </a:cubicBezTo>
                <a:cubicBezTo>
                  <a:pt x="71764" y="113684"/>
                  <a:pt x="72352" y="114000"/>
                  <a:pt x="72647" y="113684"/>
                </a:cubicBezTo>
                <a:cubicBezTo>
                  <a:pt x="72941" y="113684"/>
                  <a:pt x="75882" y="112736"/>
                  <a:pt x="75882" y="112736"/>
                </a:cubicBezTo>
                <a:cubicBezTo>
                  <a:pt x="76764" y="112105"/>
                  <a:pt x="76764" y="112105"/>
                  <a:pt x="76764" y="112105"/>
                </a:cubicBezTo>
                <a:cubicBezTo>
                  <a:pt x="76764" y="112105"/>
                  <a:pt x="77352" y="111789"/>
                  <a:pt x="77941" y="111789"/>
                </a:cubicBezTo>
                <a:cubicBezTo>
                  <a:pt x="78235" y="111789"/>
                  <a:pt x="80000" y="111157"/>
                  <a:pt x="80000" y="111157"/>
                </a:cubicBezTo>
                <a:cubicBezTo>
                  <a:pt x="80000" y="111157"/>
                  <a:pt x="80882" y="110526"/>
                  <a:pt x="81470" y="110842"/>
                </a:cubicBezTo>
                <a:cubicBezTo>
                  <a:pt x="81764" y="111473"/>
                  <a:pt x="82941" y="112421"/>
                  <a:pt x="82941" y="112421"/>
                </a:cubicBezTo>
                <a:cubicBezTo>
                  <a:pt x="84705" y="112105"/>
                  <a:pt x="84705" y="112105"/>
                  <a:pt x="84705" y="112105"/>
                </a:cubicBezTo>
                <a:cubicBezTo>
                  <a:pt x="84705" y="112105"/>
                  <a:pt x="85294" y="111789"/>
                  <a:pt x="85294" y="111789"/>
                </a:cubicBezTo>
                <a:cubicBezTo>
                  <a:pt x="85588" y="112105"/>
                  <a:pt x="87352" y="111789"/>
                  <a:pt x="87352" y="111789"/>
                </a:cubicBezTo>
                <a:cubicBezTo>
                  <a:pt x="87352" y="111789"/>
                  <a:pt x="88235" y="110842"/>
                  <a:pt x="88529" y="110842"/>
                </a:cubicBezTo>
                <a:cubicBezTo>
                  <a:pt x="88529" y="110842"/>
                  <a:pt x="90588" y="110210"/>
                  <a:pt x="90588" y="110210"/>
                </a:cubicBezTo>
                <a:cubicBezTo>
                  <a:pt x="90588" y="110210"/>
                  <a:pt x="90882" y="110210"/>
                  <a:pt x="90882" y="110842"/>
                </a:cubicBezTo>
                <a:cubicBezTo>
                  <a:pt x="90882" y="111473"/>
                  <a:pt x="90882" y="112421"/>
                  <a:pt x="90882" y="112736"/>
                </a:cubicBezTo>
                <a:cubicBezTo>
                  <a:pt x="91176" y="113052"/>
                  <a:pt x="90882" y="113684"/>
                  <a:pt x="91470" y="113684"/>
                </a:cubicBezTo>
                <a:cubicBezTo>
                  <a:pt x="92058" y="113368"/>
                  <a:pt x="92647" y="113052"/>
                  <a:pt x="92647" y="113052"/>
                </a:cubicBezTo>
                <a:cubicBezTo>
                  <a:pt x="92647" y="113052"/>
                  <a:pt x="92058" y="113052"/>
                  <a:pt x="93235" y="112421"/>
                </a:cubicBezTo>
                <a:cubicBezTo>
                  <a:pt x="94117" y="111789"/>
                  <a:pt x="94411" y="111473"/>
                  <a:pt x="94705" y="111473"/>
                </a:cubicBezTo>
                <a:cubicBezTo>
                  <a:pt x="95000" y="111473"/>
                  <a:pt x="95000" y="111157"/>
                  <a:pt x="95294" y="111157"/>
                </a:cubicBezTo>
                <a:cubicBezTo>
                  <a:pt x="95882" y="111157"/>
                  <a:pt x="95882" y="111157"/>
                  <a:pt x="96176" y="111157"/>
                </a:cubicBezTo>
                <a:cubicBezTo>
                  <a:pt x="96470" y="110842"/>
                  <a:pt x="97058" y="109894"/>
                  <a:pt x="97058" y="109894"/>
                </a:cubicBezTo>
                <a:cubicBezTo>
                  <a:pt x="97058" y="109894"/>
                  <a:pt x="97352" y="109263"/>
                  <a:pt x="97647" y="109263"/>
                </a:cubicBezTo>
                <a:cubicBezTo>
                  <a:pt x="97647" y="109263"/>
                  <a:pt x="98235" y="108947"/>
                  <a:pt x="98235" y="108947"/>
                </a:cubicBezTo>
                <a:cubicBezTo>
                  <a:pt x="97941" y="109894"/>
                  <a:pt x="97941" y="109894"/>
                  <a:pt x="97941" y="109894"/>
                </a:cubicBezTo>
                <a:cubicBezTo>
                  <a:pt x="97941" y="109894"/>
                  <a:pt x="98529" y="111157"/>
                  <a:pt x="98529" y="111473"/>
                </a:cubicBezTo>
                <a:cubicBezTo>
                  <a:pt x="98529" y="111473"/>
                  <a:pt x="98529" y="111789"/>
                  <a:pt x="98235" y="112105"/>
                </a:cubicBezTo>
                <a:cubicBezTo>
                  <a:pt x="98235" y="112736"/>
                  <a:pt x="98235" y="113052"/>
                  <a:pt x="98235" y="113052"/>
                </a:cubicBezTo>
                <a:cubicBezTo>
                  <a:pt x="97941" y="113368"/>
                  <a:pt x="97941" y="113684"/>
                  <a:pt x="97941" y="114000"/>
                </a:cubicBezTo>
                <a:cubicBezTo>
                  <a:pt x="97647" y="114000"/>
                  <a:pt x="96764" y="114631"/>
                  <a:pt x="96764" y="114631"/>
                </a:cubicBezTo>
                <a:cubicBezTo>
                  <a:pt x="95294" y="114315"/>
                  <a:pt x="95294" y="114315"/>
                  <a:pt x="95294" y="114315"/>
                </a:cubicBezTo>
                <a:cubicBezTo>
                  <a:pt x="95294" y="114315"/>
                  <a:pt x="94705" y="114631"/>
                  <a:pt x="94411" y="114947"/>
                </a:cubicBezTo>
                <a:cubicBezTo>
                  <a:pt x="93823" y="114947"/>
                  <a:pt x="92941" y="115894"/>
                  <a:pt x="92647" y="115894"/>
                </a:cubicBezTo>
                <a:cubicBezTo>
                  <a:pt x="92352" y="115894"/>
                  <a:pt x="91470" y="115894"/>
                  <a:pt x="90588" y="115894"/>
                </a:cubicBezTo>
                <a:cubicBezTo>
                  <a:pt x="89705" y="116210"/>
                  <a:pt x="87352" y="116842"/>
                  <a:pt x="87352" y="116842"/>
                </a:cubicBezTo>
                <a:cubicBezTo>
                  <a:pt x="87352" y="116842"/>
                  <a:pt x="87058" y="117157"/>
                  <a:pt x="86764" y="117473"/>
                </a:cubicBezTo>
                <a:cubicBezTo>
                  <a:pt x="86176" y="117473"/>
                  <a:pt x="85000" y="118105"/>
                  <a:pt x="84705" y="118105"/>
                </a:cubicBezTo>
                <a:cubicBezTo>
                  <a:pt x="84411" y="118421"/>
                  <a:pt x="83529" y="119052"/>
                  <a:pt x="83235" y="119052"/>
                </a:cubicBezTo>
                <a:cubicBezTo>
                  <a:pt x="82941" y="119052"/>
                  <a:pt x="82647" y="119368"/>
                  <a:pt x="81470" y="119368"/>
                </a:cubicBezTo>
                <a:cubicBezTo>
                  <a:pt x="80000" y="119684"/>
                  <a:pt x="79705" y="120000"/>
                  <a:pt x="79705" y="120000"/>
                </a:cubicBezTo>
                <a:cubicBezTo>
                  <a:pt x="78823" y="120000"/>
                  <a:pt x="78823" y="120000"/>
                  <a:pt x="78823" y="120000"/>
                </a:cubicBezTo>
                <a:cubicBezTo>
                  <a:pt x="78823" y="117789"/>
                  <a:pt x="78823" y="117789"/>
                  <a:pt x="78823" y="117789"/>
                </a:cubicBezTo>
                <a:cubicBezTo>
                  <a:pt x="78823" y="117789"/>
                  <a:pt x="78823" y="116842"/>
                  <a:pt x="77941" y="117157"/>
                </a:cubicBezTo>
                <a:cubicBezTo>
                  <a:pt x="77058" y="117473"/>
                  <a:pt x="78235" y="117157"/>
                  <a:pt x="76470" y="117473"/>
                </a:cubicBezTo>
                <a:cubicBezTo>
                  <a:pt x="75000" y="117789"/>
                  <a:pt x="74117" y="116842"/>
                  <a:pt x="74117" y="116842"/>
                </a:cubicBezTo>
                <a:cubicBezTo>
                  <a:pt x="74117" y="116842"/>
                  <a:pt x="72647" y="116842"/>
                  <a:pt x="72058" y="117157"/>
                </a:cubicBezTo>
                <a:cubicBezTo>
                  <a:pt x="71470" y="117157"/>
                  <a:pt x="70588" y="117157"/>
                  <a:pt x="70294" y="117157"/>
                </a:cubicBezTo>
                <a:cubicBezTo>
                  <a:pt x="70000" y="117473"/>
                  <a:pt x="70000" y="117157"/>
                  <a:pt x="69117" y="117473"/>
                </a:cubicBezTo>
                <a:cubicBezTo>
                  <a:pt x="68235" y="117473"/>
                  <a:pt x="67352" y="117789"/>
                  <a:pt x="67352" y="117789"/>
                </a:cubicBezTo>
                <a:cubicBezTo>
                  <a:pt x="66470" y="117157"/>
                  <a:pt x="66470" y="117157"/>
                  <a:pt x="66470" y="117157"/>
                </a:cubicBezTo>
                <a:cubicBezTo>
                  <a:pt x="66470" y="117157"/>
                  <a:pt x="65588" y="117157"/>
                  <a:pt x="65294" y="117473"/>
                </a:cubicBezTo>
                <a:cubicBezTo>
                  <a:pt x="64705" y="117789"/>
                  <a:pt x="65000" y="118105"/>
                  <a:pt x="64411" y="118105"/>
                </a:cubicBezTo>
                <a:cubicBezTo>
                  <a:pt x="63823" y="118105"/>
                  <a:pt x="64117" y="118421"/>
                  <a:pt x="63529" y="118105"/>
                </a:cubicBezTo>
                <a:cubicBezTo>
                  <a:pt x="62647" y="117789"/>
                  <a:pt x="62058" y="117473"/>
                  <a:pt x="62058" y="117473"/>
                </a:cubicBezTo>
                <a:cubicBezTo>
                  <a:pt x="61764" y="115578"/>
                  <a:pt x="61764" y="115578"/>
                  <a:pt x="61764" y="115578"/>
                </a:cubicBezTo>
                <a:cubicBezTo>
                  <a:pt x="61764" y="115578"/>
                  <a:pt x="61764" y="115578"/>
                  <a:pt x="61764" y="114631"/>
                </a:cubicBezTo>
                <a:cubicBezTo>
                  <a:pt x="61470" y="114000"/>
                  <a:pt x="61176" y="112736"/>
                  <a:pt x="61176" y="112736"/>
                </a:cubicBezTo>
                <a:cubicBezTo>
                  <a:pt x="61764" y="111789"/>
                  <a:pt x="61764" y="111789"/>
                  <a:pt x="61764" y="111789"/>
                </a:cubicBezTo>
                <a:cubicBezTo>
                  <a:pt x="61764" y="111789"/>
                  <a:pt x="62058" y="112421"/>
                  <a:pt x="62058" y="112736"/>
                </a:cubicBezTo>
                <a:cubicBezTo>
                  <a:pt x="62058" y="112736"/>
                  <a:pt x="62058" y="113684"/>
                  <a:pt x="62352" y="113684"/>
                </a:cubicBezTo>
                <a:cubicBezTo>
                  <a:pt x="62941" y="113684"/>
                  <a:pt x="63529" y="113684"/>
                  <a:pt x="63529" y="113684"/>
                </a:cubicBezTo>
                <a:close/>
                <a:moveTo>
                  <a:pt x="50588" y="100736"/>
                </a:moveTo>
                <a:cubicBezTo>
                  <a:pt x="50588" y="100736"/>
                  <a:pt x="50588" y="100736"/>
                  <a:pt x="50588" y="100736"/>
                </a:cubicBezTo>
                <a:cubicBezTo>
                  <a:pt x="51470" y="100421"/>
                  <a:pt x="51470" y="100421"/>
                  <a:pt x="51470" y="100421"/>
                </a:cubicBezTo>
                <a:cubicBezTo>
                  <a:pt x="51764" y="101368"/>
                  <a:pt x="51764" y="101368"/>
                  <a:pt x="51764" y="101368"/>
                </a:cubicBezTo>
                <a:cubicBezTo>
                  <a:pt x="52647" y="101684"/>
                  <a:pt x="52647" y="101684"/>
                  <a:pt x="52647" y="101684"/>
                </a:cubicBezTo>
                <a:cubicBezTo>
                  <a:pt x="52647" y="101684"/>
                  <a:pt x="53823" y="102315"/>
                  <a:pt x="53823" y="102631"/>
                </a:cubicBezTo>
                <a:cubicBezTo>
                  <a:pt x="53823" y="102631"/>
                  <a:pt x="53235" y="103578"/>
                  <a:pt x="53235" y="103578"/>
                </a:cubicBezTo>
                <a:cubicBezTo>
                  <a:pt x="53235" y="103578"/>
                  <a:pt x="53235" y="104210"/>
                  <a:pt x="53235" y="104526"/>
                </a:cubicBezTo>
                <a:cubicBezTo>
                  <a:pt x="53235" y="104526"/>
                  <a:pt x="52647" y="104526"/>
                  <a:pt x="52352" y="104526"/>
                </a:cubicBezTo>
                <a:cubicBezTo>
                  <a:pt x="52058" y="104210"/>
                  <a:pt x="51176" y="103894"/>
                  <a:pt x="51176" y="103894"/>
                </a:cubicBezTo>
                <a:cubicBezTo>
                  <a:pt x="51176" y="102631"/>
                  <a:pt x="51176" y="102631"/>
                  <a:pt x="51176" y="102631"/>
                </a:cubicBezTo>
                <a:cubicBezTo>
                  <a:pt x="50294" y="101684"/>
                  <a:pt x="50294" y="101684"/>
                  <a:pt x="50294" y="101684"/>
                </a:cubicBezTo>
                <a:cubicBezTo>
                  <a:pt x="50588" y="100736"/>
                  <a:pt x="50588" y="100736"/>
                  <a:pt x="50588" y="100736"/>
                </a:cubicBezTo>
                <a:close/>
                <a:moveTo>
                  <a:pt x="27058" y="73263"/>
                </a:moveTo>
                <a:cubicBezTo>
                  <a:pt x="27058" y="73263"/>
                  <a:pt x="27058" y="73263"/>
                  <a:pt x="27058" y="73263"/>
                </a:cubicBezTo>
                <a:cubicBezTo>
                  <a:pt x="27058" y="73263"/>
                  <a:pt x="26470" y="73263"/>
                  <a:pt x="26470" y="73263"/>
                </a:cubicBezTo>
                <a:cubicBezTo>
                  <a:pt x="26176" y="73263"/>
                  <a:pt x="25882" y="73263"/>
                  <a:pt x="25588" y="73263"/>
                </a:cubicBezTo>
                <a:cubicBezTo>
                  <a:pt x="25294" y="73263"/>
                  <a:pt x="25588" y="73894"/>
                  <a:pt x="25588" y="74210"/>
                </a:cubicBezTo>
                <a:cubicBezTo>
                  <a:pt x="25588" y="74210"/>
                  <a:pt x="25588" y="74842"/>
                  <a:pt x="25588" y="75157"/>
                </a:cubicBezTo>
                <a:cubicBezTo>
                  <a:pt x="25294" y="75473"/>
                  <a:pt x="25000" y="75789"/>
                  <a:pt x="25000" y="76105"/>
                </a:cubicBezTo>
                <a:cubicBezTo>
                  <a:pt x="25000" y="76105"/>
                  <a:pt x="25000" y="76736"/>
                  <a:pt x="25000" y="77052"/>
                </a:cubicBezTo>
                <a:cubicBezTo>
                  <a:pt x="24705" y="77052"/>
                  <a:pt x="24117" y="77684"/>
                  <a:pt x="23823" y="77684"/>
                </a:cubicBezTo>
                <a:cubicBezTo>
                  <a:pt x="23529" y="78000"/>
                  <a:pt x="22941" y="78315"/>
                  <a:pt x="22941" y="78315"/>
                </a:cubicBezTo>
                <a:cubicBezTo>
                  <a:pt x="23529" y="79894"/>
                  <a:pt x="23529" y="79894"/>
                  <a:pt x="23529" y="79894"/>
                </a:cubicBezTo>
                <a:cubicBezTo>
                  <a:pt x="23529" y="79894"/>
                  <a:pt x="24117" y="79578"/>
                  <a:pt x="24411" y="79894"/>
                </a:cubicBezTo>
                <a:cubicBezTo>
                  <a:pt x="24705" y="80210"/>
                  <a:pt x="25588" y="80842"/>
                  <a:pt x="25882" y="80842"/>
                </a:cubicBezTo>
                <a:cubicBezTo>
                  <a:pt x="25882" y="80842"/>
                  <a:pt x="26470" y="82736"/>
                  <a:pt x="26470" y="82736"/>
                </a:cubicBezTo>
                <a:cubicBezTo>
                  <a:pt x="26764" y="83052"/>
                  <a:pt x="27058" y="82736"/>
                  <a:pt x="27058" y="82736"/>
                </a:cubicBezTo>
                <a:cubicBezTo>
                  <a:pt x="27058" y="82736"/>
                  <a:pt x="27647" y="83052"/>
                  <a:pt x="27941" y="83368"/>
                </a:cubicBezTo>
                <a:cubicBezTo>
                  <a:pt x="28235" y="83368"/>
                  <a:pt x="28823" y="83684"/>
                  <a:pt x="29117" y="84000"/>
                </a:cubicBezTo>
                <a:cubicBezTo>
                  <a:pt x="29411" y="84000"/>
                  <a:pt x="30000" y="84947"/>
                  <a:pt x="30294" y="84947"/>
                </a:cubicBezTo>
                <a:cubicBezTo>
                  <a:pt x="30588" y="85263"/>
                  <a:pt x="31176" y="85894"/>
                  <a:pt x="31176" y="85894"/>
                </a:cubicBezTo>
                <a:cubicBezTo>
                  <a:pt x="31176" y="85894"/>
                  <a:pt x="31764" y="86842"/>
                  <a:pt x="32058" y="87473"/>
                </a:cubicBezTo>
                <a:cubicBezTo>
                  <a:pt x="32058" y="87789"/>
                  <a:pt x="32058" y="87789"/>
                  <a:pt x="31764" y="88105"/>
                </a:cubicBezTo>
                <a:cubicBezTo>
                  <a:pt x="31470" y="88421"/>
                  <a:pt x="31470" y="88736"/>
                  <a:pt x="31176" y="89368"/>
                </a:cubicBezTo>
                <a:cubicBezTo>
                  <a:pt x="30882" y="90000"/>
                  <a:pt x="31470" y="90631"/>
                  <a:pt x="31470" y="90631"/>
                </a:cubicBezTo>
                <a:cubicBezTo>
                  <a:pt x="31470" y="92210"/>
                  <a:pt x="31470" y="92210"/>
                  <a:pt x="31470" y="92210"/>
                </a:cubicBezTo>
                <a:cubicBezTo>
                  <a:pt x="31764" y="92842"/>
                  <a:pt x="31764" y="92842"/>
                  <a:pt x="31764" y="92842"/>
                </a:cubicBezTo>
                <a:cubicBezTo>
                  <a:pt x="31764" y="92842"/>
                  <a:pt x="32058" y="93157"/>
                  <a:pt x="32352" y="93157"/>
                </a:cubicBezTo>
                <a:cubicBezTo>
                  <a:pt x="32647" y="93473"/>
                  <a:pt x="32647" y="93473"/>
                  <a:pt x="32647" y="93473"/>
                </a:cubicBezTo>
                <a:cubicBezTo>
                  <a:pt x="32647" y="93473"/>
                  <a:pt x="33235" y="94105"/>
                  <a:pt x="33529" y="94421"/>
                </a:cubicBezTo>
                <a:cubicBezTo>
                  <a:pt x="33529" y="94736"/>
                  <a:pt x="33235" y="95052"/>
                  <a:pt x="33235" y="95368"/>
                </a:cubicBezTo>
                <a:cubicBezTo>
                  <a:pt x="33235" y="95684"/>
                  <a:pt x="33529" y="96947"/>
                  <a:pt x="33529" y="96947"/>
                </a:cubicBezTo>
                <a:cubicBezTo>
                  <a:pt x="33529" y="96947"/>
                  <a:pt x="34117" y="96631"/>
                  <a:pt x="34705" y="96315"/>
                </a:cubicBezTo>
                <a:cubicBezTo>
                  <a:pt x="35000" y="96315"/>
                  <a:pt x="35294" y="96631"/>
                  <a:pt x="35588" y="96631"/>
                </a:cubicBezTo>
                <a:cubicBezTo>
                  <a:pt x="35882" y="96947"/>
                  <a:pt x="35882" y="97263"/>
                  <a:pt x="35882" y="97263"/>
                </a:cubicBezTo>
                <a:cubicBezTo>
                  <a:pt x="35882" y="97263"/>
                  <a:pt x="36764" y="96631"/>
                  <a:pt x="36764" y="96315"/>
                </a:cubicBezTo>
                <a:cubicBezTo>
                  <a:pt x="36764" y="96315"/>
                  <a:pt x="36764" y="95684"/>
                  <a:pt x="36764" y="95684"/>
                </a:cubicBezTo>
                <a:cubicBezTo>
                  <a:pt x="36764" y="95684"/>
                  <a:pt x="36764" y="94421"/>
                  <a:pt x="36764" y="94105"/>
                </a:cubicBezTo>
                <a:cubicBezTo>
                  <a:pt x="36764" y="93789"/>
                  <a:pt x="36470" y="92842"/>
                  <a:pt x="36470" y="92526"/>
                </a:cubicBezTo>
                <a:cubicBezTo>
                  <a:pt x="36470" y="92526"/>
                  <a:pt x="36764" y="91894"/>
                  <a:pt x="36764" y="91894"/>
                </a:cubicBezTo>
                <a:cubicBezTo>
                  <a:pt x="36764" y="91894"/>
                  <a:pt x="37647" y="91578"/>
                  <a:pt x="37941" y="91578"/>
                </a:cubicBezTo>
                <a:cubicBezTo>
                  <a:pt x="38235" y="91578"/>
                  <a:pt x="38529" y="91894"/>
                  <a:pt x="38823" y="92210"/>
                </a:cubicBezTo>
                <a:cubicBezTo>
                  <a:pt x="38823" y="92526"/>
                  <a:pt x="38823" y="93789"/>
                  <a:pt x="38823" y="93789"/>
                </a:cubicBezTo>
                <a:cubicBezTo>
                  <a:pt x="40588" y="94105"/>
                  <a:pt x="40588" y="94105"/>
                  <a:pt x="40588" y="94105"/>
                </a:cubicBezTo>
                <a:cubicBezTo>
                  <a:pt x="40588" y="94105"/>
                  <a:pt x="41176" y="94421"/>
                  <a:pt x="41176" y="94421"/>
                </a:cubicBezTo>
                <a:cubicBezTo>
                  <a:pt x="41176" y="94736"/>
                  <a:pt x="41470" y="95368"/>
                  <a:pt x="41764" y="95684"/>
                </a:cubicBezTo>
                <a:cubicBezTo>
                  <a:pt x="42058" y="96000"/>
                  <a:pt x="42352" y="96315"/>
                  <a:pt x="42352" y="96315"/>
                </a:cubicBezTo>
                <a:cubicBezTo>
                  <a:pt x="42352" y="96315"/>
                  <a:pt x="42941" y="97894"/>
                  <a:pt x="43235" y="98210"/>
                </a:cubicBezTo>
                <a:cubicBezTo>
                  <a:pt x="43235" y="98526"/>
                  <a:pt x="43235" y="99157"/>
                  <a:pt x="43235" y="99789"/>
                </a:cubicBezTo>
                <a:cubicBezTo>
                  <a:pt x="43235" y="100421"/>
                  <a:pt x="43235" y="100421"/>
                  <a:pt x="43235" y="100421"/>
                </a:cubicBezTo>
                <a:cubicBezTo>
                  <a:pt x="43235" y="100421"/>
                  <a:pt x="44117" y="100736"/>
                  <a:pt x="44411" y="101052"/>
                </a:cubicBezTo>
                <a:cubicBezTo>
                  <a:pt x="45000" y="101368"/>
                  <a:pt x="44705" y="101052"/>
                  <a:pt x="45000" y="100736"/>
                </a:cubicBezTo>
                <a:cubicBezTo>
                  <a:pt x="45294" y="100421"/>
                  <a:pt x="45000" y="100105"/>
                  <a:pt x="45000" y="99789"/>
                </a:cubicBezTo>
                <a:cubicBezTo>
                  <a:pt x="45000" y="99473"/>
                  <a:pt x="45000" y="98842"/>
                  <a:pt x="44705" y="98210"/>
                </a:cubicBezTo>
                <a:cubicBezTo>
                  <a:pt x="44705" y="97894"/>
                  <a:pt x="44705" y="97578"/>
                  <a:pt x="44705" y="97578"/>
                </a:cubicBezTo>
                <a:cubicBezTo>
                  <a:pt x="44705" y="97578"/>
                  <a:pt x="45000" y="96947"/>
                  <a:pt x="45000" y="96631"/>
                </a:cubicBezTo>
                <a:cubicBezTo>
                  <a:pt x="45000" y="96631"/>
                  <a:pt x="45000" y="96000"/>
                  <a:pt x="45000" y="95684"/>
                </a:cubicBezTo>
                <a:cubicBezTo>
                  <a:pt x="45000" y="95368"/>
                  <a:pt x="45588" y="95052"/>
                  <a:pt x="45588" y="95052"/>
                </a:cubicBezTo>
                <a:cubicBezTo>
                  <a:pt x="45588" y="95052"/>
                  <a:pt x="45588" y="94736"/>
                  <a:pt x="45882" y="94105"/>
                </a:cubicBezTo>
                <a:cubicBezTo>
                  <a:pt x="46176" y="93789"/>
                  <a:pt x="45882" y="94105"/>
                  <a:pt x="46176" y="94105"/>
                </a:cubicBezTo>
                <a:cubicBezTo>
                  <a:pt x="46470" y="93789"/>
                  <a:pt x="46764" y="93789"/>
                  <a:pt x="47352" y="93789"/>
                </a:cubicBezTo>
                <a:cubicBezTo>
                  <a:pt x="47647" y="93789"/>
                  <a:pt x="47941" y="94105"/>
                  <a:pt x="47941" y="94105"/>
                </a:cubicBezTo>
                <a:cubicBezTo>
                  <a:pt x="48529" y="95052"/>
                  <a:pt x="48529" y="95052"/>
                  <a:pt x="48529" y="95052"/>
                </a:cubicBezTo>
                <a:cubicBezTo>
                  <a:pt x="48529" y="95052"/>
                  <a:pt x="48529" y="95052"/>
                  <a:pt x="48529" y="95368"/>
                </a:cubicBezTo>
                <a:cubicBezTo>
                  <a:pt x="48529" y="95684"/>
                  <a:pt x="49117" y="96315"/>
                  <a:pt x="49117" y="96315"/>
                </a:cubicBezTo>
                <a:cubicBezTo>
                  <a:pt x="50294" y="97263"/>
                  <a:pt x="50294" y="97263"/>
                  <a:pt x="50294" y="97263"/>
                </a:cubicBezTo>
                <a:cubicBezTo>
                  <a:pt x="50294" y="97263"/>
                  <a:pt x="50294" y="97578"/>
                  <a:pt x="50294" y="97578"/>
                </a:cubicBezTo>
                <a:cubicBezTo>
                  <a:pt x="50294" y="97894"/>
                  <a:pt x="50588" y="98526"/>
                  <a:pt x="50882" y="98842"/>
                </a:cubicBezTo>
                <a:cubicBezTo>
                  <a:pt x="51176" y="99473"/>
                  <a:pt x="50882" y="98526"/>
                  <a:pt x="51176" y="98526"/>
                </a:cubicBezTo>
                <a:cubicBezTo>
                  <a:pt x="51176" y="98210"/>
                  <a:pt x="51470" y="97894"/>
                  <a:pt x="51470" y="97894"/>
                </a:cubicBezTo>
                <a:cubicBezTo>
                  <a:pt x="52058" y="98842"/>
                  <a:pt x="52058" y="98842"/>
                  <a:pt x="52058" y="98842"/>
                </a:cubicBezTo>
                <a:cubicBezTo>
                  <a:pt x="52058" y="98842"/>
                  <a:pt x="53235" y="99157"/>
                  <a:pt x="53529" y="99157"/>
                </a:cubicBezTo>
                <a:cubicBezTo>
                  <a:pt x="53823" y="98842"/>
                  <a:pt x="54117" y="98526"/>
                  <a:pt x="54117" y="98526"/>
                </a:cubicBezTo>
                <a:cubicBezTo>
                  <a:pt x="53529" y="97894"/>
                  <a:pt x="53529" y="97894"/>
                  <a:pt x="53529" y="97894"/>
                </a:cubicBezTo>
                <a:cubicBezTo>
                  <a:pt x="52941" y="96947"/>
                  <a:pt x="52941" y="96947"/>
                  <a:pt x="52941" y="96947"/>
                </a:cubicBezTo>
                <a:cubicBezTo>
                  <a:pt x="52941" y="96947"/>
                  <a:pt x="52058" y="96000"/>
                  <a:pt x="51764" y="96000"/>
                </a:cubicBezTo>
                <a:cubicBezTo>
                  <a:pt x="51470" y="95684"/>
                  <a:pt x="51176" y="95368"/>
                  <a:pt x="51176" y="95052"/>
                </a:cubicBezTo>
                <a:cubicBezTo>
                  <a:pt x="50882" y="94736"/>
                  <a:pt x="50882" y="94105"/>
                  <a:pt x="50882" y="94105"/>
                </a:cubicBezTo>
                <a:cubicBezTo>
                  <a:pt x="51176" y="93789"/>
                  <a:pt x="51176" y="93157"/>
                  <a:pt x="51470" y="92526"/>
                </a:cubicBezTo>
                <a:cubicBezTo>
                  <a:pt x="51764" y="91894"/>
                  <a:pt x="51176" y="92526"/>
                  <a:pt x="51176" y="92526"/>
                </a:cubicBezTo>
                <a:cubicBezTo>
                  <a:pt x="51176" y="92526"/>
                  <a:pt x="50588" y="91578"/>
                  <a:pt x="50882" y="91263"/>
                </a:cubicBezTo>
                <a:cubicBezTo>
                  <a:pt x="50882" y="91263"/>
                  <a:pt x="49705" y="89368"/>
                  <a:pt x="49705" y="89368"/>
                </a:cubicBezTo>
                <a:cubicBezTo>
                  <a:pt x="49705" y="89368"/>
                  <a:pt x="49411" y="88736"/>
                  <a:pt x="49411" y="88736"/>
                </a:cubicBezTo>
                <a:cubicBezTo>
                  <a:pt x="49411" y="88736"/>
                  <a:pt x="48529" y="88105"/>
                  <a:pt x="48235" y="88105"/>
                </a:cubicBezTo>
                <a:cubicBezTo>
                  <a:pt x="47941" y="87789"/>
                  <a:pt x="47647" y="87473"/>
                  <a:pt x="47647" y="87473"/>
                </a:cubicBezTo>
                <a:cubicBezTo>
                  <a:pt x="47647" y="87157"/>
                  <a:pt x="47647" y="86526"/>
                  <a:pt x="47647" y="86210"/>
                </a:cubicBezTo>
                <a:cubicBezTo>
                  <a:pt x="47352" y="85894"/>
                  <a:pt x="47058" y="85263"/>
                  <a:pt x="46764" y="84947"/>
                </a:cubicBezTo>
                <a:cubicBezTo>
                  <a:pt x="46470" y="84631"/>
                  <a:pt x="46176" y="84000"/>
                  <a:pt x="45882" y="83368"/>
                </a:cubicBezTo>
                <a:cubicBezTo>
                  <a:pt x="45588" y="83052"/>
                  <a:pt x="45294" y="82421"/>
                  <a:pt x="45294" y="82421"/>
                </a:cubicBezTo>
                <a:cubicBezTo>
                  <a:pt x="45000" y="81157"/>
                  <a:pt x="45000" y="81157"/>
                  <a:pt x="45000" y="81157"/>
                </a:cubicBezTo>
                <a:cubicBezTo>
                  <a:pt x="45000" y="80526"/>
                  <a:pt x="45000" y="80526"/>
                  <a:pt x="45000" y="80526"/>
                </a:cubicBezTo>
                <a:cubicBezTo>
                  <a:pt x="45882" y="81157"/>
                  <a:pt x="45882" y="81157"/>
                  <a:pt x="45882" y="81157"/>
                </a:cubicBezTo>
                <a:cubicBezTo>
                  <a:pt x="45882" y="81157"/>
                  <a:pt x="46470" y="80842"/>
                  <a:pt x="46764" y="80842"/>
                </a:cubicBezTo>
                <a:cubicBezTo>
                  <a:pt x="47058" y="80842"/>
                  <a:pt x="47941" y="81157"/>
                  <a:pt x="47941" y="81157"/>
                </a:cubicBezTo>
                <a:cubicBezTo>
                  <a:pt x="47941" y="81157"/>
                  <a:pt x="48529" y="81473"/>
                  <a:pt x="48823" y="81473"/>
                </a:cubicBezTo>
                <a:cubicBezTo>
                  <a:pt x="48823" y="81473"/>
                  <a:pt x="49117" y="81789"/>
                  <a:pt x="49411" y="81473"/>
                </a:cubicBezTo>
                <a:cubicBezTo>
                  <a:pt x="49705" y="81473"/>
                  <a:pt x="50000" y="82105"/>
                  <a:pt x="50000" y="82421"/>
                </a:cubicBezTo>
                <a:cubicBezTo>
                  <a:pt x="50000" y="82736"/>
                  <a:pt x="49705" y="83052"/>
                  <a:pt x="49705" y="83052"/>
                </a:cubicBezTo>
                <a:cubicBezTo>
                  <a:pt x="49705" y="83368"/>
                  <a:pt x="49705" y="83684"/>
                  <a:pt x="49705" y="83684"/>
                </a:cubicBezTo>
                <a:cubicBezTo>
                  <a:pt x="49705" y="83684"/>
                  <a:pt x="50294" y="84000"/>
                  <a:pt x="50588" y="84000"/>
                </a:cubicBezTo>
                <a:cubicBezTo>
                  <a:pt x="50588" y="84315"/>
                  <a:pt x="50294" y="84631"/>
                  <a:pt x="50294" y="84631"/>
                </a:cubicBezTo>
                <a:cubicBezTo>
                  <a:pt x="50294" y="84631"/>
                  <a:pt x="50294" y="85263"/>
                  <a:pt x="50294" y="85578"/>
                </a:cubicBezTo>
                <a:cubicBezTo>
                  <a:pt x="50588" y="85578"/>
                  <a:pt x="50882" y="84947"/>
                  <a:pt x="50882" y="84947"/>
                </a:cubicBezTo>
                <a:cubicBezTo>
                  <a:pt x="50882" y="84947"/>
                  <a:pt x="51176" y="84315"/>
                  <a:pt x="51176" y="84000"/>
                </a:cubicBezTo>
                <a:cubicBezTo>
                  <a:pt x="51176" y="83684"/>
                  <a:pt x="51764" y="83368"/>
                  <a:pt x="51764" y="83368"/>
                </a:cubicBezTo>
                <a:cubicBezTo>
                  <a:pt x="52352" y="82105"/>
                  <a:pt x="52352" y="82105"/>
                  <a:pt x="52352" y="82105"/>
                </a:cubicBezTo>
                <a:cubicBezTo>
                  <a:pt x="52941" y="81473"/>
                  <a:pt x="52941" y="81473"/>
                  <a:pt x="52941" y="81473"/>
                </a:cubicBezTo>
                <a:cubicBezTo>
                  <a:pt x="52941" y="81473"/>
                  <a:pt x="54117" y="81157"/>
                  <a:pt x="54411" y="80842"/>
                </a:cubicBezTo>
                <a:cubicBezTo>
                  <a:pt x="54705" y="80526"/>
                  <a:pt x="54705" y="80842"/>
                  <a:pt x="54705" y="80526"/>
                </a:cubicBezTo>
                <a:cubicBezTo>
                  <a:pt x="55000" y="80526"/>
                  <a:pt x="55000" y="79894"/>
                  <a:pt x="55000" y="79894"/>
                </a:cubicBezTo>
                <a:cubicBezTo>
                  <a:pt x="54411" y="79263"/>
                  <a:pt x="54411" y="79263"/>
                  <a:pt x="54411" y="79263"/>
                </a:cubicBezTo>
                <a:cubicBezTo>
                  <a:pt x="53235" y="79578"/>
                  <a:pt x="53235" y="79578"/>
                  <a:pt x="53235" y="79578"/>
                </a:cubicBezTo>
                <a:cubicBezTo>
                  <a:pt x="52941" y="78947"/>
                  <a:pt x="52941" y="78947"/>
                  <a:pt x="52941" y="78947"/>
                </a:cubicBezTo>
                <a:cubicBezTo>
                  <a:pt x="52941" y="78947"/>
                  <a:pt x="52941" y="78947"/>
                  <a:pt x="53235" y="78947"/>
                </a:cubicBezTo>
                <a:cubicBezTo>
                  <a:pt x="53235" y="78947"/>
                  <a:pt x="53235" y="77684"/>
                  <a:pt x="53235" y="77684"/>
                </a:cubicBezTo>
                <a:cubicBezTo>
                  <a:pt x="53235" y="77684"/>
                  <a:pt x="52647" y="78000"/>
                  <a:pt x="52352" y="78000"/>
                </a:cubicBezTo>
                <a:cubicBezTo>
                  <a:pt x="52058" y="78000"/>
                  <a:pt x="52352" y="78947"/>
                  <a:pt x="52352" y="78947"/>
                </a:cubicBezTo>
                <a:cubicBezTo>
                  <a:pt x="52352" y="78947"/>
                  <a:pt x="50882" y="78631"/>
                  <a:pt x="50588" y="78631"/>
                </a:cubicBezTo>
                <a:cubicBezTo>
                  <a:pt x="50294" y="78315"/>
                  <a:pt x="50294" y="78000"/>
                  <a:pt x="50294" y="78000"/>
                </a:cubicBezTo>
                <a:cubicBezTo>
                  <a:pt x="50000" y="77684"/>
                  <a:pt x="50588" y="76736"/>
                  <a:pt x="50588" y="76736"/>
                </a:cubicBezTo>
                <a:cubicBezTo>
                  <a:pt x="50882" y="75473"/>
                  <a:pt x="50882" y="75473"/>
                  <a:pt x="50882" y="75473"/>
                </a:cubicBezTo>
                <a:cubicBezTo>
                  <a:pt x="50882" y="75473"/>
                  <a:pt x="49411" y="75157"/>
                  <a:pt x="49411" y="74842"/>
                </a:cubicBezTo>
                <a:cubicBezTo>
                  <a:pt x="49411" y="74526"/>
                  <a:pt x="47941" y="75473"/>
                  <a:pt x="47352" y="74842"/>
                </a:cubicBezTo>
                <a:cubicBezTo>
                  <a:pt x="47058" y="74210"/>
                  <a:pt x="47058" y="74210"/>
                  <a:pt x="47058" y="74210"/>
                </a:cubicBezTo>
                <a:cubicBezTo>
                  <a:pt x="46470" y="73578"/>
                  <a:pt x="46470" y="73578"/>
                  <a:pt x="46470" y="73578"/>
                </a:cubicBezTo>
                <a:cubicBezTo>
                  <a:pt x="45882" y="73578"/>
                  <a:pt x="45882" y="73578"/>
                  <a:pt x="45882" y="73578"/>
                </a:cubicBezTo>
                <a:cubicBezTo>
                  <a:pt x="45882" y="73578"/>
                  <a:pt x="45000" y="73894"/>
                  <a:pt x="44705" y="73894"/>
                </a:cubicBezTo>
                <a:cubicBezTo>
                  <a:pt x="44411" y="73894"/>
                  <a:pt x="44411" y="73263"/>
                  <a:pt x="44411" y="73263"/>
                </a:cubicBezTo>
                <a:cubicBezTo>
                  <a:pt x="42941" y="72631"/>
                  <a:pt x="42941" y="72631"/>
                  <a:pt x="42941" y="72631"/>
                </a:cubicBezTo>
                <a:cubicBezTo>
                  <a:pt x="41470" y="72315"/>
                  <a:pt x="41470" y="72315"/>
                  <a:pt x="41470" y="72315"/>
                </a:cubicBezTo>
                <a:cubicBezTo>
                  <a:pt x="41470" y="72315"/>
                  <a:pt x="39705" y="72000"/>
                  <a:pt x="39117" y="71684"/>
                </a:cubicBezTo>
                <a:cubicBezTo>
                  <a:pt x="38823" y="71684"/>
                  <a:pt x="37352" y="71368"/>
                  <a:pt x="36764" y="71368"/>
                </a:cubicBezTo>
                <a:cubicBezTo>
                  <a:pt x="36176" y="71368"/>
                  <a:pt x="35588" y="71368"/>
                  <a:pt x="35000" y="71052"/>
                </a:cubicBezTo>
                <a:cubicBezTo>
                  <a:pt x="34705" y="70736"/>
                  <a:pt x="33823" y="70421"/>
                  <a:pt x="33823" y="70421"/>
                </a:cubicBezTo>
                <a:cubicBezTo>
                  <a:pt x="33823" y="70421"/>
                  <a:pt x="32058" y="69789"/>
                  <a:pt x="32058" y="69789"/>
                </a:cubicBezTo>
                <a:cubicBezTo>
                  <a:pt x="31764" y="69789"/>
                  <a:pt x="31470" y="69789"/>
                  <a:pt x="31470" y="69789"/>
                </a:cubicBezTo>
                <a:cubicBezTo>
                  <a:pt x="31176" y="69789"/>
                  <a:pt x="30588" y="70736"/>
                  <a:pt x="30000" y="71052"/>
                </a:cubicBezTo>
                <a:cubicBezTo>
                  <a:pt x="29705" y="71052"/>
                  <a:pt x="29705" y="72000"/>
                  <a:pt x="29411" y="72315"/>
                </a:cubicBezTo>
                <a:cubicBezTo>
                  <a:pt x="29411" y="72947"/>
                  <a:pt x="29117" y="73263"/>
                  <a:pt x="28823" y="73263"/>
                </a:cubicBezTo>
                <a:cubicBezTo>
                  <a:pt x="28823" y="73578"/>
                  <a:pt x="27058" y="72947"/>
                  <a:pt x="27058" y="73263"/>
                </a:cubicBezTo>
                <a:close/>
                <a:moveTo>
                  <a:pt x="17647" y="79578"/>
                </a:moveTo>
                <a:cubicBezTo>
                  <a:pt x="17647" y="79578"/>
                  <a:pt x="17647" y="79578"/>
                  <a:pt x="17647" y="79578"/>
                </a:cubicBezTo>
                <a:cubicBezTo>
                  <a:pt x="17647" y="79578"/>
                  <a:pt x="18235" y="79263"/>
                  <a:pt x="18235" y="79578"/>
                </a:cubicBezTo>
                <a:cubicBezTo>
                  <a:pt x="18235" y="79578"/>
                  <a:pt x="18529" y="79894"/>
                  <a:pt x="18529" y="80210"/>
                </a:cubicBezTo>
                <a:cubicBezTo>
                  <a:pt x="18823" y="80210"/>
                  <a:pt x="19411" y="80842"/>
                  <a:pt x="19705" y="80842"/>
                </a:cubicBezTo>
                <a:cubicBezTo>
                  <a:pt x="20000" y="80842"/>
                  <a:pt x="20882" y="80842"/>
                  <a:pt x="20882" y="80842"/>
                </a:cubicBezTo>
                <a:cubicBezTo>
                  <a:pt x="21764" y="81789"/>
                  <a:pt x="21764" y="81789"/>
                  <a:pt x="21764" y="81789"/>
                </a:cubicBezTo>
                <a:cubicBezTo>
                  <a:pt x="21764" y="81789"/>
                  <a:pt x="22647" y="82105"/>
                  <a:pt x="22647" y="82421"/>
                </a:cubicBezTo>
                <a:cubicBezTo>
                  <a:pt x="22647" y="82421"/>
                  <a:pt x="21176" y="83368"/>
                  <a:pt x="21176" y="83368"/>
                </a:cubicBezTo>
                <a:cubicBezTo>
                  <a:pt x="20882" y="83684"/>
                  <a:pt x="20882" y="83684"/>
                  <a:pt x="20882" y="83684"/>
                </a:cubicBezTo>
                <a:cubicBezTo>
                  <a:pt x="20882" y="83684"/>
                  <a:pt x="20882" y="84315"/>
                  <a:pt x="20294" y="84000"/>
                </a:cubicBezTo>
                <a:cubicBezTo>
                  <a:pt x="20000" y="84000"/>
                  <a:pt x="19705" y="84000"/>
                  <a:pt x="19411" y="83684"/>
                </a:cubicBezTo>
                <a:cubicBezTo>
                  <a:pt x="19411" y="83368"/>
                  <a:pt x="19411" y="83368"/>
                  <a:pt x="19117" y="83052"/>
                </a:cubicBezTo>
                <a:cubicBezTo>
                  <a:pt x="18529" y="82736"/>
                  <a:pt x="17352" y="81789"/>
                  <a:pt x="17352" y="81789"/>
                </a:cubicBezTo>
                <a:cubicBezTo>
                  <a:pt x="17352" y="80842"/>
                  <a:pt x="17352" y="80842"/>
                  <a:pt x="17352" y="80842"/>
                </a:cubicBezTo>
                <a:cubicBezTo>
                  <a:pt x="17352" y="80210"/>
                  <a:pt x="17352" y="80210"/>
                  <a:pt x="17352" y="80210"/>
                </a:cubicBezTo>
                <a:cubicBezTo>
                  <a:pt x="17647" y="79578"/>
                  <a:pt x="17647" y="79578"/>
                  <a:pt x="17647" y="79578"/>
                </a:cubicBezTo>
                <a:close/>
                <a:moveTo>
                  <a:pt x="14117" y="73894"/>
                </a:moveTo>
                <a:cubicBezTo>
                  <a:pt x="14117" y="73894"/>
                  <a:pt x="14117" y="73894"/>
                  <a:pt x="14117" y="73894"/>
                </a:cubicBezTo>
                <a:cubicBezTo>
                  <a:pt x="13235" y="72631"/>
                  <a:pt x="13235" y="72631"/>
                  <a:pt x="13235" y="72631"/>
                </a:cubicBezTo>
                <a:cubicBezTo>
                  <a:pt x="12647" y="73894"/>
                  <a:pt x="12647" y="73894"/>
                  <a:pt x="12647" y="73894"/>
                </a:cubicBezTo>
                <a:cubicBezTo>
                  <a:pt x="12352" y="75157"/>
                  <a:pt x="12352" y="75157"/>
                  <a:pt x="12352" y="75157"/>
                </a:cubicBezTo>
                <a:cubicBezTo>
                  <a:pt x="13235" y="75789"/>
                  <a:pt x="13235" y="75789"/>
                  <a:pt x="13235" y="75789"/>
                </a:cubicBezTo>
                <a:cubicBezTo>
                  <a:pt x="13529" y="75789"/>
                  <a:pt x="13529" y="75789"/>
                  <a:pt x="13529" y="75789"/>
                </a:cubicBezTo>
                <a:cubicBezTo>
                  <a:pt x="14117" y="74842"/>
                  <a:pt x="14117" y="74842"/>
                  <a:pt x="14117" y="74842"/>
                </a:cubicBezTo>
                <a:cubicBezTo>
                  <a:pt x="14705" y="75789"/>
                  <a:pt x="14705" y="75789"/>
                  <a:pt x="14705" y="75789"/>
                </a:cubicBezTo>
                <a:cubicBezTo>
                  <a:pt x="15294" y="77052"/>
                  <a:pt x="15294" y="77052"/>
                  <a:pt x="15294" y="77052"/>
                </a:cubicBezTo>
                <a:cubicBezTo>
                  <a:pt x="15294" y="77052"/>
                  <a:pt x="15882" y="76421"/>
                  <a:pt x="16176" y="76105"/>
                </a:cubicBezTo>
                <a:cubicBezTo>
                  <a:pt x="16470" y="76105"/>
                  <a:pt x="17647" y="77052"/>
                  <a:pt x="17647" y="77052"/>
                </a:cubicBezTo>
                <a:cubicBezTo>
                  <a:pt x="17647" y="77052"/>
                  <a:pt x="18823" y="76421"/>
                  <a:pt x="19117" y="76421"/>
                </a:cubicBezTo>
                <a:cubicBezTo>
                  <a:pt x="19411" y="76421"/>
                  <a:pt x="18529" y="75473"/>
                  <a:pt x="18529" y="75473"/>
                </a:cubicBezTo>
                <a:cubicBezTo>
                  <a:pt x="17647" y="74526"/>
                  <a:pt x="17647" y="74526"/>
                  <a:pt x="17647" y="74526"/>
                </a:cubicBezTo>
                <a:cubicBezTo>
                  <a:pt x="17058" y="73894"/>
                  <a:pt x="17058" y="73894"/>
                  <a:pt x="17058" y="73894"/>
                </a:cubicBezTo>
                <a:cubicBezTo>
                  <a:pt x="15882" y="73263"/>
                  <a:pt x="15882" y="73263"/>
                  <a:pt x="15882" y="73263"/>
                </a:cubicBezTo>
                <a:cubicBezTo>
                  <a:pt x="15882" y="72947"/>
                  <a:pt x="15882" y="72947"/>
                  <a:pt x="15882" y="72947"/>
                </a:cubicBezTo>
                <a:cubicBezTo>
                  <a:pt x="16176" y="72315"/>
                  <a:pt x="16176" y="72315"/>
                  <a:pt x="16176" y="72315"/>
                </a:cubicBezTo>
                <a:cubicBezTo>
                  <a:pt x="16176" y="72315"/>
                  <a:pt x="16176" y="72947"/>
                  <a:pt x="16764" y="72631"/>
                </a:cubicBezTo>
                <a:cubicBezTo>
                  <a:pt x="17352" y="72631"/>
                  <a:pt x="17352" y="72631"/>
                  <a:pt x="17352" y="72315"/>
                </a:cubicBezTo>
                <a:cubicBezTo>
                  <a:pt x="17647" y="72315"/>
                  <a:pt x="17352" y="72000"/>
                  <a:pt x="17352" y="72000"/>
                </a:cubicBezTo>
                <a:cubicBezTo>
                  <a:pt x="16470" y="71368"/>
                  <a:pt x="16470" y="71368"/>
                  <a:pt x="16470" y="71368"/>
                </a:cubicBezTo>
                <a:cubicBezTo>
                  <a:pt x="16764" y="70421"/>
                  <a:pt x="16764" y="70421"/>
                  <a:pt x="16764" y="70421"/>
                </a:cubicBezTo>
                <a:cubicBezTo>
                  <a:pt x="15882" y="69789"/>
                  <a:pt x="15882" y="69789"/>
                  <a:pt x="15882" y="69789"/>
                </a:cubicBezTo>
                <a:cubicBezTo>
                  <a:pt x="15588" y="70736"/>
                  <a:pt x="15588" y="70736"/>
                  <a:pt x="15588" y="70736"/>
                </a:cubicBezTo>
                <a:cubicBezTo>
                  <a:pt x="14705" y="70421"/>
                  <a:pt x="14705" y="70421"/>
                  <a:pt x="14705" y="70421"/>
                </a:cubicBezTo>
                <a:cubicBezTo>
                  <a:pt x="14705" y="70421"/>
                  <a:pt x="14411" y="71052"/>
                  <a:pt x="14411" y="71052"/>
                </a:cubicBezTo>
                <a:cubicBezTo>
                  <a:pt x="14411" y="71368"/>
                  <a:pt x="14705" y="72315"/>
                  <a:pt x="14705" y="72315"/>
                </a:cubicBezTo>
                <a:cubicBezTo>
                  <a:pt x="14117" y="73894"/>
                  <a:pt x="14117" y="73894"/>
                  <a:pt x="14117" y="73894"/>
                </a:cubicBezTo>
                <a:close/>
                <a:moveTo>
                  <a:pt x="3235" y="50842"/>
                </a:moveTo>
                <a:cubicBezTo>
                  <a:pt x="3235" y="50842"/>
                  <a:pt x="3235" y="50842"/>
                  <a:pt x="3235" y="50842"/>
                </a:cubicBezTo>
                <a:cubicBezTo>
                  <a:pt x="2647" y="50842"/>
                  <a:pt x="2647" y="50842"/>
                  <a:pt x="2647" y="50842"/>
                </a:cubicBezTo>
                <a:cubicBezTo>
                  <a:pt x="2647" y="50842"/>
                  <a:pt x="2647" y="51157"/>
                  <a:pt x="2941" y="51473"/>
                </a:cubicBezTo>
                <a:cubicBezTo>
                  <a:pt x="3235" y="51789"/>
                  <a:pt x="3823" y="53684"/>
                  <a:pt x="3823" y="53684"/>
                </a:cubicBezTo>
                <a:cubicBezTo>
                  <a:pt x="4411" y="54000"/>
                  <a:pt x="4411" y="54000"/>
                  <a:pt x="4411" y="54000"/>
                </a:cubicBezTo>
                <a:cubicBezTo>
                  <a:pt x="5588" y="54631"/>
                  <a:pt x="5588" y="54631"/>
                  <a:pt x="5588" y="54631"/>
                </a:cubicBezTo>
                <a:cubicBezTo>
                  <a:pt x="6470" y="55578"/>
                  <a:pt x="6470" y="55578"/>
                  <a:pt x="6470" y="55578"/>
                </a:cubicBezTo>
                <a:cubicBezTo>
                  <a:pt x="6470" y="55578"/>
                  <a:pt x="7058" y="56526"/>
                  <a:pt x="6176" y="56210"/>
                </a:cubicBezTo>
                <a:cubicBezTo>
                  <a:pt x="5294" y="55894"/>
                  <a:pt x="4411" y="55263"/>
                  <a:pt x="4117" y="54947"/>
                </a:cubicBezTo>
                <a:cubicBezTo>
                  <a:pt x="3529" y="54947"/>
                  <a:pt x="2941" y="54631"/>
                  <a:pt x="2941" y="54631"/>
                </a:cubicBezTo>
                <a:cubicBezTo>
                  <a:pt x="2941" y="54631"/>
                  <a:pt x="2647" y="53052"/>
                  <a:pt x="2647" y="52736"/>
                </a:cubicBezTo>
                <a:cubicBezTo>
                  <a:pt x="2352" y="52736"/>
                  <a:pt x="1764" y="52421"/>
                  <a:pt x="1764" y="52421"/>
                </a:cubicBezTo>
                <a:cubicBezTo>
                  <a:pt x="0" y="51473"/>
                  <a:pt x="0" y="51473"/>
                  <a:pt x="0" y="51473"/>
                </a:cubicBezTo>
                <a:cubicBezTo>
                  <a:pt x="0" y="51473"/>
                  <a:pt x="0" y="50210"/>
                  <a:pt x="294" y="49894"/>
                </a:cubicBezTo>
                <a:cubicBezTo>
                  <a:pt x="294" y="49894"/>
                  <a:pt x="294" y="49263"/>
                  <a:pt x="882" y="49263"/>
                </a:cubicBezTo>
                <a:cubicBezTo>
                  <a:pt x="1176" y="48947"/>
                  <a:pt x="2058" y="48947"/>
                  <a:pt x="2058" y="48947"/>
                </a:cubicBezTo>
                <a:cubicBezTo>
                  <a:pt x="2058" y="48947"/>
                  <a:pt x="2058" y="48000"/>
                  <a:pt x="2352" y="48315"/>
                </a:cubicBezTo>
                <a:cubicBezTo>
                  <a:pt x="2647" y="48631"/>
                  <a:pt x="3235" y="49578"/>
                  <a:pt x="3235" y="49578"/>
                </a:cubicBezTo>
                <a:lnTo>
                  <a:pt x="3235" y="50842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3053;p256">
            <a:extLst>
              <a:ext uri="{FF2B5EF4-FFF2-40B4-BE49-F238E27FC236}">
                <a16:creationId xmlns:a16="http://schemas.microsoft.com/office/drawing/2014/main" id="{E3387222-7A5F-0477-8153-0DA3EAB2F9CC}"/>
              </a:ext>
            </a:extLst>
          </p:cNvPr>
          <p:cNvSpPr/>
          <p:nvPr/>
        </p:nvSpPr>
        <p:spPr>
          <a:xfrm>
            <a:off x="11088798" y="4516303"/>
            <a:ext cx="2908869" cy="151660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9874" y="22482"/>
                </a:moveTo>
                <a:cubicBezTo>
                  <a:pt x="108362" y="23606"/>
                  <a:pt x="108362" y="23606"/>
                  <a:pt x="108362" y="23606"/>
                </a:cubicBezTo>
                <a:cubicBezTo>
                  <a:pt x="108362" y="24168"/>
                  <a:pt x="108362" y="24168"/>
                  <a:pt x="108362" y="24168"/>
                </a:cubicBezTo>
                <a:cubicBezTo>
                  <a:pt x="109269" y="26135"/>
                  <a:pt x="109269" y="26135"/>
                  <a:pt x="109269" y="26135"/>
                </a:cubicBezTo>
                <a:cubicBezTo>
                  <a:pt x="110176" y="26697"/>
                  <a:pt x="110176" y="26697"/>
                  <a:pt x="110176" y="26697"/>
                </a:cubicBezTo>
                <a:cubicBezTo>
                  <a:pt x="110780" y="29508"/>
                  <a:pt x="110780" y="29508"/>
                  <a:pt x="110780" y="29508"/>
                </a:cubicBezTo>
                <a:cubicBezTo>
                  <a:pt x="112141" y="32599"/>
                  <a:pt x="112141" y="32599"/>
                  <a:pt x="112141" y="32599"/>
                </a:cubicBezTo>
                <a:cubicBezTo>
                  <a:pt x="113047" y="36252"/>
                  <a:pt x="113047" y="36252"/>
                  <a:pt x="113047" y="36252"/>
                </a:cubicBezTo>
                <a:cubicBezTo>
                  <a:pt x="114256" y="36533"/>
                  <a:pt x="114256" y="36533"/>
                  <a:pt x="114256" y="36533"/>
                </a:cubicBezTo>
                <a:cubicBezTo>
                  <a:pt x="114559" y="37939"/>
                  <a:pt x="114256" y="35971"/>
                  <a:pt x="114256" y="38220"/>
                </a:cubicBezTo>
                <a:cubicBezTo>
                  <a:pt x="113954" y="41592"/>
                  <a:pt x="113803" y="39344"/>
                  <a:pt x="114256" y="43278"/>
                </a:cubicBezTo>
                <a:cubicBezTo>
                  <a:pt x="114256" y="44402"/>
                  <a:pt x="116523" y="43840"/>
                  <a:pt x="116675" y="43840"/>
                </a:cubicBezTo>
                <a:cubicBezTo>
                  <a:pt x="116523" y="44121"/>
                  <a:pt x="117430" y="44964"/>
                  <a:pt x="117128" y="46370"/>
                </a:cubicBezTo>
                <a:cubicBezTo>
                  <a:pt x="116826" y="47494"/>
                  <a:pt x="118337" y="46932"/>
                  <a:pt x="117884" y="48618"/>
                </a:cubicBezTo>
                <a:cubicBezTo>
                  <a:pt x="117732" y="49180"/>
                  <a:pt x="118942" y="48618"/>
                  <a:pt x="119546" y="49180"/>
                </a:cubicBezTo>
                <a:cubicBezTo>
                  <a:pt x="120000" y="49461"/>
                  <a:pt x="120000" y="50866"/>
                  <a:pt x="119848" y="51147"/>
                </a:cubicBezTo>
                <a:cubicBezTo>
                  <a:pt x="119546" y="51990"/>
                  <a:pt x="119395" y="51428"/>
                  <a:pt x="118790" y="52552"/>
                </a:cubicBezTo>
                <a:cubicBezTo>
                  <a:pt x="117884" y="53676"/>
                  <a:pt x="118337" y="54519"/>
                  <a:pt x="118337" y="54800"/>
                </a:cubicBezTo>
                <a:cubicBezTo>
                  <a:pt x="118186" y="55644"/>
                  <a:pt x="117884" y="55925"/>
                  <a:pt x="117732" y="56206"/>
                </a:cubicBezTo>
                <a:cubicBezTo>
                  <a:pt x="116675" y="55081"/>
                  <a:pt x="116675" y="55081"/>
                  <a:pt x="116675" y="55081"/>
                </a:cubicBezTo>
                <a:cubicBezTo>
                  <a:pt x="116372" y="52833"/>
                  <a:pt x="116372" y="52833"/>
                  <a:pt x="116372" y="52833"/>
                </a:cubicBezTo>
                <a:cubicBezTo>
                  <a:pt x="115012" y="52833"/>
                  <a:pt x="115012" y="52833"/>
                  <a:pt x="115012" y="52833"/>
                </a:cubicBezTo>
                <a:cubicBezTo>
                  <a:pt x="114408" y="55081"/>
                  <a:pt x="114408" y="55081"/>
                  <a:pt x="114408" y="55081"/>
                </a:cubicBezTo>
                <a:cubicBezTo>
                  <a:pt x="111385" y="55644"/>
                  <a:pt x="111385" y="55644"/>
                  <a:pt x="111385" y="55644"/>
                </a:cubicBezTo>
                <a:cubicBezTo>
                  <a:pt x="110327" y="57049"/>
                  <a:pt x="109722" y="54519"/>
                  <a:pt x="109118" y="56768"/>
                </a:cubicBezTo>
                <a:cubicBezTo>
                  <a:pt x="107758" y="57049"/>
                  <a:pt x="108967" y="57611"/>
                  <a:pt x="107607" y="57330"/>
                </a:cubicBezTo>
                <a:cubicBezTo>
                  <a:pt x="107304" y="57330"/>
                  <a:pt x="107455" y="60702"/>
                  <a:pt x="106700" y="61545"/>
                </a:cubicBezTo>
                <a:cubicBezTo>
                  <a:pt x="106246" y="61826"/>
                  <a:pt x="106246" y="62388"/>
                  <a:pt x="105642" y="62388"/>
                </a:cubicBezTo>
                <a:cubicBezTo>
                  <a:pt x="104735" y="62107"/>
                  <a:pt x="105340" y="60983"/>
                  <a:pt x="105188" y="60983"/>
                </a:cubicBezTo>
                <a:cubicBezTo>
                  <a:pt x="104282" y="60702"/>
                  <a:pt x="104282" y="60702"/>
                  <a:pt x="104282" y="60702"/>
                </a:cubicBezTo>
                <a:cubicBezTo>
                  <a:pt x="103526" y="64074"/>
                  <a:pt x="103526" y="64074"/>
                  <a:pt x="103526" y="64074"/>
                </a:cubicBezTo>
                <a:cubicBezTo>
                  <a:pt x="101259" y="65761"/>
                  <a:pt x="101259" y="65761"/>
                  <a:pt x="101259" y="65761"/>
                </a:cubicBezTo>
                <a:cubicBezTo>
                  <a:pt x="99596" y="67447"/>
                  <a:pt x="99596" y="67447"/>
                  <a:pt x="99596" y="67447"/>
                </a:cubicBezTo>
                <a:cubicBezTo>
                  <a:pt x="96423" y="69133"/>
                  <a:pt x="96423" y="69133"/>
                  <a:pt x="96423" y="69133"/>
                </a:cubicBezTo>
                <a:cubicBezTo>
                  <a:pt x="94760" y="71943"/>
                  <a:pt x="94760" y="71943"/>
                  <a:pt x="94760" y="71943"/>
                </a:cubicBezTo>
                <a:cubicBezTo>
                  <a:pt x="92191" y="73348"/>
                  <a:pt x="94458" y="73348"/>
                  <a:pt x="92040" y="77564"/>
                </a:cubicBezTo>
                <a:cubicBezTo>
                  <a:pt x="90377" y="80655"/>
                  <a:pt x="87657" y="81498"/>
                  <a:pt x="85239" y="82903"/>
                </a:cubicBezTo>
                <a:cubicBezTo>
                  <a:pt x="83274" y="80936"/>
                  <a:pt x="83274" y="80936"/>
                  <a:pt x="83274" y="80936"/>
                </a:cubicBezTo>
                <a:cubicBezTo>
                  <a:pt x="83274" y="80936"/>
                  <a:pt x="82367" y="81498"/>
                  <a:pt x="81914" y="81498"/>
                </a:cubicBezTo>
                <a:cubicBezTo>
                  <a:pt x="81460" y="81779"/>
                  <a:pt x="79949" y="84871"/>
                  <a:pt x="79949" y="84871"/>
                </a:cubicBezTo>
                <a:cubicBezTo>
                  <a:pt x="77984" y="88243"/>
                  <a:pt x="77984" y="88243"/>
                  <a:pt x="77984" y="88243"/>
                </a:cubicBezTo>
                <a:cubicBezTo>
                  <a:pt x="77229" y="89086"/>
                  <a:pt x="76322" y="89929"/>
                  <a:pt x="75264" y="89929"/>
                </a:cubicBezTo>
                <a:cubicBezTo>
                  <a:pt x="73904" y="88243"/>
                  <a:pt x="73904" y="88243"/>
                  <a:pt x="73904" y="88243"/>
                </a:cubicBezTo>
                <a:cubicBezTo>
                  <a:pt x="72544" y="88243"/>
                  <a:pt x="71939" y="89648"/>
                  <a:pt x="72695" y="91615"/>
                </a:cubicBezTo>
                <a:cubicBezTo>
                  <a:pt x="72997" y="92459"/>
                  <a:pt x="72695" y="93021"/>
                  <a:pt x="72846" y="93864"/>
                </a:cubicBezTo>
                <a:cubicBezTo>
                  <a:pt x="72846" y="95269"/>
                  <a:pt x="74206" y="95831"/>
                  <a:pt x="74055" y="96955"/>
                </a:cubicBezTo>
                <a:cubicBezTo>
                  <a:pt x="73904" y="97517"/>
                  <a:pt x="73148" y="97517"/>
                  <a:pt x="72544" y="98360"/>
                </a:cubicBezTo>
                <a:cubicBezTo>
                  <a:pt x="72090" y="98922"/>
                  <a:pt x="72997" y="102014"/>
                  <a:pt x="72695" y="102014"/>
                </a:cubicBezTo>
                <a:cubicBezTo>
                  <a:pt x="72695" y="102014"/>
                  <a:pt x="71939" y="105386"/>
                  <a:pt x="71335" y="104824"/>
                </a:cubicBezTo>
                <a:cubicBezTo>
                  <a:pt x="71032" y="104262"/>
                  <a:pt x="70579" y="103419"/>
                  <a:pt x="70277" y="102295"/>
                </a:cubicBezTo>
                <a:cubicBezTo>
                  <a:pt x="69974" y="101451"/>
                  <a:pt x="68916" y="100608"/>
                  <a:pt x="68765" y="99484"/>
                </a:cubicBezTo>
                <a:cubicBezTo>
                  <a:pt x="68312" y="98360"/>
                  <a:pt x="70277" y="93864"/>
                  <a:pt x="70125" y="93583"/>
                </a:cubicBezTo>
                <a:cubicBezTo>
                  <a:pt x="70277" y="92740"/>
                  <a:pt x="70277" y="92740"/>
                  <a:pt x="69974" y="91053"/>
                </a:cubicBezTo>
                <a:cubicBezTo>
                  <a:pt x="69974" y="90210"/>
                  <a:pt x="68614" y="89929"/>
                  <a:pt x="68312" y="89086"/>
                </a:cubicBezTo>
                <a:cubicBezTo>
                  <a:pt x="67405" y="92177"/>
                  <a:pt x="67405" y="92177"/>
                  <a:pt x="67405" y="92177"/>
                </a:cubicBezTo>
                <a:cubicBezTo>
                  <a:pt x="66196" y="93583"/>
                  <a:pt x="66196" y="93583"/>
                  <a:pt x="66196" y="93583"/>
                </a:cubicBezTo>
                <a:cubicBezTo>
                  <a:pt x="64987" y="93864"/>
                  <a:pt x="66952" y="96393"/>
                  <a:pt x="66045" y="96112"/>
                </a:cubicBezTo>
                <a:cubicBezTo>
                  <a:pt x="65894" y="95831"/>
                  <a:pt x="64836" y="97517"/>
                  <a:pt x="63929" y="96674"/>
                </a:cubicBezTo>
                <a:cubicBezTo>
                  <a:pt x="62871" y="95550"/>
                  <a:pt x="61511" y="95269"/>
                  <a:pt x="61057" y="95269"/>
                </a:cubicBezTo>
                <a:cubicBezTo>
                  <a:pt x="59697" y="96393"/>
                  <a:pt x="59697" y="96393"/>
                  <a:pt x="59697" y="96393"/>
                </a:cubicBezTo>
                <a:cubicBezTo>
                  <a:pt x="59244" y="97798"/>
                  <a:pt x="59093" y="99484"/>
                  <a:pt x="58790" y="100327"/>
                </a:cubicBezTo>
                <a:cubicBezTo>
                  <a:pt x="57581" y="103419"/>
                  <a:pt x="57581" y="103419"/>
                  <a:pt x="57581" y="103419"/>
                </a:cubicBezTo>
                <a:cubicBezTo>
                  <a:pt x="55919" y="104543"/>
                  <a:pt x="57279" y="105386"/>
                  <a:pt x="56523" y="105948"/>
                </a:cubicBezTo>
                <a:cubicBezTo>
                  <a:pt x="56221" y="106229"/>
                  <a:pt x="55768" y="108196"/>
                  <a:pt x="54710" y="108758"/>
                </a:cubicBezTo>
                <a:cubicBezTo>
                  <a:pt x="54105" y="109039"/>
                  <a:pt x="53198" y="110444"/>
                  <a:pt x="52443" y="110444"/>
                </a:cubicBezTo>
                <a:cubicBezTo>
                  <a:pt x="52141" y="110444"/>
                  <a:pt x="50478" y="112693"/>
                  <a:pt x="50327" y="113255"/>
                </a:cubicBezTo>
                <a:cubicBezTo>
                  <a:pt x="49118" y="112693"/>
                  <a:pt x="45793" y="111007"/>
                  <a:pt x="45491" y="108758"/>
                </a:cubicBezTo>
                <a:cubicBezTo>
                  <a:pt x="45188" y="106791"/>
                  <a:pt x="44130" y="109601"/>
                  <a:pt x="43224" y="107634"/>
                </a:cubicBezTo>
                <a:cubicBezTo>
                  <a:pt x="40957" y="106229"/>
                  <a:pt x="40957" y="106229"/>
                  <a:pt x="40957" y="106229"/>
                </a:cubicBezTo>
                <a:cubicBezTo>
                  <a:pt x="39445" y="106229"/>
                  <a:pt x="39445" y="106229"/>
                  <a:pt x="39445" y="106229"/>
                </a:cubicBezTo>
                <a:cubicBezTo>
                  <a:pt x="38841" y="106229"/>
                  <a:pt x="36120" y="106791"/>
                  <a:pt x="35516" y="107353"/>
                </a:cubicBezTo>
                <a:cubicBezTo>
                  <a:pt x="35969" y="110444"/>
                  <a:pt x="35818" y="108196"/>
                  <a:pt x="35818" y="111850"/>
                </a:cubicBezTo>
                <a:cubicBezTo>
                  <a:pt x="34911" y="112131"/>
                  <a:pt x="35969" y="115784"/>
                  <a:pt x="35214" y="116908"/>
                </a:cubicBezTo>
                <a:cubicBezTo>
                  <a:pt x="32644" y="118032"/>
                  <a:pt x="32644" y="118032"/>
                  <a:pt x="32644" y="118032"/>
                </a:cubicBezTo>
                <a:cubicBezTo>
                  <a:pt x="31133" y="119718"/>
                  <a:pt x="31133" y="119718"/>
                  <a:pt x="31133" y="119718"/>
                </a:cubicBezTo>
                <a:cubicBezTo>
                  <a:pt x="28413" y="119718"/>
                  <a:pt x="28413" y="119718"/>
                  <a:pt x="28413" y="119718"/>
                </a:cubicBezTo>
                <a:cubicBezTo>
                  <a:pt x="28413" y="120000"/>
                  <a:pt x="27052" y="118313"/>
                  <a:pt x="26901" y="117189"/>
                </a:cubicBezTo>
                <a:cubicBezTo>
                  <a:pt x="26146" y="113536"/>
                  <a:pt x="26599" y="114098"/>
                  <a:pt x="25994" y="113536"/>
                </a:cubicBezTo>
                <a:cubicBezTo>
                  <a:pt x="24937" y="112974"/>
                  <a:pt x="24937" y="113817"/>
                  <a:pt x="24634" y="113536"/>
                </a:cubicBezTo>
                <a:cubicBezTo>
                  <a:pt x="24634" y="113255"/>
                  <a:pt x="24030" y="113536"/>
                  <a:pt x="23123" y="114941"/>
                </a:cubicBezTo>
                <a:cubicBezTo>
                  <a:pt x="22821" y="115784"/>
                  <a:pt x="22216" y="118032"/>
                  <a:pt x="21914" y="118313"/>
                </a:cubicBezTo>
                <a:cubicBezTo>
                  <a:pt x="21612" y="118875"/>
                  <a:pt x="21612" y="116908"/>
                  <a:pt x="21309" y="117189"/>
                </a:cubicBezTo>
                <a:cubicBezTo>
                  <a:pt x="20705" y="117751"/>
                  <a:pt x="20856" y="116065"/>
                  <a:pt x="19647" y="117470"/>
                </a:cubicBezTo>
                <a:cubicBezTo>
                  <a:pt x="19193" y="118032"/>
                  <a:pt x="17682" y="117189"/>
                  <a:pt x="19496" y="116065"/>
                </a:cubicBezTo>
                <a:cubicBezTo>
                  <a:pt x="19798" y="116065"/>
                  <a:pt x="22216" y="112693"/>
                  <a:pt x="22216" y="112412"/>
                </a:cubicBezTo>
                <a:cubicBezTo>
                  <a:pt x="22367" y="111850"/>
                  <a:pt x="20705" y="110444"/>
                  <a:pt x="20554" y="110444"/>
                </a:cubicBezTo>
                <a:cubicBezTo>
                  <a:pt x="20403" y="110444"/>
                  <a:pt x="19647" y="112693"/>
                  <a:pt x="18891" y="113255"/>
                </a:cubicBezTo>
                <a:cubicBezTo>
                  <a:pt x="17682" y="113817"/>
                  <a:pt x="17682" y="114098"/>
                  <a:pt x="17078" y="114379"/>
                </a:cubicBezTo>
                <a:cubicBezTo>
                  <a:pt x="16624" y="114660"/>
                  <a:pt x="16473" y="113536"/>
                  <a:pt x="16171" y="113817"/>
                </a:cubicBezTo>
                <a:cubicBezTo>
                  <a:pt x="15717" y="114098"/>
                  <a:pt x="15717" y="114660"/>
                  <a:pt x="15415" y="114660"/>
                </a:cubicBezTo>
                <a:cubicBezTo>
                  <a:pt x="14659" y="114660"/>
                  <a:pt x="15113" y="112693"/>
                  <a:pt x="15113" y="112693"/>
                </a:cubicBezTo>
                <a:cubicBezTo>
                  <a:pt x="15717" y="112131"/>
                  <a:pt x="15566" y="112693"/>
                  <a:pt x="16473" y="112131"/>
                </a:cubicBezTo>
                <a:cubicBezTo>
                  <a:pt x="16775" y="111850"/>
                  <a:pt x="17682" y="111288"/>
                  <a:pt x="17682" y="110444"/>
                </a:cubicBezTo>
                <a:cubicBezTo>
                  <a:pt x="17229" y="107353"/>
                  <a:pt x="16473" y="110163"/>
                  <a:pt x="16171" y="109039"/>
                </a:cubicBezTo>
                <a:cubicBezTo>
                  <a:pt x="15869" y="107915"/>
                  <a:pt x="15415" y="108477"/>
                  <a:pt x="15264" y="107915"/>
                </a:cubicBezTo>
                <a:cubicBezTo>
                  <a:pt x="14962" y="106510"/>
                  <a:pt x="14962" y="111850"/>
                  <a:pt x="14357" y="107915"/>
                </a:cubicBezTo>
                <a:cubicBezTo>
                  <a:pt x="14055" y="105948"/>
                  <a:pt x="14811" y="105948"/>
                  <a:pt x="13148" y="105105"/>
                </a:cubicBezTo>
                <a:cubicBezTo>
                  <a:pt x="13148" y="105105"/>
                  <a:pt x="12846" y="104824"/>
                  <a:pt x="12695" y="104824"/>
                </a:cubicBezTo>
                <a:cubicBezTo>
                  <a:pt x="12695" y="104543"/>
                  <a:pt x="12846" y="104262"/>
                  <a:pt x="12846" y="104262"/>
                </a:cubicBezTo>
                <a:cubicBezTo>
                  <a:pt x="12846" y="104262"/>
                  <a:pt x="12392" y="103419"/>
                  <a:pt x="12241" y="103419"/>
                </a:cubicBezTo>
                <a:cubicBezTo>
                  <a:pt x="12241" y="103419"/>
                  <a:pt x="11788" y="103981"/>
                  <a:pt x="11788" y="103981"/>
                </a:cubicBezTo>
                <a:cubicBezTo>
                  <a:pt x="11788" y="103981"/>
                  <a:pt x="11637" y="103981"/>
                  <a:pt x="11486" y="103981"/>
                </a:cubicBezTo>
                <a:cubicBezTo>
                  <a:pt x="11486" y="103700"/>
                  <a:pt x="11939" y="103700"/>
                  <a:pt x="12544" y="103138"/>
                </a:cubicBezTo>
                <a:cubicBezTo>
                  <a:pt x="12846" y="103138"/>
                  <a:pt x="12997" y="103981"/>
                  <a:pt x="13299" y="103981"/>
                </a:cubicBezTo>
                <a:cubicBezTo>
                  <a:pt x="13602" y="104262"/>
                  <a:pt x="14206" y="103981"/>
                  <a:pt x="14206" y="103700"/>
                </a:cubicBezTo>
                <a:cubicBezTo>
                  <a:pt x="14357" y="103419"/>
                  <a:pt x="13602" y="102576"/>
                  <a:pt x="13753" y="101170"/>
                </a:cubicBezTo>
                <a:cubicBezTo>
                  <a:pt x="13753" y="100608"/>
                  <a:pt x="14055" y="100608"/>
                  <a:pt x="13753" y="100327"/>
                </a:cubicBezTo>
                <a:cubicBezTo>
                  <a:pt x="13450" y="100046"/>
                  <a:pt x="13450" y="99765"/>
                  <a:pt x="13450" y="99765"/>
                </a:cubicBezTo>
                <a:cubicBezTo>
                  <a:pt x="11486" y="99484"/>
                  <a:pt x="11486" y="99484"/>
                  <a:pt x="11486" y="99484"/>
                </a:cubicBezTo>
                <a:cubicBezTo>
                  <a:pt x="11486" y="99484"/>
                  <a:pt x="11486" y="99484"/>
                  <a:pt x="11183" y="99203"/>
                </a:cubicBezTo>
                <a:cubicBezTo>
                  <a:pt x="10881" y="98922"/>
                  <a:pt x="10579" y="98641"/>
                  <a:pt x="10579" y="98641"/>
                </a:cubicBezTo>
                <a:cubicBezTo>
                  <a:pt x="9974" y="97798"/>
                  <a:pt x="9974" y="97798"/>
                  <a:pt x="9974" y="97798"/>
                </a:cubicBezTo>
                <a:cubicBezTo>
                  <a:pt x="9974" y="97798"/>
                  <a:pt x="9370" y="98079"/>
                  <a:pt x="9219" y="98079"/>
                </a:cubicBezTo>
                <a:cubicBezTo>
                  <a:pt x="9219" y="98079"/>
                  <a:pt x="9370" y="99203"/>
                  <a:pt x="9370" y="99203"/>
                </a:cubicBezTo>
                <a:cubicBezTo>
                  <a:pt x="9219" y="99484"/>
                  <a:pt x="9219" y="100608"/>
                  <a:pt x="8614" y="99765"/>
                </a:cubicBezTo>
                <a:cubicBezTo>
                  <a:pt x="8463" y="99484"/>
                  <a:pt x="8010" y="98641"/>
                  <a:pt x="7858" y="98641"/>
                </a:cubicBezTo>
                <a:cubicBezTo>
                  <a:pt x="7707" y="98922"/>
                  <a:pt x="7103" y="98641"/>
                  <a:pt x="7103" y="98360"/>
                </a:cubicBezTo>
                <a:cubicBezTo>
                  <a:pt x="6952" y="98079"/>
                  <a:pt x="6498" y="97798"/>
                  <a:pt x="6498" y="97798"/>
                </a:cubicBezTo>
                <a:cubicBezTo>
                  <a:pt x="6498" y="97798"/>
                  <a:pt x="6952" y="96674"/>
                  <a:pt x="6801" y="96393"/>
                </a:cubicBezTo>
                <a:cubicBezTo>
                  <a:pt x="6649" y="96393"/>
                  <a:pt x="7556" y="96955"/>
                  <a:pt x="7556" y="96955"/>
                </a:cubicBezTo>
                <a:cubicBezTo>
                  <a:pt x="7556" y="96955"/>
                  <a:pt x="7556" y="95550"/>
                  <a:pt x="7707" y="95550"/>
                </a:cubicBezTo>
                <a:cubicBezTo>
                  <a:pt x="7858" y="95269"/>
                  <a:pt x="7405" y="95269"/>
                  <a:pt x="7254" y="94988"/>
                </a:cubicBezTo>
                <a:cubicBezTo>
                  <a:pt x="7103" y="94707"/>
                  <a:pt x="6952" y="93864"/>
                  <a:pt x="6952" y="93864"/>
                </a:cubicBezTo>
                <a:cubicBezTo>
                  <a:pt x="6952" y="93864"/>
                  <a:pt x="6649" y="93583"/>
                  <a:pt x="6649" y="93302"/>
                </a:cubicBezTo>
                <a:cubicBezTo>
                  <a:pt x="6498" y="92177"/>
                  <a:pt x="6952" y="91334"/>
                  <a:pt x="7103" y="91334"/>
                </a:cubicBezTo>
                <a:cubicBezTo>
                  <a:pt x="7254" y="91615"/>
                  <a:pt x="7254" y="91615"/>
                  <a:pt x="7405" y="91615"/>
                </a:cubicBezTo>
                <a:cubicBezTo>
                  <a:pt x="7707" y="91896"/>
                  <a:pt x="7707" y="91896"/>
                  <a:pt x="7707" y="91896"/>
                </a:cubicBezTo>
                <a:cubicBezTo>
                  <a:pt x="7707" y="91896"/>
                  <a:pt x="8010" y="92740"/>
                  <a:pt x="8010" y="92740"/>
                </a:cubicBezTo>
                <a:cubicBezTo>
                  <a:pt x="8161" y="92740"/>
                  <a:pt x="8614" y="93583"/>
                  <a:pt x="8614" y="93583"/>
                </a:cubicBezTo>
                <a:cubicBezTo>
                  <a:pt x="8614" y="93583"/>
                  <a:pt x="8916" y="94707"/>
                  <a:pt x="9068" y="94988"/>
                </a:cubicBezTo>
                <a:cubicBezTo>
                  <a:pt x="9219" y="94988"/>
                  <a:pt x="9219" y="94426"/>
                  <a:pt x="9521" y="94426"/>
                </a:cubicBezTo>
                <a:cubicBezTo>
                  <a:pt x="9823" y="94707"/>
                  <a:pt x="10125" y="95269"/>
                  <a:pt x="10277" y="94988"/>
                </a:cubicBezTo>
                <a:cubicBezTo>
                  <a:pt x="10428" y="94988"/>
                  <a:pt x="10579" y="93583"/>
                  <a:pt x="10579" y="93583"/>
                </a:cubicBezTo>
                <a:cubicBezTo>
                  <a:pt x="10579" y="93583"/>
                  <a:pt x="9672" y="92459"/>
                  <a:pt x="9521" y="92459"/>
                </a:cubicBezTo>
                <a:cubicBezTo>
                  <a:pt x="9521" y="92177"/>
                  <a:pt x="9219" y="91896"/>
                  <a:pt x="9219" y="91615"/>
                </a:cubicBezTo>
                <a:cubicBezTo>
                  <a:pt x="9068" y="91615"/>
                  <a:pt x="8765" y="91334"/>
                  <a:pt x="8765" y="91334"/>
                </a:cubicBezTo>
                <a:cubicBezTo>
                  <a:pt x="8765" y="91334"/>
                  <a:pt x="8614" y="90491"/>
                  <a:pt x="8614" y="90491"/>
                </a:cubicBezTo>
                <a:cubicBezTo>
                  <a:pt x="8463" y="90210"/>
                  <a:pt x="8614" y="89648"/>
                  <a:pt x="8614" y="89648"/>
                </a:cubicBezTo>
                <a:cubicBezTo>
                  <a:pt x="8765" y="89367"/>
                  <a:pt x="9068" y="89086"/>
                  <a:pt x="9219" y="89086"/>
                </a:cubicBezTo>
                <a:cubicBezTo>
                  <a:pt x="9370" y="89086"/>
                  <a:pt x="9823" y="88805"/>
                  <a:pt x="9823" y="88805"/>
                </a:cubicBezTo>
                <a:cubicBezTo>
                  <a:pt x="9974" y="87400"/>
                  <a:pt x="9974" y="87400"/>
                  <a:pt x="9974" y="87400"/>
                </a:cubicBezTo>
                <a:cubicBezTo>
                  <a:pt x="9974" y="87400"/>
                  <a:pt x="10277" y="86276"/>
                  <a:pt x="10277" y="86276"/>
                </a:cubicBezTo>
                <a:cubicBezTo>
                  <a:pt x="10125" y="86276"/>
                  <a:pt x="9068" y="87119"/>
                  <a:pt x="9068" y="86838"/>
                </a:cubicBezTo>
                <a:cubicBezTo>
                  <a:pt x="8916" y="86838"/>
                  <a:pt x="8614" y="86838"/>
                  <a:pt x="8614" y="86557"/>
                </a:cubicBezTo>
                <a:cubicBezTo>
                  <a:pt x="8463" y="86276"/>
                  <a:pt x="8463" y="85714"/>
                  <a:pt x="8463" y="85433"/>
                </a:cubicBezTo>
                <a:cubicBezTo>
                  <a:pt x="8463" y="85152"/>
                  <a:pt x="8614" y="84590"/>
                  <a:pt x="8614" y="84590"/>
                </a:cubicBezTo>
                <a:cubicBezTo>
                  <a:pt x="8614" y="84590"/>
                  <a:pt x="8463" y="84028"/>
                  <a:pt x="8312" y="84028"/>
                </a:cubicBezTo>
                <a:cubicBezTo>
                  <a:pt x="8312" y="83747"/>
                  <a:pt x="8161" y="83185"/>
                  <a:pt x="8161" y="83185"/>
                </a:cubicBezTo>
                <a:cubicBezTo>
                  <a:pt x="8161" y="83185"/>
                  <a:pt x="7103" y="82060"/>
                  <a:pt x="7103" y="82060"/>
                </a:cubicBezTo>
                <a:cubicBezTo>
                  <a:pt x="7103" y="81779"/>
                  <a:pt x="7103" y="80936"/>
                  <a:pt x="7254" y="80936"/>
                </a:cubicBezTo>
                <a:cubicBezTo>
                  <a:pt x="7254" y="80655"/>
                  <a:pt x="7103" y="80093"/>
                  <a:pt x="7405" y="79531"/>
                </a:cubicBezTo>
                <a:cubicBezTo>
                  <a:pt x="7858" y="78969"/>
                  <a:pt x="8161" y="77283"/>
                  <a:pt x="8161" y="77283"/>
                </a:cubicBezTo>
                <a:cubicBezTo>
                  <a:pt x="8161" y="77283"/>
                  <a:pt x="7103" y="77002"/>
                  <a:pt x="7103" y="77002"/>
                </a:cubicBezTo>
                <a:cubicBezTo>
                  <a:pt x="6952" y="77002"/>
                  <a:pt x="6498" y="78126"/>
                  <a:pt x="6498" y="78126"/>
                </a:cubicBezTo>
                <a:cubicBezTo>
                  <a:pt x="6498" y="78126"/>
                  <a:pt x="5894" y="78407"/>
                  <a:pt x="5894" y="78688"/>
                </a:cubicBezTo>
                <a:cubicBezTo>
                  <a:pt x="5743" y="78688"/>
                  <a:pt x="4987" y="78969"/>
                  <a:pt x="4987" y="79250"/>
                </a:cubicBezTo>
                <a:cubicBezTo>
                  <a:pt x="4836" y="79250"/>
                  <a:pt x="4534" y="79812"/>
                  <a:pt x="4382" y="79812"/>
                </a:cubicBezTo>
                <a:cubicBezTo>
                  <a:pt x="4231" y="80093"/>
                  <a:pt x="3627" y="80655"/>
                  <a:pt x="3627" y="80655"/>
                </a:cubicBezTo>
                <a:cubicBezTo>
                  <a:pt x="3627" y="80655"/>
                  <a:pt x="3022" y="80655"/>
                  <a:pt x="3022" y="80655"/>
                </a:cubicBezTo>
                <a:cubicBezTo>
                  <a:pt x="3022" y="80374"/>
                  <a:pt x="3022" y="78407"/>
                  <a:pt x="3022" y="78407"/>
                </a:cubicBezTo>
                <a:cubicBezTo>
                  <a:pt x="3022" y="78407"/>
                  <a:pt x="3324" y="78126"/>
                  <a:pt x="3324" y="77845"/>
                </a:cubicBezTo>
                <a:cubicBezTo>
                  <a:pt x="3324" y="77845"/>
                  <a:pt x="3173" y="76721"/>
                  <a:pt x="3022" y="76440"/>
                </a:cubicBezTo>
                <a:cubicBezTo>
                  <a:pt x="3022" y="76440"/>
                  <a:pt x="3022" y="75035"/>
                  <a:pt x="3022" y="74754"/>
                </a:cubicBezTo>
                <a:cubicBezTo>
                  <a:pt x="3022" y="74192"/>
                  <a:pt x="2871" y="73348"/>
                  <a:pt x="2871" y="73348"/>
                </a:cubicBezTo>
                <a:cubicBezTo>
                  <a:pt x="2720" y="71943"/>
                  <a:pt x="2720" y="71943"/>
                  <a:pt x="2720" y="71943"/>
                </a:cubicBezTo>
                <a:cubicBezTo>
                  <a:pt x="2871" y="70819"/>
                  <a:pt x="2871" y="70819"/>
                  <a:pt x="2871" y="70819"/>
                </a:cubicBezTo>
                <a:cubicBezTo>
                  <a:pt x="3022" y="70257"/>
                  <a:pt x="3022" y="70257"/>
                  <a:pt x="3022" y="70257"/>
                </a:cubicBezTo>
                <a:cubicBezTo>
                  <a:pt x="3022" y="70257"/>
                  <a:pt x="3324" y="69133"/>
                  <a:pt x="3324" y="69133"/>
                </a:cubicBezTo>
                <a:cubicBezTo>
                  <a:pt x="3324" y="68852"/>
                  <a:pt x="3627" y="67728"/>
                  <a:pt x="3627" y="67728"/>
                </a:cubicBezTo>
                <a:cubicBezTo>
                  <a:pt x="3778" y="67447"/>
                  <a:pt x="4685" y="65761"/>
                  <a:pt x="4685" y="65761"/>
                </a:cubicBezTo>
                <a:cubicBezTo>
                  <a:pt x="5138" y="64637"/>
                  <a:pt x="5138" y="64637"/>
                  <a:pt x="5138" y="64637"/>
                </a:cubicBezTo>
                <a:cubicBezTo>
                  <a:pt x="5138" y="64637"/>
                  <a:pt x="5743" y="64637"/>
                  <a:pt x="5894" y="64637"/>
                </a:cubicBezTo>
                <a:cubicBezTo>
                  <a:pt x="5894" y="64637"/>
                  <a:pt x="6498" y="63793"/>
                  <a:pt x="6498" y="63793"/>
                </a:cubicBezTo>
                <a:cubicBezTo>
                  <a:pt x="6649" y="63231"/>
                  <a:pt x="6649" y="63231"/>
                  <a:pt x="6649" y="63231"/>
                </a:cubicBezTo>
                <a:cubicBezTo>
                  <a:pt x="7103" y="63231"/>
                  <a:pt x="7103" y="63231"/>
                  <a:pt x="7103" y="63231"/>
                </a:cubicBezTo>
                <a:cubicBezTo>
                  <a:pt x="7103" y="63231"/>
                  <a:pt x="7405" y="62669"/>
                  <a:pt x="7556" y="62669"/>
                </a:cubicBezTo>
                <a:cubicBezTo>
                  <a:pt x="7556" y="62669"/>
                  <a:pt x="7858" y="62669"/>
                  <a:pt x="8161" y="62669"/>
                </a:cubicBezTo>
                <a:cubicBezTo>
                  <a:pt x="8463" y="62669"/>
                  <a:pt x="8614" y="62388"/>
                  <a:pt x="8765" y="62388"/>
                </a:cubicBezTo>
                <a:cubicBezTo>
                  <a:pt x="8765" y="62669"/>
                  <a:pt x="9370" y="63793"/>
                  <a:pt x="9370" y="63793"/>
                </a:cubicBezTo>
                <a:cubicBezTo>
                  <a:pt x="11183" y="63231"/>
                  <a:pt x="11183" y="63231"/>
                  <a:pt x="11183" y="63231"/>
                </a:cubicBezTo>
                <a:cubicBezTo>
                  <a:pt x="11939" y="62669"/>
                  <a:pt x="11939" y="62669"/>
                  <a:pt x="11939" y="62669"/>
                </a:cubicBezTo>
                <a:cubicBezTo>
                  <a:pt x="11939" y="62669"/>
                  <a:pt x="11939" y="61826"/>
                  <a:pt x="11939" y="61826"/>
                </a:cubicBezTo>
                <a:cubicBezTo>
                  <a:pt x="11788" y="61545"/>
                  <a:pt x="11032" y="61264"/>
                  <a:pt x="11032" y="61264"/>
                </a:cubicBezTo>
                <a:cubicBezTo>
                  <a:pt x="11032" y="61264"/>
                  <a:pt x="10881" y="61264"/>
                  <a:pt x="11032" y="61264"/>
                </a:cubicBezTo>
                <a:cubicBezTo>
                  <a:pt x="11032" y="60983"/>
                  <a:pt x="11335" y="59859"/>
                  <a:pt x="11335" y="59859"/>
                </a:cubicBezTo>
                <a:cubicBezTo>
                  <a:pt x="11486" y="59859"/>
                  <a:pt x="11637" y="59859"/>
                  <a:pt x="11939" y="59859"/>
                </a:cubicBezTo>
                <a:cubicBezTo>
                  <a:pt x="12241" y="59859"/>
                  <a:pt x="12846" y="59859"/>
                  <a:pt x="12846" y="59859"/>
                </a:cubicBezTo>
                <a:cubicBezTo>
                  <a:pt x="12846" y="59859"/>
                  <a:pt x="13148" y="60421"/>
                  <a:pt x="12846" y="60702"/>
                </a:cubicBezTo>
                <a:cubicBezTo>
                  <a:pt x="12695" y="60983"/>
                  <a:pt x="12544" y="60983"/>
                  <a:pt x="12544" y="61264"/>
                </a:cubicBezTo>
                <a:cubicBezTo>
                  <a:pt x="12544" y="61264"/>
                  <a:pt x="12544" y="61826"/>
                  <a:pt x="12695" y="61826"/>
                </a:cubicBezTo>
                <a:cubicBezTo>
                  <a:pt x="12695" y="61826"/>
                  <a:pt x="13450" y="61545"/>
                  <a:pt x="13450" y="61545"/>
                </a:cubicBezTo>
                <a:cubicBezTo>
                  <a:pt x="13450" y="61545"/>
                  <a:pt x="13602" y="60983"/>
                  <a:pt x="13904" y="60983"/>
                </a:cubicBezTo>
                <a:cubicBezTo>
                  <a:pt x="14055" y="60702"/>
                  <a:pt x="14508" y="60421"/>
                  <a:pt x="14508" y="60421"/>
                </a:cubicBezTo>
                <a:cubicBezTo>
                  <a:pt x="16020" y="60140"/>
                  <a:pt x="16020" y="60140"/>
                  <a:pt x="16020" y="60140"/>
                </a:cubicBezTo>
                <a:cubicBezTo>
                  <a:pt x="17078" y="59578"/>
                  <a:pt x="17078" y="59578"/>
                  <a:pt x="17078" y="59578"/>
                </a:cubicBezTo>
                <a:cubicBezTo>
                  <a:pt x="17078" y="59578"/>
                  <a:pt x="18287" y="58173"/>
                  <a:pt x="18589" y="58173"/>
                </a:cubicBezTo>
                <a:cubicBezTo>
                  <a:pt x="19042" y="58454"/>
                  <a:pt x="19345" y="58454"/>
                  <a:pt x="19496" y="58173"/>
                </a:cubicBezTo>
                <a:cubicBezTo>
                  <a:pt x="19647" y="57892"/>
                  <a:pt x="19949" y="57049"/>
                  <a:pt x="19949" y="57049"/>
                </a:cubicBezTo>
                <a:cubicBezTo>
                  <a:pt x="19647" y="56768"/>
                  <a:pt x="19647" y="56768"/>
                  <a:pt x="19647" y="56768"/>
                </a:cubicBezTo>
                <a:cubicBezTo>
                  <a:pt x="18891" y="56768"/>
                  <a:pt x="18891" y="56768"/>
                  <a:pt x="18891" y="56768"/>
                </a:cubicBezTo>
                <a:cubicBezTo>
                  <a:pt x="18891" y="56768"/>
                  <a:pt x="18136" y="57049"/>
                  <a:pt x="18136" y="57049"/>
                </a:cubicBezTo>
                <a:cubicBezTo>
                  <a:pt x="17984" y="56768"/>
                  <a:pt x="17531" y="56768"/>
                  <a:pt x="17682" y="56487"/>
                </a:cubicBezTo>
                <a:cubicBezTo>
                  <a:pt x="17833" y="55925"/>
                  <a:pt x="17833" y="55925"/>
                  <a:pt x="18136" y="55362"/>
                </a:cubicBezTo>
                <a:cubicBezTo>
                  <a:pt x="18287" y="55081"/>
                  <a:pt x="18438" y="54800"/>
                  <a:pt x="18589" y="54519"/>
                </a:cubicBezTo>
                <a:cubicBezTo>
                  <a:pt x="18891" y="54519"/>
                  <a:pt x="18891" y="54238"/>
                  <a:pt x="19193" y="53957"/>
                </a:cubicBezTo>
                <a:cubicBezTo>
                  <a:pt x="19496" y="53676"/>
                  <a:pt x="19496" y="53676"/>
                  <a:pt x="20100" y="53114"/>
                </a:cubicBezTo>
                <a:cubicBezTo>
                  <a:pt x="20705" y="52833"/>
                  <a:pt x="21914" y="51147"/>
                  <a:pt x="22065" y="51147"/>
                </a:cubicBezTo>
                <a:cubicBezTo>
                  <a:pt x="22216" y="51147"/>
                  <a:pt x="22367" y="51428"/>
                  <a:pt x="22972" y="50866"/>
                </a:cubicBezTo>
                <a:cubicBezTo>
                  <a:pt x="23727" y="50585"/>
                  <a:pt x="24181" y="49742"/>
                  <a:pt x="24030" y="49742"/>
                </a:cubicBezTo>
                <a:cubicBezTo>
                  <a:pt x="23879" y="49742"/>
                  <a:pt x="23576" y="49461"/>
                  <a:pt x="23274" y="49742"/>
                </a:cubicBezTo>
                <a:cubicBezTo>
                  <a:pt x="22821" y="50023"/>
                  <a:pt x="23123" y="49461"/>
                  <a:pt x="22518" y="50023"/>
                </a:cubicBezTo>
                <a:cubicBezTo>
                  <a:pt x="21763" y="50866"/>
                  <a:pt x="20705" y="51428"/>
                  <a:pt x="20403" y="51428"/>
                </a:cubicBezTo>
                <a:cubicBezTo>
                  <a:pt x="20100" y="51147"/>
                  <a:pt x="19798" y="50866"/>
                  <a:pt x="19496" y="50304"/>
                </a:cubicBezTo>
                <a:cubicBezTo>
                  <a:pt x="19042" y="49742"/>
                  <a:pt x="18136" y="49742"/>
                  <a:pt x="18136" y="49461"/>
                </a:cubicBezTo>
                <a:cubicBezTo>
                  <a:pt x="17984" y="49461"/>
                  <a:pt x="16775" y="50304"/>
                  <a:pt x="16775" y="50304"/>
                </a:cubicBezTo>
                <a:cubicBezTo>
                  <a:pt x="16775" y="50304"/>
                  <a:pt x="15113" y="50585"/>
                  <a:pt x="14659" y="50585"/>
                </a:cubicBezTo>
                <a:cubicBezTo>
                  <a:pt x="14357" y="50585"/>
                  <a:pt x="13450" y="50304"/>
                  <a:pt x="13299" y="50304"/>
                </a:cubicBezTo>
                <a:cubicBezTo>
                  <a:pt x="13299" y="50304"/>
                  <a:pt x="12392" y="50866"/>
                  <a:pt x="12392" y="50866"/>
                </a:cubicBezTo>
                <a:cubicBezTo>
                  <a:pt x="12241" y="50866"/>
                  <a:pt x="11637" y="52552"/>
                  <a:pt x="11335" y="52833"/>
                </a:cubicBezTo>
                <a:cubicBezTo>
                  <a:pt x="11032" y="53114"/>
                  <a:pt x="10277" y="52833"/>
                  <a:pt x="10277" y="52833"/>
                </a:cubicBezTo>
                <a:cubicBezTo>
                  <a:pt x="10277" y="52833"/>
                  <a:pt x="9974" y="53395"/>
                  <a:pt x="9672" y="53676"/>
                </a:cubicBezTo>
                <a:cubicBezTo>
                  <a:pt x="9370" y="53957"/>
                  <a:pt x="8916" y="54519"/>
                  <a:pt x="8614" y="54800"/>
                </a:cubicBezTo>
                <a:cubicBezTo>
                  <a:pt x="8312" y="55081"/>
                  <a:pt x="8161" y="57330"/>
                  <a:pt x="8161" y="57611"/>
                </a:cubicBezTo>
                <a:cubicBezTo>
                  <a:pt x="8010" y="58173"/>
                  <a:pt x="7254" y="60140"/>
                  <a:pt x="7254" y="60140"/>
                </a:cubicBezTo>
                <a:cubicBezTo>
                  <a:pt x="6498" y="61545"/>
                  <a:pt x="6498" y="61545"/>
                  <a:pt x="6498" y="61545"/>
                </a:cubicBezTo>
                <a:cubicBezTo>
                  <a:pt x="6498" y="61545"/>
                  <a:pt x="5894" y="62669"/>
                  <a:pt x="5743" y="62669"/>
                </a:cubicBezTo>
                <a:cubicBezTo>
                  <a:pt x="5591" y="62950"/>
                  <a:pt x="4685" y="64637"/>
                  <a:pt x="4685" y="64637"/>
                </a:cubicBezTo>
                <a:cubicBezTo>
                  <a:pt x="4685" y="64637"/>
                  <a:pt x="4382" y="64355"/>
                  <a:pt x="4382" y="64355"/>
                </a:cubicBezTo>
                <a:cubicBezTo>
                  <a:pt x="4382" y="64355"/>
                  <a:pt x="3778" y="66042"/>
                  <a:pt x="3778" y="66042"/>
                </a:cubicBezTo>
                <a:cubicBezTo>
                  <a:pt x="3778" y="66042"/>
                  <a:pt x="3476" y="67447"/>
                  <a:pt x="3324" y="67728"/>
                </a:cubicBezTo>
                <a:cubicBezTo>
                  <a:pt x="3324" y="68009"/>
                  <a:pt x="2720" y="69695"/>
                  <a:pt x="2720" y="69695"/>
                </a:cubicBezTo>
                <a:cubicBezTo>
                  <a:pt x="2569" y="70257"/>
                  <a:pt x="2569" y="70257"/>
                  <a:pt x="2569" y="70257"/>
                </a:cubicBezTo>
                <a:cubicBezTo>
                  <a:pt x="2418" y="71381"/>
                  <a:pt x="2418" y="71381"/>
                  <a:pt x="2418" y="71381"/>
                </a:cubicBezTo>
                <a:cubicBezTo>
                  <a:pt x="2418" y="71381"/>
                  <a:pt x="2115" y="71943"/>
                  <a:pt x="2115" y="71662"/>
                </a:cubicBezTo>
                <a:cubicBezTo>
                  <a:pt x="2115" y="71381"/>
                  <a:pt x="2115" y="70257"/>
                  <a:pt x="2267" y="69976"/>
                </a:cubicBezTo>
                <a:cubicBezTo>
                  <a:pt x="2418" y="69695"/>
                  <a:pt x="2418" y="69133"/>
                  <a:pt x="2418" y="69133"/>
                </a:cubicBezTo>
                <a:cubicBezTo>
                  <a:pt x="2267" y="67728"/>
                  <a:pt x="2267" y="67728"/>
                  <a:pt x="2267" y="67728"/>
                </a:cubicBezTo>
                <a:cubicBezTo>
                  <a:pt x="2267" y="67728"/>
                  <a:pt x="2115" y="68290"/>
                  <a:pt x="2267" y="67447"/>
                </a:cubicBezTo>
                <a:cubicBezTo>
                  <a:pt x="2418" y="66604"/>
                  <a:pt x="2267" y="66604"/>
                  <a:pt x="2418" y="66323"/>
                </a:cubicBezTo>
                <a:cubicBezTo>
                  <a:pt x="2720" y="66042"/>
                  <a:pt x="2569" y="66042"/>
                  <a:pt x="3022" y="65480"/>
                </a:cubicBezTo>
                <a:cubicBezTo>
                  <a:pt x="3324" y="64918"/>
                  <a:pt x="3173" y="64637"/>
                  <a:pt x="3324" y="64637"/>
                </a:cubicBezTo>
                <a:cubicBezTo>
                  <a:pt x="3627" y="64355"/>
                  <a:pt x="3627" y="64355"/>
                  <a:pt x="3929" y="64074"/>
                </a:cubicBezTo>
                <a:cubicBezTo>
                  <a:pt x="4382" y="63512"/>
                  <a:pt x="4534" y="63231"/>
                  <a:pt x="4685" y="62950"/>
                </a:cubicBezTo>
                <a:cubicBezTo>
                  <a:pt x="4685" y="62669"/>
                  <a:pt x="5440" y="62107"/>
                  <a:pt x="5289" y="61826"/>
                </a:cubicBezTo>
                <a:cubicBezTo>
                  <a:pt x="5289" y="61545"/>
                  <a:pt x="5440" y="60983"/>
                  <a:pt x="4987" y="60983"/>
                </a:cubicBezTo>
                <a:cubicBezTo>
                  <a:pt x="4685" y="60983"/>
                  <a:pt x="4080" y="61545"/>
                  <a:pt x="3778" y="61826"/>
                </a:cubicBezTo>
                <a:cubicBezTo>
                  <a:pt x="3324" y="62107"/>
                  <a:pt x="2871" y="62669"/>
                  <a:pt x="2871" y="62669"/>
                </a:cubicBezTo>
                <a:cubicBezTo>
                  <a:pt x="2871" y="62669"/>
                  <a:pt x="1813" y="63231"/>
                  <a:pt x="1662" y="63231"/>
                </a:cubicBezTo>
                <a:cubicBezTo>
                  <a:pt x="1511" y="62950"/>
                  <a:pt x="1209" y="63231"/>
                  <a:pt x="1057" y="63231"/>
                </a:cubicBezTo>
                <a:cubicBezTo>
                  <a:pt x="755" y="63512"/>
                  <a:pt x="151" y="62950"/>
                  <a:pt x="151" y="62950"/>
                </a:cubicBezTo>
                <a:cubicBezTo>
                  <a:pt x="0" y="60983"/>
                  <a:pt x="0" y="60983"/>
                  <a:pt x="0" y="60983"/>
                </a:cubicBezTo>
                <a:cubicBezTo>
                  <a:pt x="0" y="60983"/>
                  <a:pt x="0" y="60983"/>
                  <a:pt x="0" y="60983"/>
                </a:cubicBezTo>
                <a:cubicBezTo>
                  <a:pt x="151" y="60983"/>
                  <a:pt x="151" y="61264"/>
                  <a:pt x="151" y="61264"/>
                </a:cubicBezTo>
                <a:cubicBezTo>
                  <a:pt x="151" y="61264"/>
                  <a:pt x="151" y="61264"/>
                  <a:pt x="151" y="61264"/>
                </a:cubicBezTo>
                <a:cubicBezTo>
                  <a:pt x="302" y="61545"/>
                  <a:pt x="1057" y="61545"/>
                  <a:pt x="1057" y="61545"/>
                </a:cubicBezTo>
                <a:cubicBezTo>
                  <a:pt x="1662" y="60421"/>
                  <a:pt x="1662" y="60421"/>
                  <a:pt x="1662" y="60421"/>
                </a:cubicBezTo>
                <a:cubicBezTo>
                  <a:pt x="2418" y="58454"/>
                  <a:pt x="2418" y="58454"/>
                  <a:pt x="2418" y="58454"/>
                </a:cubicBezTo>
                <a:cubicBezTo>
                  <a:pt x="1662" y="55362"/>
                  <a:pt x="1662" y="55362"/>
                  <a:pt x="1662" y="55362"/>
                </a:cubicBezTo>
                <a:cubicBezTo>
                  <a:pt x="1662" y="55362"/>
                  <a:pt x="1662" y="55362"/>
                  <a:pt x="1662" y="55362"/>
                </a:cubicBezTo>
                <a:cubicBezTo>
                  <a:pt x="1662" y="55362"/>
                  <a:pt x="1662" y="55362"/>
                  <a:pt x="1662" y="55362"/>
                </a:cubicBezTo>
                <a:cubicBezTo>
                  <a:pt x="1662" y="55362"/>
                  <a:pt x="1662" y="55362"/>
                  <a:pt x="1662" y="55362"/>
                </a:cubicBezTo>
                <a:cubicBezTo>
                  <a:pt x="1662" y="55081"/>
                  <a:pt x="1813" y="53957"/>
                  <a:pt x="1813" y="53676"/>
                </a:cubicBezTo>
                <a:cubicBezTo>
                  <a:pt x="1813" y="53395"/>
                  <a:pt x="2115" y="52271"/>
                  <a:pt x="2115" y="52271"/>
                </a:cubicBezTo>
                <a:cubicBezTo>
                  <a:pt x="2418" y="51428"/>
                  <a:pt x="2418" y="51428"/>
                  <a:pt x="2418" y="51428"/>
                </a:cubicBezTo>
                <a:cubicBezTo>
                  <a:pt x="2418" y="51428"/>
                  <a:pt x="3022" y="51147"/>
                  <a:pt x="3173" y="51147"/>
                </a:cubicBezTo>
                <a:cubicBezTo>
                  <a:pt x="3476" y="51147"/>
                  <a:pt x="2720" y="49461"/>
                  <a:pt x="2720" y="49180"/>
                </a:cubicBezTo>
                <a:cubicBezTo>
                  <a:pt x="2720" y="48899"/>
                  <a:pt x="2418" y="47494"/>
                  <a:pt x="2418" y="47494"/>
                </a:cubicBezTo>
                <a:cubicBezTo>
                  <a:pt x="2418" y="47494"/>
                  <a:pt x="1662" y="46651"/>
                  <a:pt x="1511" y="46651"/>
                </a:cubicBezTo>
                <a:cubicBezTo>
                  <a:pt x="1360" y="46651"/>
                  <a:pt x="604" y="46370"/>
                  <a:pt x="302" y="46088"/>
                </a:cubicBezTo>
                <a:cubicBezTo>
                  <a:pt x="302" y="46088"/>
                  <a:pt x="302" y="46088"/>
                  <a:pt x="302" y="46088"/>
                </a:cubicBezTo>
                <a:cubicBezTo>
                  <a:pt x="302" y="46088"/>
                  <a:pt x="302" y="46088"/>
                  <a:pt x="302" y="46088"/>
                </a:cubicBezTo>
                <a:cubicBezTo>
                  <a:pt x="302" y="46088"/>
                  <a:pt x="151" y="45807"/>
                  <a:pt x="151" y="45526"/>
                </a:cubicBezTo>
                <a:cubicBezTo>
                  <a:pt x="151" y="45526"/>
                  <a:pt x="151" y="45526"/>
                  <a:pt x="151" y="45526"/>
                </a:cubicBezTo>
                <a:cubicBezTo>
                  <a:pt x="151" y="45526"/>
                  <a:pt x="151" y="45526"/>
                  <a:pt x="151" y="45526"/>
                </a:cubicBezTo>
                <a:cubicBezTo>
                  <a:pt x="151" y="45245"/>
                  <a:pt x="151" y="45245"/>
                  <a:pt x="151" y="45245"/>
                </a:cubicBezTo>
                <a:cubicBezTo>
                  <a:pt x="151" y="45245"/>
                  <a:pt x="151" y="45245"/>
                  <a:pt x="151" y="45245"/>
                </a:cubicBezTo>
                <a:cubicBezTo>
                  <a:pt x="151" y="45245"/>
                  <a:pt x="151" y="45245"/>
                  <a:pt x="151" y="45245"/>
                </a:cubicBezTo>
                <a:cubicBezTo>
                  <a:pt x="151" y="45245"/>
                  <a:pt x="151" y="45245"/>
                  <a:pt x="151" y="45245"/>
                </a:cubicBezTo>
                <a:cubicBezTo>
                  <a:pt x="151" y="45245"/>
                  <a:pt x="151" y="45245"/>
                  <a:pt x="151" y="45245"/>
                </a:cubicBezTo>
                <a:cubicBezTo>
                  <a:pt x="302" y="44683"/>
                  <a:pt x="755" y="44402"/>
                  <a:pt x="755" y="44402"/>
                </a:cubicBezTo>
                <a:cubicBezTo>
                  <a:pt x="1360" y="43559"/>
                  <a:pt x="1360" y="43559"/>
                  <a:pt x="1360" y="43559"/>
                </a:cubicBezTo>
                <a:cubicBezTo>
                  <a:pt x="1209" y="42435"/>
                  <a:pt x="1209" y="42435"/>
                  <a:pt x="1209" y="42435"/>
                </a:cubicBezTo>
                <a:cubicBezTo>
                  <a:pt x="1209" y="42435"/>
                  <a:pt x="1813" y="41592"/>
                  <a:pt x="1964" y="41311"/>
                </a:cubicBezTo>
                <a:cubicBezTo>
                  <a:pt x="2267" y="41030"/>
                  <a:pt x="3324" y="40468"/>
                  <a:pt x="3324" y="40468"/>
                </a:cubicBezTo>
                <a:cubicBezTo>
                  <a:pt x="3778" y="39063"/>
                  <a:pt x="3778" y="39063"/>
                  <a:pt x="3778" y="39063"/>
                </a:cubicBezTo>
                <a:cubicBezTo>
                  <a:pt x="4534" y="38782"/>
                  <a:pt x="4534" y="38782"/>
                  <a:pt x="4534" y="38782"/>
                </a:cubicBezTo>
                <a:cubicBezTo>
                  <a:pt x="4836" y="37939"/>
                  <a:pt x="4836" y="37939"/>
                  <a:pt x="4836" y="37939"/>
                </a:cubicBezTo>
                <a:cubicBezTo>
                  <a:pt x="5591" y="38220"/>
                  <a:pt x="5591" y="38220"/>
                  <a:pt x="5591" y="38220"/>
                </a:cubicBezTo>
                <a:cubicBezTo>
                  <a:pt x="6801" y="39625"/>
                  <a:pt x="6801" y="39625"/>
                  <a:pt x="6801" y="39625"/>
                </a:cubicBezTo>
                <a:cubicBezTo>
                  <a:pt x="6801" y="39625"/>
                  <a:pt x="7707" y="38782"/>
                  <a:pt x="7858" y="38501"/>
                </a:cubicBezTo>
                <a:cubicBezTo>
                  <a:pt x="8161" y="38220"/>
                  <a:pt x="8463" y="38220"/>
                  <a:pt x="8463" y="38220"/>
                </a:cubicBezTo>
                <a:cubicBezTo>
                  <a:pt x="8916" y="37658"/>
                  <a:pt x="8916" y="37658"/>
                  <a:pt x="8916" y="37658"/>
                </a:cubicBezTo>
                <a:cubicBezTo>
                  <a:pt x="8916" y="37658"/>
                  <a:pt x="9672" y="37096"/>
                  <a:pt x="9823" y="36814"/>
                </a:cubicBezTo>
                <a:cubicBezTo>
                  <a:pt x="9823" y="36814"/>
                  <a:pt x="9823" y="36814"/>
                  <a:pt x="9823" y="36814"/>
                </a:cubicBezTo>
                <a:cubicBezTo>
                  <a:pt x="9823" y="36814"/>
                  <a:pt x="9823" y="36814"/>
                  <a:pt x="9823" y="36814"/>
                </a:cubicBezTo>
                <a:cubicBezTo>
                  <a:pt x="10125" y="42154"/>
                  <a:pt x="9370" y="39344"/>
                  <a:pt x="10881" y="41311"/>
                </a:cubicBezTo>
                <a:cubicBezTo>
                  <a:pt x="11032" y="41592"/>
                  <a:pt x="10881" y="41873"/>
                  <a:pt x="11032" y="42154"/>
                </a:cubicBezTo>
                <a:cubicBezTo>
                  <a:pt x="11032" y="42716"/>
                  <a:pt x="12090" y="43559"/>
                  <a:pt x="12090" y="43559"/>
                </a:cubicBezTo>
                <a:cubicBezTo>
                  <a:pt x="12090" y="43559"/>
                  <a:pt x="12997" y="43559"/>
                  <a:pt x="12997" y="43840"/>
                </a:cubicBezTo>
                <a:cubicBezTo>
                  <a:pt x="13148" y="44121"/>
                  <a:pt x="14055" y="44964"/>
                  <a:pt x="14055" y="44964"/>
                </a:cubicBezTo>
                <a:cubicBezTo>
                  <a:pt x="16020" y="44121"/>
                  <a:pt x="16020" y="44121"/>
                  <a:pt x="16020" y="44121"/>
                </a:cubicBezTo>
                <a:cubicBezTo>
                  <a:pt x="16926" y="45807"/>
                  <a:pt x="16926" y="45807"/>
                  <a:pt x="16926" y="45807"/>
                </a:cubicBezTo>
                <a:cubicBezTo>
                  <a:pt x="17984" y="45245"/>
                  <a:pt x="17984" y="45245"/>
                  <a:pt x="17984" y="45245"/>
                </a:cubicBezTo>
                <a:cubicBezTo>
                  <a:pt x="17984" y="45245"/>
                  <a:pt x="18438" y="45526"/>
                  <a:pt x="18740" y="45807"/>
                </a:cubicBezTo>
                <a:cubicBezTo>
                  <a:pt x="19042" y="46088"/>
                  <a:pt x="19949" y="45807"/>
                  <a:pt x="20251" y="45526"/>
                </a:cubicBezTo>
                <a:cubicBezTo>
                  <a:pt x="20554" y="45526"/>
                  <a:pt x="21309" y="44683"/>
                  <a:pt x="21612" y="44964"/>
                </a:cubicBezTo>
                <a:cubicBezTo>
                  <a:pt x="21914" y="44964"/>
                  <a:pt x="23274" y="44402"/>
                  <a:pt x="23274" y="44402"/>
                </a:cubicBezTo>
                <a:cubicBezTo>
                  <a:pt x="24030" y="43278"/>
                  <a:pt x="24030" y="43278"/>
                  <a:pt x="24030" y="43278"/>
                </a:cubicBezTo>
                <a:cubicBezTo>
                  <a:pt x="25541" y="41873"/>
                  <a:pt x="25541" y="41873"/>
                  <a:pt x="25541" y="41873"/>
                </a:cubicBezTo>
                <a:cubicBezTo>
                  <a:pt x="27204" y="45245"/>
                  <a:pt x="27204" y="45245"/>
                  <a:pt x="27204" y="45245"/>
                </a:cubicBezTo>
                <a:cubicBezTo>
                  <a:pt x="27204" y="45245"/>
                  <a:pt x="28866" y="44683"/>
                  <a:pt x="29017" y="44683"/>
                </a:cubicBezTo>
                <a:cubicBezTo>
                  <a:pt x="29319" y="44683"/>
                  <a:pt x="30528" y="43840"/>
                  <a:pt x="30528" y="43840"/>
                </a:cubicBezTo>
                <a:cubicBezTo>
                  <a:pt x="30528" y="43840"/>
                  <a:pt x="30831" y="42997"/>
                  <a:pt x="30680" y="42154"/>
                </a:cubicBezTo>
                <a:cubicBezTo>
                  <a:pt x="30680" y="41592"/>
                  <a:pt x="30528" y="41030"/>
                  <a:pt x="30528" y="41030"/>
                </a:cubicBezTo>
                <a:cubicBezTo>
                  <a:pt x="30528" y="41030"/>
                  <a:pt x="30226" y="40468"/>
                  <a:pt x="30680" y="40187"/>
                </a:cubicBezTo>
                <a:cubicBezTo>
                  <a:pt x="31133" y="39906"/>
                  <a:pt x="31284" y="39344"/>
                  <a:pt x="31586" y="39063"/>
                </a:cubicBezTo>
                <a:cubicBezTo>
                  <a:pt x="32040" y="38501"/>
                  <a:pt x="32342" y="37658"/>
                  <a:pt x="32493" y="37377"/>
                </a:cubicBezTo>
                <a:cubicBezTo>
                  <a:pt x="32644" y="37377"/>
                  <a:pt x="32947" y="36252"/>
                  <a:pt x="33098" y="36252"/>
                </a:cubicBezTo>
                <a:cubicBezTo>
                  <a:pt x="33098" y="35971"/>
                  <a:pt x="33400" y="35128"/>
                  <a:pt x="33400" y="34847"/>
                </a:cubicBezTo>
                <a:cubicBezTo>
                  <a:pt x="33551" y="34847"/>
                  <a:pt x="34307" y="33442"/>
                  <a:pt x="34307" y="33442"/>
                </a:cubicBezTo>
                <a:cubicBezTo>
                  <a:pt x="34609" y="32599"/>
                  <a:pt x="34609" y="32599"/>
                  <a:pt x="34609" y="32599"/>
                </a:cubicBezTo>
                <a:cubicBezTo>
                  <a:pt x="34609" y="32599"/>
                  <a:pt x="35214" y="30351"/>
                  <a:pt x="35516" y="30070"/>
                </a:cubicBezTo>
                <a:cubicBezTo>
                  <a:pt x="35818" y="30070"/>
                  <a:pt x="37481" y="27540"/>
                  <a:pt x="37783" y="27822"/>
                </a:cubicBezTo>
                <a:cubicBezTo>
                  <a:pt x="38085" y="27822"/>
                  <a:pt x="39143" y="26135"/>
                  <a:pt x="39445" y="25573"/>
                </a:cubicBezTo>
                <a:cubicBezTo>
                  <a:pt x="39748" y="25292"/>
                  <a:pt x="39748" y="24730"/>
                  <a:pt x="40503" y="24449"/>
                </a:cubicBezTo>
                <a:cubicBezTo>
                  <a:pt x="41108" y="24449"/>
                  <a:pt x="45340" y="23325"/>
                  <a:pt x="45340" y="23325"/>
                </a:cubicBezTo>
                <a:cubicBezTo>
                  <a:pt x="47758" y="21920"/>
                  <a:pt x="47758" y="21920"/>
                  <a:pt x="47758" y="21920"/>
                </a:cubicBezTo>
                <a:cubicBezTo>
                  <a:pt x="48967" y="20234"/>
                  <a:pt x="48967" y="20234"/>
                  <a:pt x="48967" y="20234"/>
                </a:cubicBezTo>
                <a:cubicBezTo>
                  <a:pt x="49118" y="19391"/>
                  <a:pt x="49118" y="19391"/>
                  <a:pt x="49118" y="19391"/>
                </a:cubicBezTo>
                <a:cubicBezTo>
                  <a:pt x="50478" y="19391"/>
                  <a:pt x="50478" y="19391"/>
                  <a:pt x="50478" y="19391"/>
                </a:cubicBezTo>
                <a:cubicBezTo>
                  <a:pt x="50478" y="19391"/>
                  <a:pt x="50327" y="20515"/>
                  <a:pt x="50327" y="20515"/>
                </a:cubicBezTo>
                <a:cubicBezTo>
                  <a:pt x="50327" y="20796"/>
                  <a:pt x="50176" y="21077"/>
                  <a:pt x="50629" y="21358"/>
                </a:cubicBezTo>
                <a:cubicBezTo>
                  <a:pt x="51083" y="21920"/>
                  <a:pt x="51536" y="22482"/>
                  <a:pt x="51687" y="22482"/>
                </a:cubicBezTo>
                <a:cubicBezTo>
                  <a:pt x="51838" y="22482"/>
                  <a:pt x="52141" y="22763"/>
                  <a:pt x="52292" y="22763"/>
                </a:cubicBezTo>
                <a:cubicBezTo>
                  <a:pt x="52443" y="23044"/>
                  <a:pt x="53198" y="23325"/>
                  <a:pt x="53198" y="23325"/>
                </a:cubicBezTo>
                <a:cubicBezTo>
                  <a:pt x="53198" y="23325"/>
                  <a:pt x="54105" y="22763"/>
                  <a:pt x="54105" y="22763"/>
                </a:cubicBezTo>
                <a:cubicBezTo>
                  <a:pt x="54105" y="22482"/>
                  <a:pt x="54559" y="22201"/>
                  <a:pt x="54861" y="21920"/>
                </a:cubicBezTo>
                <a:cubicBezTo>
                  <a:pt x="55163" y="21639"/>
                  <a:pt x="56372" y="21077"/>
                  <a:pt x="56372" y="21077"/>
                </a:cubicBezTo>
                <a:cubicBezTo>
                  <a:pt x="56372" y="21077"/>
                  <a:pt x="56675" y="21920"/>
                  <a:pt x="56826" y="21920"/>
                </a:cubicBezTo>
                <a:cubicBezTo>
                  <a:pt x="56826" y="22201"/>
                  <a:pt x="57430" y="22763"/>
                  <a:pt x="57279" y="23325"/>
                </a:cubicBezTo>
                <a:cubicBezTo>
                  <a:pt x="57279" y="23606"/>
                  <a:pt x="57279" y="24449"/>
                  <a:pt x="57279" y="24449"/>
                </a:cubicBezTo>
                <a:cubicBezTo>
                  <a:pt x="58186" y="25292"/>
                  <a:pt x="58186" y="25292"/>
                  <a:pt x="58186" y="25292"/>
                </a:cubicBezTo>
                <a:cubicBezTo>
                  <a:pt x="58186" y="25292"/>
                  <a:pt x="58790" y="25854"/>
                  <a:pt x="58942" y="26135"/>
                </a:cubicBezTo>
                <a:cubicBezTo>
                  <a:pt x="59093" y="26135"/>
                  <a:pt x="60000" y="26416"/>
                  <a:pt x="60000" y="26416"/>
                </a:cubicBezTo>
                <a:cubicBezTo>
                  <a:pt x="60151" y="24449"/>
                  <a:pt x="60151" y="24449"/>
                  <a:pt x="60151" y="24449"/>
                </a:cubicBezTo>
                <a:cubicBezTo>
                  <a:pt x="60151" y="24449"/>
                  <a:pt x="60453" y="23887"/>
                  <a:pt x="60906" y="23887"/>
                </a:cubicBezTo>
                <a:cubicBezTo>
                  <a:pt x="61360" y="23887"/>
                  <a:pt x="62115" y="23887"/>
                  <a:pt x="62115" y="23887"/>
                </a:cubicBezTo>
                <a:cubicBezTo>
                  <a:pt x="62115" y="23887"/>
                  <a:pt x="62720" y="24168"/>
                  <a:pt x="62720" y="24449"/>
                </a:cubicBezTo>
                <a:cubicBezTo>
                  <a:pt x="62720" y="24730"/>
                  <a:pt x="63476" y="25573"/>
                  <a:pt x="63476" y="25573"/>
                </a:cubicBezTo>
                <a:cubicBezTo>
                  <a:pt x="64534" y="25011"/>
                  <a:pt x="64534" y="25011"/>
                  <a:pt x="64534" y="25011"/>
                </a:cubicBezTo>
                <a:cubicBezTo>
                  <a:pt x="64987" y="25292"/>
                  <a:pt x="64987" y="25292"/>
                  <a:pt x="64987" y="25292"/>
                </a:cubicBezTo>
                <a:cubicBezTo>
                  <a:pt x="66347" y="25573"/>
                  <a:pt x="66347" y="25573"/>
                  <a:pt x="66347" y="25573"/>
                </a:cubicBezTo>
                <a:cubicBezTo>
                  <a:pt x="66347" y="25573"/>
                  <a:pt x="66649" y="25573"/>
                  <a:pt x="66649" y="25292"/>
                </a:cubicBezTo>
                <a:cubicBezTo>
                  <a:pt x="66801" y="25011"/>
                  <a:pt x="66801" y="24168"/>
                  <a:pt x="66801" y="24168"/>
                </a:cubicBezTo>
                <a:cubicBezTo>
                  <a:pt x="66801" y="24168"/>
                  <a:pt x="66649" y="24168"/>
                  <a:pt x="67103" y="23887"/>
                </a:cubicBezTo>
                <a:cubicBezTo>
                  <a:pt x="67556" y="23887"/>
                  <a:pt x="67405" y="23606"/>
                  <a:pt x="67556" y="23887"/>
                </a:cubicBezTo>
                <a:cubicBezTo>
                  <a:pt x="67707" y="24168"/>
                  <a:pt x="68312" y="24168"/>
                  <a:pt x="68614" y="24449"/>
                </a:cubicBezTo>
                <a:cubicBezTo>
                  <a:pt x="68765" y="24449"/>
                  <a:pt x="69370" y="24730"/>
                  <a:pt x="69521" y="24730"/>
                </a:cubicBezTo>
                <a:cubicBezTo>
                  <a:pt x="69672" y="24730"/>
                  <a:pt x="71183" y="24449"/>
                  <a:pt x="71183" y="24449"/>
                </a:cubicBezTo>
                <a:cubicBezTo>
                  <a:pt x="71183" y="24449"/>
                  <a:pt x="70881" y="24730"/>
                  <a:pt x="71486" y="24168"/>
                </a:cubicBezTo>
                <a:cubicBezTo>
                  <a:pt x="72090" y="23606"/>
                  <a:pt x="72846" y="22763"/>
                  <a:pt x="72846" y="22763"/>
                </a:cubicBezTo>
                <a:cubicBezTo>
                  <a:pt x="72846" y="22763"/>
                  <a:pt x="72846" y="22763"/>
                  <a:pt x="73299" y="22482"/>
                </a:cubicBezTo>
                <a:cubicBezTo>
                  <a:pt x="73753" y="22201"/>
                  <a:pt x="73753" y="21077"/>
                  <a:pt x="73753" y="21077"/>
                </a:cubicBezTo>
                <a:cubicBezTo>
                  <a:pt x="73753" y="21077"/>
                  <a:pt x="73753" y="21077"/>
                  <a:pt x="74055" y="21077"/>
                </a:cubicBezTo>
                <a:cubicBezTo>
                  <a:pt x="74206" y="20796"/>
                  <a:pt x="75113" y="20515"/>
                  <a:pt x="75113" y="20515"/>
                </a:cubicBezTo>
                <a:cubicBezTo>
                  <a:pt x="75113" y="20515"/>
                  <a:pt x="75264" y="19953"/>
                  <a:pt x="75415" y="19672"/>
                </a:cubicBezTo>
                <a:cubicBezTo>
                  <a:pt x="75566" y="19672"/>
                  <a:pt x="75869" y="19110"/>
                  <a:pt x="75869" y="19110"/>
                </a:cubicBezTo>
                <a:cubicBezTo>
                  <a:pt x="76020" y="19110"/>
                  <a:pt x="76020" y="19110"/>
                  <a:pt x="76020" y="19110"/>
                </a:cubicBezTo>
                <a:cubicBezTo>
                  <a:pt x="76624" y="18829"/>
                  <a:pt x="76624" y="18829"/>
                  <a:pt x="76624" y="18829"/>
                </a:cubicBezTo>
                <a:cubicBezTo>
                  <a:pt x="76775" y="18266"/>
                  <a:pt x="76775" y="18266"/>
                  <a:pt x="76775" y="18266"/>
                </a:cubicBezTo>
                <a:cubicBezTo>
                  <a:pt x="77984" y="18829"/>
                  <a:pt x="77984" y="18829"/>
                  <a:pt x="77984" y="18829"/>
                </a:cubicBezTo>
                <a:cubicBezTo>
                  <a:pt x="77984" y="18829"/>
                  <a:pt x="79042" y="19110"/>
                  <a:pt x="79193" y="18829"/>
                </a:cubicBezTo>
                <a:cubicBezTo>
                  <a:pt x="79496" y="18829"/>
                  <a:pt x="79949" y="17423"/>
                  <a:pt x="80251" y="17704"/>
                </a:cubicBezTo>
                <a:cubicBezTo>
                  <a:pt x="80403" y="17704"/>
                  <a:pt x="80705" y="18266"/>
                  <a:pt x="80856" y="17985"/>
                </a:cubicBezTo>
                <a:cubicBezTo>
                  <a:pt x="81007" y="17985"/>
                  <a:pt x="81158" y="18548"/>
                  <a:pt x="81612" y="17985"/>
                </a:cubicBezTo>
                <a:cubicBezTo>
                  <a:pt x="82216" y="17142"/>
                  <a:pt x="82670" y="16018"/>
                  <a:pt x="82670" y="16018"/>
                </a:cubicBezTo>
                <a:cubicBezTo>
                  <a:pt x="82670" y="16018"/>
                  <a:pt x="82518" y="15456"/>
                  <a:pt x="82972" y="15175"/>
                </a:cubicBezTo>
                <a:cubicBezTo>
                  <a:pt x="83425" y="14613"/>
                  <a:pt x="83425" y="14332"/>
                  <a:pt x="83727" y="14332"/>
                </a:cubicBezTo>
                <a:cubicBezTo>
                  <a:pt x="84030" y="14051"/>
                  <a:pt x="84030" y="14332"/>
                  <a:pt x="84181" y="13770"/>
                </a:cubicBezTo>
                <a:cubicBezTo>
                  <a:pt x="84181" y="13208"/>
                  <a:pt x="84181" y="12646"/>
                  <a:pt x="84332" y="12365"/>
                </a:cubicBezTo>
                <a:cubicBezTo>
                  <a:pt x="84483" y="12365"/>
                  <a:pt x="84634" y="11803"/>
                  <a:pt x="84937" y="11803"/>
                </a:cubicBezTo>
                <a:cubicBezTo>
                  <a:pt x="85088" y="11522"/>
                  <a:pt x="85390" y="11241"/>
                  <a:pt x="85390" y="10679"/>
                </a:cubicBezTo>
                <a:cubicBezTo>
                  <a:pt x="85541" y="10117"/>
                  <a:pt x="85239" y="10398"/>
                  <a:pt x="85541" y="10117"/>
                </a:cubicBezTo>
                <a:cubicBezTo>
                  <a:pt x="85843" y="9555"/>
                  <a:pt x="85994" y="9274"/>
                  <a:pt x="86297" y="8711"/>
                </a:cubicBezTo>
                <a:cubicBezTo>
                  <a:pt x="86599" y="8430"/>
                  <a:pt x="86750" y="8149"/>
                  <a:pt x="86901" y="7587"/>
                </a:cubicBezTo>
                <a:cubicBezTo>
                  <a:pt x="86901" y="7025"/>
                  <a:pt x="86901" y="6744"/>
                  <a:pt x="87052" y="5901"/>
                </a:cubicBezTo>
                <a:cubicBezTo>
                  <a:pt x="87355" y="5058"/>
                  <a:pt x="87052" y="4496"/>
                  <a:pt x="87506" y="4496"/>
                </a:cubicBezTo>
                <a:cubicBezTo>
                  <a:pt x="87657" y="4496"/>
                  <a:pt x="87657" y="4496"/>
                  <a:pt x="87808" y="4496"/>
                </a:cubicBezTo>
                <a:cubicBezTo>
                  <a:pt x="87808" y="5058"/>
                  <a:pt x="88110" y="5339"/>
                  <a:pt x="88413" y="5620"/>
                </a:cubicBezTo>
                <a:cubicBezTo>
                  <a:pt x="88866" y="5901"/>
                  <a:pt x="90075" y="4777"/>
                  <a:pt x="90075" y="4777"/>
                </a:cubicBezTo>
                <a:cubicBezTo>
                  <a:pt x="90831" y="4215"/>
                  <a:pt x="90831" y="4215"/>
                  <a:pt x="90831" y="4215"/>
                </a:cubicBezTo>
                <a:cubicBezTo>
                  <a:pt x="91586" y="3934"/>
                  <a:pt x="91586" y="3934"/>
                  <a:pt x="91586" y="3934"/>
                </a:cubicBezTo>
                <a:cubicBezTo>
                  <a:pt x="91586" y="3934"/>
                  <a:pt x="93400" y="3653"/>
                  <a:pt x="93702" y="3372"/>
                </a:cubicBezTo>
                <a:cubicBezTo>
                  <a:pt x="94156" y="2810"/>
                  <a:pt x="94156" y="2248"/>
                  <a:pt x="94156" y="2248"/>
                </a:cubicBezTo>
                <a:cubicBezTo>
                  <a:pt x="94005" y="1405"/>
                  <a:pt x="94005" y="1405"/>
                  <a:pt x="94005" y="1405"/>
                </a:cubicBezTo>
                <a:cubicBezTo>
                  <a:pt x="94005" y="1405"/>
                  <a:pt x="94911" y="562"/>
                  <a:pt x="95365" y="281"/>
                </a:cubicBezTo>
                <a:cubicBezTo>
                  <a:pt x="95667" y="0"/>
                  <a:pt x="95969" y="562"/>
                  <a:pt x="95969" y="562"/>
                </a:cubicBezTo>
                <a:cubicBezTo>
                  <a:pt x="96423" y="1405"/>
                  <a:pt x="96423" y="1405"/>
                  <a:pt x="96423" y="1405"/>
                </a:cubicBezTo>
                <a:cubicBezTo>
                  <a:pt x="97027" y="2529"/>
                  <a:pt x="97027" y="2529"/>
                  <a:pt x="97027" y="2529"/>
                </a:cubicBezTo>
                <a:cubicBezTo>
                  <a:pt x="97783" y="2810"/>
                  <a:pt x="97783" y="2810"/>
                  <a:pt x="97783" y="2810"/>
                </a:cubicBezTo>
                <a:cubicBezTo>
                  <a:pt x="97783" y="2810"/>
                  <a:pt x="98236" y="3653"/>
                  <a:pt x="98387" y="3934"/>
                </a:cubicBezTo>
                <a:cubicBezTo>
                  <a:pt x="98387" y="4496"/>
                  <a:pt x="98387" y="4496"/>
                  <a:pt x="98387" y="4496"/>
                </a:cubicBezTo>
                <a:cubicBezTo>
                  <a:pt x="99294" y="4496"/>
                  <a:pt x="99294" y="4496"/>
                  <a:pt x="99294" y="4496"/>
                </a:cubicBezTo>
                <a:cubicBezTo>
                  <a:pt x="100050" y="3934"/>
                  <a:pt x="100050" y="3934"/>
                  <a:pt x="100050" y="3934"/>
                </a:cubicBezTo>
                <a:cubicBezTo>
                  <a:pt x="100806" y="4777"/>
                  <a:pt x="100806" y="4777"/>
                  <a:pt x="100806" y="4777"/>
                </a:cubicBezTo>
                <a:cubicBezTo>
                  <a:pt x="101410" y="4496"/>
                  <a:pt x="101410" y="4496"/>
                  <a:pt x="101410" y="4496"/>
                </a:cubicBezTo>
                <a:cubicBezTo>
                  <a:pt x="101561" y="4496"/>
                  <a:pt x="101561" y="4777"/>
                  <a:pt x="101712" y="4777"/>
                </a:cubicBezTo>
                <a:cubicBezTo>
                  <a:pt x="101712" y="5058"/>
                  <a:pt x="101712" y="5339"/>
                  <a:pt x="101712" y="5620"/>
                </a:cubicBezTo>
                <a:cubicBezTo>
                  <a:pt x="101863" y="6182"/>
                  <a:pt x="102015" y="6182"/>
                  <a:pt x="102015" y="6182"/>
                </a:cubicBezTo>
                <a:cubicBezTo>
                  <a:pt x="102317" y="7025"/>
                  <a:pt x="102317" y="7025"/>
                  <a:pt x="102317" y="7025"/>
                </a:cubicBezTo>
                <a:cubicBezTo>
                  <a:pt x="102468" y="7868"/>
                  <a:pt x="102468" y="7868"/>
                  <a:pt x="102468" y="7868"/>
                </a:cubicBezTo>
                <a:cubicBezTo>
                  <a:pt x="102317" y="9274"/>
                  <a:pt x="102317" y="9274"/>
                  <a:pt x="102317" y="9274"/>
                </a:cubicBezTo>
                <a:cubicBezTo>
                  <a:pt x="102317" y="9274"/>
                  <a:pt x="102015" y="10679"/>
                  <a:pt x="101863" y="11241"/>
                </a:cubicBezTo>
                <a:cubicBezTo>
                  <a:pt x="101712" y="11803"/>
                  <a:pt x="102166" y="12365"/>
                  <a:pt x="102166" y="12365"/>
                </a:cubicBezTo>
                <a:cubicBezTo>
                  <a:pt x="102317" y="12927"/>
                  <a:pt x="102317" y="12927"/>
                  <a:pt x="102317" y="12927"/>
                </a:cubicBezTo>
                <a:cubicBezTo>
                  <a:pt x="102317" y="12927"/>
                  <a:pt x="102468" y="13770"/>
                  <a:pt x="102619" y="14051"/>
                </a:cubicBezTo>
                <a:cubicBezTo>
                  <a:pt x="102619" y="14332"/>
                  <a:pt x="102619" y="14332"/>
                  <a:pt x="102619" y="14332"/>
                </a:cubicBezTo>
                <a:cubicBezTo>
                  <a:pt x="102619" y="14332"/>
                  <a:pt x="103073" y="14894"/>
                  <a:pt x="103224" y="15175"/>
                </a:cubicBezTo>
                <a:cubicBezTo>
                  <a:pt x="103375" y="15175"/>
                  <a:pt x="103375" y="15456"/>
                  <a:pt x="103526" y="15737"/>
                </a:cubicBezTo>
                <a:cubicBezTo>
                  <a:pt x="103677" y="16018"/>
                  <a:pt x="103526" y="16580"/>
                  <a:pt x="103526" y="16580"/>
                </a:cubicBezTo>
                <a:cubicBezTo>
                  <a:pt x="103073" y="17423"/>
                  <a:pt x="103073" y="17423"/>
                  <a:pt x="103073" y="17423"/>
                </a:cubicBezTo>
                <a:cubicBezTo>
                  <a:pt x="103073" y="17423"/>
                  <a:pt x="103828" y="17423"/>
                  <a:pt x="104130" y="17423"/>
                </a:cubicBezTo>
                <a:cubicBezTo>
                  <a:pt x="104433" y="17423"/>
                  <a:pt x="104433" y="17423"/>
                  <a:pt x="104584" y="17423"/>
                </a:cubicBezTo>
                <a:cubicBezTo>
                  <a:pt x="104735" y="17423"/>
                  <a:pt x="105340" y="17704"/>
                  <a:pt x="105340" y="17704"/>
                </a:cubicBezTo>
                <a:cubicBezTo>
                  <a:pt x="105340" y="17704"/>
                  <a:pt x="105642" y="17423"/>
                  <a:pt x="105793" y="17423"/>
                </a:cubicBezTo>
                <a:cubicBezTo>
                  <a:pt x="106095" y="17142"/>
                  <a:pt x="106397" y="17142"/>
                  <a:pt x="106397" y="17142"/>
                </a:cubicBezTo>
                <a:cubicBezTo>
                  <a:pt x="107002" y="16299"/>
                  <a:pt x="107002" y="16299"/>
                  <a:pt x="107002" y="16299"/>
                </a:cubicBezTo>
                <a:cubicBezTo>
                  <a:pt x="107002" y="16299"/>
                  <a:pt x="107758" y="16580"/>
                  <a:pt x="108060" y="16580"/>
                </a:cubicBezTo>
                <a:cubicBezTo>
                  <a:pt x="108211" y="16580"/>
                  <a:pt x="108664" y="16580"/>
                  <a:pt x="108816" y="16299"/>
                </a:cubicBezTo>
                <a:cubicBezTo>
                  <a:pt x="108967" y="16299"/>
                  <a:pt x="109571" y="16861"/>
                  <a:pt x="109571" y="16861"/>
                </a:cubicBezTo>
                <a:cubicBezTo>
                  <a:pt x="109571" y="16861"/>
                  <a:pt x="109874" y="17423"/>
                  <a:pt x="110025" y="17704"/>
                </a:cubicBezTo>
                <a:cubicBezTo>
                  <a:pt x="109874" y="18548"/>
                  <a:pt x="109722" y="19110"/>
                  <a:pt x="109722" y="19391"/>
                </a:cubicBezTo>
                <a:cubicBezTo>
                  <a:pt x="109874" y="19672"/>
                  <a:pt x="110327" y="20234"/>
                  <a:pt x="110478" y="20796"/>
                </a:cubicBezTo>
                <a:cubicBezTo>
                  <a:pt x="110478" y="21077"/>
                  <a:pt x="109874" y="22482"/>
                  <a:pt x="109874" y="22482"/>
                </a:cubicBezTo>
                <a:close/>
                <a:moveTo>
                  <a:pt x="0" y="46088"/>
                </a:moveTo>
                <a:cubicBezTo>
                  <a:pt x="0" y="46088"/>
                  <a:pt x="0" y="46088"/>
                  <a:pt x="0" y="46088"/>
                </a:cubicBezTo>
                <a:cubicBezTo>
                  <a:pt x="0" y="46088"/>
                  <a:pt x="0" y="46088"/>
                  <a:pt x="0" y="46088"/>
                </a:cubicBezTo>
                <a:cubicBezTo>
                  <a:pt x="0" y="46088"/>
                  <a:pt x="0" y="46088"/>
                  <a:pt x="0" y="46088"/>
                </a:cubicBezTo>
                <a:cubicBezTo>
                  <a:pt x="0" y="46088"/>
                  <a:pt x="0" y="46088"/>
                  <a:pt x="0" y="46088"/>
                </a:cubicBezTo>
                <a:cubicBezTo>
                  <a:pt x="0" y="46088"/>
                  <a:pt x="0" y="46088"/>
                  <a:pt x="0" y="46088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" name="Google Shape;3054;p256">
            <a:extLst>
              <a:ext uri="{FF2B5EF4-FFF2-40B4-BE49-F238E27FC236}">
                <a16:creationId xmlns:a16="http://schemas.microsoft.com/office/drawing/2014/main" id="{B6970647-F354-92AA-FB94-E01EC0A65561}"/>
              </a:ext>
            </a:extLst>
          </p:cNvPr>
          <p:cNvSpPr/>
          <p:nvPr/>
        </p:nvSpPr>
        <p:spPr>
          <a:xfrm>
            <a:off x="9363295" y="-221097"/>
            <a:ext cx="1160463" cy="205394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7570" y="20761"/>
                </a:moveTo>
                <a:cubicBezTo>
                  <a:pt x="6435" y="19723"/>
                  <a:pt x="6435" y="19723"/>
                  <a:pt x="6435" y="19723"/>
                </a:cubicBezTo>
                <a:cubicBezTo>
                  <a:pt x="4921" y="19307"/>
                  <a:pt x="4921" y="19307"/>
                  <a:pt x="4921" y="19307"/>
                </a:cubicBezTo>
                <a:cubicBezTo>
                  <a:pt x="3028" y="18892"/>
                  <a:pt x="3028" y="18892"/>
                  <a:pt x="3028" y="18892"/>
                </a:cubicBezTo>
                <a:cubicBezTo>
                  <a:pt x="3028" y="18062"/>
                  <a:pt x="3028" y="18062"/>
                  <a:pt x="3028" y="18062"/>
                </a:cubicBezTo>
                <a:cubicBezTo>
                  <a:pt x="378" y="17231"/>
                  <a:pt x="378" y="17231"/>
                  <a:pt x="378" y="17231"/>
                </a:cubicBezTo>
                <a:cubicBezTo>
                  <a:pt x="378" y="17231"/>
                  <a:pt x="0" y="16816"/>
                  <a:pt x="378" y="16816"/>
                </a:cubicBezTo>
                <a:cubicBezTo>
                  <a:pt x="757" y="16608"/>
                  <a:pt x="2271" y="16608"/>
                  <a:pt x="2649" y="16608"/>
                </a:cubicBezTo>
                <a:cubicBezTo>
                  <a:pt x="2649" y="16401"/>
                  <a:pt x="2649" y="16401"/>
                  <a:pt x="2649" y="16401"/>
                </a:cubicBezTo>
                <a:cubicBezTo>
                  <a:pt x="3028" y="16401"/>
                  <a:pt x="3028" y="16401"/>
                  <a:pt x="3028" y="16401"/>
                </a:cubicBezTo>
                <a:cubicBezTo>
                  <a:pt x="3406" y="16401"/>
                  <a:pt x="3406" y="16193"/>
                  <a:pt x="3406" y="16193"/>
                </a:cubicBezTo>
                <a:cubicBezTo>
                  <a:pt x="3406" y="16193"/>
                  <a:pt x="2271" y="14948"/>
                  <a:pt x="3028" y="14325"/>
                </a:cubicBezTo>
                <a:cubicBezTo>
                  <a:pt x="3028" y="14117"/>
                  <a:pt x="3028" y="14117"/>
                  <a:pt x="3028" y="14117"/>
                </a:cubicBezTo>
                <a:cubicBezTo>
                  <a:pt x="3028" y="14117"/>
                  <a:pt x="3028" y="14117"/>
                  <a:pt x="3028" y="14117"/>
                </a:cubicBezTo>
                <a:cubicBezTo>
                  <a:pt x="3785" y="13702"/>
                  <a:pt x="5299" y="13702"/>
                  <a:pt x="6056" y="14117"/>
                </a:cubicBezTo>
                <a:cubicBezTo>
                  <a:pt x="7570" y="14325"/>
                  <a:pt x="7570" y="14325"/>
                  <a:pt x="7570" y="14325"/>
                </a:cubicBezTo>
                <a:cubicBezTo>
                  <a:pt x="10220" y="15986"/>
                  <a:pt x="10220" y="15986"/>
                  <a:pt x="10220" y="15986"/>
                </a:cubicBezTo>
                <a:cubicBezTo>
                  <a:pt x="12492" y="17439"/>
                  <a:pt x="12492" y="17439"/>
                  <a:pt x="12492" y="17439"/>
                </a:cubicBezTo>
                <a:cubicBezTo>
                  <a:pt x="12492" y="17439"/>
                  <a:pt x="15899" y="18892"/>
                  <a:pt x="16656" y="19100"/>
                </a:cubicBezTo>
                <a:cubicBezTo>
                  <a:pt x="17413" y="19307"/>
                  <a:pt x="21577" y="19723"/>
                  <a:pt x="21955" y="19930"/>
                </a:cubicBezTo>
                <a:cubicBezTo>
                  <a:pt x="23091" y="19100"/>
                  <a:pt x="23091" y="19100"/>
                  <a:pt x="23091" y="19100"/>
                </a:cubicBezTo>
                <a:cubicBezTo>
                  <a:pt x="24605" y="18477"/>
                  <a:pt x="24605" y="18477"/>
                  <a:pt x="24605" y="18477"/>
                </a:cubicBezTo>
                <a:cubicBezTo>
                  <a:pt x="24227" y="18062"/>
                  <a:pt x="24227" y="18062"/>
                  <a:pt x="24227" y="18062"/>
                </a:cubicBezTo>
                <a:cubicBezTo>
                  <a:pt x="26119" y="17439"/>
                  <a:pt x="26119" y="17439"/>
                  <a:pt x="26119" y="17439"/>
                </a:cubicBezTo>
                <a:cubicBezTo>
                  <a:pt x="27634" y="18062"/>
                  <a:pt x="27634" y="18062"/>
                  <a:pt x="27634" y="18062"/>
                </a:cubicBezTo>
                <a:cubicBezTo>
                  <a:pt x="31419" y="18477"/>
                  <a:pt x="31419" y="18477"/>
                  <a:pt x="31419" y="18477"/>
                </a:cubicBezTo>
                <a:cubicBezTo>
                  <a:pt x="32933" y="19100"/>
                  <a:pt x="32933" y="19100"/>
                  <a:pt x="32933" y="19100"/>
                </a:cubicBezTo>
                <a:cubicBezTo>
                  <a:pt x="32933" y="19100"/>
                  <a:pt x="33312" y="19100"/>
                  <a:pt x="33690" y="18892"/>
                </a:cubicBezTo>
                <a:cubicBezTo>
                  <a:pt x="33690" y="18892"/>
                  <a:pt x="33690" y="18892"/>
                  <a:pt x="33690" y="18892"/>
                </a:cubicBezTo>
                <a:cubicBezTo>
                  <a:pt x="34069" y="18892"/>
                  <a:pt x="34069" y="18892"/>
                  <a:pt x="34447" y="18685"/>
                </a:cubicBezTo>
                <a:cubicBezTo>
                  <a:pt x="34447" y="18685"/>
                  <a:pt x="34447" y="18685"/>
                  <a:pt x="34447" y="18685"/>
                </a:cubicBezTo>
                <a:cubicBezTo>
                  <a:pt x="34447" y="18685"/>
                  <a:pt x="34447" y="18685"/>
                  <a:pt x="34447" y="18685"/>
                </a:cubicBezTo>
                <a:cubicBezTo>
                  <a:pt x="34447" y="18685"/>
                  <a:pt x="34447" y="18685"/>
                  <a:pt x="34447" y="18685"/>
                </a:cubicBezTo>
                <a:cubicBezTo>
                  <a:pt x="34447" y="18685"/>
                  <a:pt x="34447" y="18685"/>
                  <a:pt x="34447" y="18685"/>
                </a:cubicBezTo>
                <a:cubicBezTo>
                  <a:pt x="34447" y="18685"/>
                  <a:pt x="34447" y="18685"/>
                  <a:pt x="34447" y="18685"/>
                </a:cubicBezTo>
                <a:cubicBezTo>
                  <a:pt x="34447" y="18477"/>
                  <a:pt x="34447" y="18477"/>
                  <a:pt x="34447" y="18477"/>
                </a:cubicBezTo>
                <a:cubicBezTo>
                  <a:pt x="34447" y="18269"/>
                  <a:pt x="34447" y="17024"/>
                  <a:pt x="34447" y="17024"/>
                </a:cubicBezTo>
                <a:cubicBezTo>
                  <a:pt x="34447" y="17024"/>
                  <a:pt x="33312" y="16608"/>
                  <a:pt x="34447" y="16193"/>
                </a:cubicBezTo>
                <a:cubicBezTo>
                  <a:pt x="35583" y="15570"/>
                  <a:pt x="37097" y="14948"/>
                  <a:pt x="37097" y="14948"/>
                </a:cubicBezTo>
                <a:cubicBezTo>
                  <a:pt x="37097" y="14948"/>
                  <a:pt x="37854" y="14740"/>
                  <a:pt x="37854" y="14117"/>
                </a:cubicBezTo>
                <a:cubicBezTo>
                  <a:pt x="37854" y="13494"/>
                  <a:pt x="37097" y="11833"/>
                  <a:pt x="37097" y="11833"/>
                </a:cubicBezTo>
                <a:cubicBezTo>
                  <a:pt x="37097" y="11833"/>
                  <a:pt x="36340" y="10795"/>
                  <a:pt x="36340" y="10380"/>
                </a:cubicBezTo>
                <a:cubicBezTo>
                  <a:pt x="37097" y="7889"/>
                  <a:pt x="35205" y="6020"/>
                  <a:pt x="36340" y="5813"/>
                </a:cubicBezTo>
                <a:cubicBezTo>
                  <a:pt x="36340" y="5813"/>
                  <a:pt x="36340" y="5813"/>
                  <a:pt x="36340" y="5813"/>
                </a:cubicBezTo>
                <a:cubicBezTo>
                  <a:pt x="37097" y="5605"/>
                  <a:pt x="37097" y="5605"/>
                  <a:pt x="37097" y="5605"/>
                </a:cubicBezTo>
                <a:cubicBezTo>
                  <a:pt x="38233" y="5190"/>
                  <a:pt x="38233" y="5190"/>
                  <a:pt x="38233" y="5190"/>
                </a:cubicBezTo>
                <a:cubicBezTo>
                  <a:pt x="38233" y="5190"/>
                  <a:pt x="38233" y="4982"/>
                  <a:pt x="38233" y="4982"/>
                </a:cubicBezTo>
                <a:cubicBezTo>
                  <a:pt x="38233" y="3944"/>
                  <a:pt x="35962" y="2906"/>
                  <a:pt x="38611" y="2698"/>
                </a:cubicBezTo>
                <a:cubicBezTo>
                  <a:pt x="39747" y="2283"/>
                  <a:pt x="39747" y="2283"/>
                  <a:pt x="39747" y="2283"/>
                </a:cubicBezTo>
                <a:cubicBezTo>
                  <a:pt x="43154" y="2283"/>
                  <a:pt x="43154" y="2283"/>
                  <a:pt x="43154" y="2283"/>
                </a:cubicBezTo>
                <a:cubicBezTo>
                  <a:pt x="43911" y="1038"/>
                  <a:pt x="43911" y="1038"/>
                  <a:pt x="43911" y="1038"/>
                </a:cubicBezTo>
                <a:cubicBezTo>
                  <a:pt x="45425" y="207"/>
                  <a:pt x="45425" y="207"/>
                  <a:pt x="45425" y="207"/>
                </a:cubicBezTo>
                <a:cubicBezTo>
                  <a:pt x="46561" y="207"/>
                  <a:pt x="48075" y="0"/>
                  <a:pt x="48832" y="207"/>
                </a:cubicBezTo>
                <a:cubicBezTo>
                  <a:pt x="49589" y="830"/>
                  <a:pt x="49589" y="1245"/>
                  <a:pt x="51104" y="1453"/>
                </a:cubicBezTo>
                <a:cubicBezTo>
                  <a:pt x="55646" y="2283"/>
                  <a:pt x="55646" y="2283"/>
                  <a:pt x="55646" y="2283"/>
                </a:cubicBezTo>
                <a:cubicBezTo>
                  <a:pt x="58296" y="2491"/>
                  <a:pt x="58296" y="2491"/>
                  <a:pt x="58296" y="2491"/>
                </a:cubicBezTo>
                <a:cubicBezTo>
                  <a:pt x="59053" y="2906"/>
                  <a:pt x="59053" y="2906"/>
                  <a:pt x="59053" y="2906"/>
                </a:cubicBezTo>
                <a:cubicBezTo>
                  <a:pt x="59053" y="2906"/>
                  <a:pt x="59053" y="2906"/>
                  <a:pt x="59053" y="2906"/>
                </a:cubicBezTo>
                <a:cubicBezTo>
                  <a:pt x="59053" y="3321"/>
                  <a:pt x="59053" y="3737"/>
                  <a:pt x="59432" y="3944"/>
                </a:cubicBezTo>
                <a:cubicBezTo>
                  <a:pt x="59432" y="4359"/>
                  <a:pt x="59810" y="4982"/>
                  <a:pt x="59810" y="4982"/>
                </a:cubicBezTo>
                <a:cubicBezTo>
                  <a:pt x="59810" y="4982"/>
                  <a:pt x="59432" y="5605"/>
                  <a:pt x="59432" y="6020"/>
                </a:cubicBezTo>
                <a:cubicBezTo>
                  <a:pt x="59053" y="6228"/>
                  <a:pt x="59053" y="6851"/>
                  <a:pt x="59053" y="7058"/>
                </a:cubicBezTo>
                <a:cubicBezTo>
                  <a:pt x="59053" y="7266"/>
                  <a:pt x="59053" y="7474"/>
                  <a:pt x="59053" y="7681"/>
                </a:cubicBezTo>
                <a:cubicBezTo>
                  <a:pt x="59053" y="8096"/>
                  <a:pt x="59432" y="8719"/>
                  <a:pt x="59810" y="8927"/>
                </a:cubicBezTo>
                <a:cubicBezTo>
                  <a:pt x="59810" y="9134"/>
                  <a:pt x="61703" y="9757"/>
                  <a:pt x="61703" y="9757"/>
                </a:cubicBezTo>
                <a:cubicBezTo>
                  <a:pt x="61703" y="9757"/>
                  <a:pt x="61703" y="9965"/>
                  <a:pt x="59810" y="10795"/>
                </a:cubicBezTo>
                <a:cubicBezTo>
                  <a:pt x="58296" y="11833"/>
                  <a:pt x="58296" y="11833"/>
                  <a:pt x="58296" y="11833"/>
                </a:cubicBezTo>
                <a:cubicBezTo>
                  <a:pt x="60946" y="12249"/>
                  <a:pt x="60946" y="12249"/>
                  <a:pt x="60946" y="12249"/>
                </a:cubicBezTo>
                <a:cubicBezTo>
                  <a:pt x="60946" y="13287"/>
                  <a:pt x="60946" y="13287"/>
                  <a:pt x="60946" y="13287"/>
                </a:cubicBezTo>
                <a:cubicBezTo>
                  <a:pt x="60946" y="14117"/>
                  <a:pt x="60946" y="14117"/>
                  <a:pt x="60946" y="14117"/>
                </a:cubicBezTo>
                <a:cubicBezTo>
                  <a:pt x="60567" y="15363"/>
                  <a:pt x="60567" y="15363"/>
                  <a:pt x="60567" y="15363"/>
                </a:cubicBezTo>
                <a:cubicBezTo>
                  <a:pt x="59432" y="16193"/>
                  <a:pt x="59432" y="16193"/>
                  <a:pt x="59432" y="16193"/>
                </a:cubicBezTo>
                <a:cubicBezTo>
                  <a:pt x="60946" y="17439"/>
                  <a:pt x="60946" y="17439"/>
                  <a:pt x="60946" y="17439"/>
                </a:cubicBezTo>
                <a:cubicBezTo>
                  <a:pt x="62839" y="19100"/>
                  <a:pt x="62839" y="19100"/>
                  <a:pt x="62839" y="19100"/>
                </a:cubicBezTo>
                <a:cubicBezTo>
                  <a:pt x="65488" y="19930"/>
                  <a:pt x="65488" y="19930"/>
                  <a:pt x="65488" y="19930"/>
                </a:cubicBezTo>
                <a:cubicBezTo>
                  <a:pt x="65488" y="19930"/>
                  <a:pt x="65867" y="19723"/>
                  <a:pt x="68517" y="19930"/>
                </a:cubicBezTo>
                <a:cubicBezTo>
                  <a:pt x="71167" y="20346"/>
                  <a:pt x="71924" y="21591"/>
                  <a:pt x="71924" y="21591"/>
                </a:cubicBezTo>
                <a:cubicBezTo>
                  <a:pt x="73438" y="22629"/>
                  <a:pt x="73438" y="22629"/>
                  <a:pt x="73438" y="22629"/>
                </a:cubicBezTo>
                <a:cubicBezTo>
                  <a:pt x="75709" y="23460"/>
                  <a:pt x="75709" y="23460"/>
                  <a:pt x="75709" y="23460"/>
                </a:cubicBezTo>
                <a:cubicBezTo>
                  <a:pt x="76845" y="24083"/>
                  <a:pt x="76845" y="24083"/>
                  <a:pt x="76845" y="24083"/>
                </a:cubicBezTo>
                <a:cubicBezTo>
                  <a:pt x="76466" y="25951"/>
                  <a:pt x="76466" y="25951"/>
                  <a:pt x="76466" y="25951"/>
                </a:cubicBezTo>
                <a:cubicBezTo>
                  <a:pt x="76466" y="25951"/>
                  <a:pt x="75331" y="26989"/>
                  <a:pt x="75709" y="27820"/>
                </a:cubicBezTo>
                <a:cubicBezTo>
                  <a:pt x="75709" y="28858"/>
                  <a:pt x="74574" y="30311"/>
                  <a:pt x="74574" y="30726"/>
                </a:cubicBezTo>
                <a:cubicBezTo>
                  <a:pt x="74574" y="30934"/>
                  <a:pt x="73817" y="32595"/>
                  <a:pt x="73817" y="32595"/>
                </a:cubicBezTo>
                <a:cubicBezTo>
                  <a:pt x="74952" y="34048"/>
                  <a:pt x="74952" y="34048"/>
                  <a:pt x="74952" y="34048"/>
                </a:cubicBezTo>
                <a:cubicBezTo>
                  <a:pt x="76466" y="34878"/>
                  <a:pt x="76466" y="34878"/>
                  <a:pt x="76466" y="34878"/>
                </a:cubicBezTo>
                <a:cubicBezTo>
                  <a:pt x="78738" y="36332"/>
                  <a:pt x="78738" y="36332"/>
                  <a:pt x="78738" y="36332"/>
                </a:cubicBezTo>
                <a:cubicBezTo>
                  <a:pt x="81766" y="38200"/>
                  <a:pt x="81766" y="38200"/>
                  <a:pt x="81766" y="38200"/>
                </a:cubicBezTo>
                <a:cubicBezTo>
                  <a:pt x="82902" y="39653"/>
                  <a:pt x="82902" y="39653"/>
                  <a:pt x="82902" y="39653"/>
                </a:cubicBezTo>
                <a:cubicBezTo>
                  <a:pt x="82902" y="39653"/>
                  <a:pt x="85930" y="40692"/>
                  <a:pt x="85930" y="40899"/>
                </a:cubicBezTo>
                <a:cubicBezTo>
                  <a:pt x="85930" y="41107"/>
                  <a:pt x="87066" y="42145"/>
                  <a:pt x="87066" y="42145"/>
                </a:cubicBezTo>
                <a:cubicBezTo>
                  <a:pt x="88580" y="43598"/>
                  <a:pt x="88580" y="43598"/>
                  <a:pt x="88580" y="43598"/>
                </a:cubicBezTo>
                <a:cubicBezTo>
                  <a:pt x="88201" y="44636"/>
                  <a:pt x="88201" y="44636"/>
                  <a:pt x="88201" y="44636"/>
                </a:cubicBezTo>
                <a:cubicBezTo>
                  <a:pt x="87066" y="45674"/>
                  <a:pt x="87066" y="45674"/>
                  <a:pt x="87066" y="45674"/>
                </a:cubicBezTo>
                <a:cubicBezTo>
                  <a:pt x="87066" y="46297"/>
                  <a:pt x="87066" y="46297"/>
                  <a:pt x="87066" y="46297"/>
                </a:cubicBezTo>
                <a:cubicBezTo>
                  <a:pt x="88201" y="47128"/>
                  <a:pt x="88201" y="47128"/>
                  <a:pt x="88201" y="47128"/>
                </a:cubicBezTo>
                <a:cubicBezTo>
                  <a:pt x="87823" y="47958"/>
                  <a:pt x="87823" y="47958"/>
                  <a:pt x="87823" y="47958"/>
                </a:cubicBezTo>
                <a:cubicBezTo>
                  <a:pt x="88958" y="49204"/>
                  <a:pt x="88958" y="49204"/>
                  <a:pt x="88958" y="49204"/>
                </a:cubicBezTo>
                <a:cubicBezTo>
                  <a:pt x="88201" y="50034"/>
                  <a:pt x="88201" y="50034"/>
                  <a:pt x="88201" y="50034"/>
                </a:cubicBezTo>
                <a:cubicBezTo>
                  <a:pt x="90094" y="50449"/>
                  <a:pt x="90094" y="50449"/>
                  <a:pt x="90094" y="50449"/>
                </a:cubicBezTo>
                <a:cubicBezTo>
                  <a:pt x="90094" y="50449"/>
                  <a:pt x="90473" y="50657"/>
                  <a:pt x="90094" y="51072"/>
                </a:cubicBezTo>
                <a:cubicBezTo>
                  <a:pt x="89716" y="51280"/>
                  <a:pt x="89337" y="52733"/>
                  <a:pt x="89337" y="52733"/>
                </a:cubicBezTo>
                <a:cubicBezTo>
                  <a:pt x="91230" y="54394"/>
                  <a:pt x="91230" y="54394"/>
                  <a:pt x="91230" y="54394"/>
                </a:cubicBezTo>
                <a:cubicBezTo>
                  <a:pt x="93880" y="54602"/>
                  <a:pt x="93880" y="54602"/>
                  <a:pt x="93880" y="54602"/>
                </a:cubicBezTo>
                <a:cubicBezTo>
                  <a:pt x="93880" y="54602"/>
                  <a:pt x="95394" y="54602"/>
                  <a:pt x="95394" y="54809"/>
                </a:cubicBezTo>
                <a:cubicBezTo>
                  <a:pt x="95772" y="55017"/>
                  <a:pt x="96151" y="55640"/>
                  <a:pt x="96151" y="55640"/>
                </a:cubicBezTo>
                <a:cubicBezTo>
                  <a:pt x="95015" y="56885"/>
                  <a:pt x="95015" y="56885"/>
                  <a:pt x="95015" y="56885"/>
                </a:cubicBezTo>
                <a:cubicBezTo>
                  <a:pt x="95015" y="56885"/>
                  <a:pt x="95394" y="57508"/>
                  <a:pt x="96529" y="57923"/>
                </a:cubicBezTo>
                <a:cubicBezTo>
                  <a:pt x="97287" y="58131"/>
                  <a:pt x="98044" y="58131"/>
                  <a:pt x="98044" y="58546"/>
                </a:cubicBezTo>
                <a:cubicBezTo>
                  <a:pt x="98422" y="58961"/>
                  <a:pt x="98422" y="59584"/>
                  <a:pt x="98801" y="59377"/>
                </a:cubicBezTo>
                <a:cubicBezTo>
                  <a:pt x="99558" y="59377"/>
                  <a:pt x="101072" y="59584"/>
                  <a:pt x="101072" y="59584"/>
                </a:cubicBezTo>
                <a:cubicBezTo>
                  <a:pt x="102208" y="60622"/>
                  <a:pt x="102208" y="60622"/>
                  <a:pt x="102208" y="60622"/>
                </a:cubicBezTo>
                <a:cubicBezTo>
                  <a:pt x="102965" y="61453"/>
                  <a:pt x="102965" y="61453"/>
                  <a:pt x="102965" y="61453"/>
                </a:cubicBezTo>
                <a:cubicBezTo>
                  <a:pt x="102965" y="61453"/>
                  <a:pt x="102965" y="62076"/>
                  <a:pt x="102965" y="62283"/>
                </a:cubicBezTo>
                <a:cubicBezTo>
                  <a:pt x="102965" y="62698"/>
                  <a:pt x="102586" y="63944"/>
                  <a:pt x="102586" y="63944"/>
                </a:cubicBezTo>
                <a:cubicBezTo>
                  <a:pt x="100694" y="65605"/>
                  <a:pt x="100694" y="65605"/>
                  <a:pt x="100694" y="65605"/>
                </a:cubicBezTo>
                <a:cubicBezTo>
                  <a:pt x="100694" y="65605"/>
                  <a:pt x="102208" y="66643"/>
                  <a:pt x="103343" y="67058"/>
                </a:cubicBezTo>
                <a:cubicBezTo>
                  <a:pt x="104479" y="67474"/>
                  <a:pt x="105993" y="68096"/>
                  <a:pt x="106372" y="68096"/>
                </a:cubicBezTo>
                <a:cubicBezTo>
                  <a:pt x="106750" y="68096"/>
                  <a:pt x="108643" y="68304"/>
                  <a:pt x="109400" y="68512"/>
                </a:cubicBezTo>
                <a:cubicBezTo>
                  <a:pt x="109779" y="68512"/>
                  <a:pt x="111293" y="68927"/>
                  <a:pt x="111671" y="69134"/>
                </a:cubicBezTo>
                <a:cubicBezTo>
                  <a:pt x="112050" y="69342"/>
                  <a:pt x="114700" y="70173"/>
                  <a:pt x="114700" y="70173"/>
                </a:cubicBezTo>
                <a:cubicBezTo>
                  <a:pt x="116971" y="70795"/>
                  <a:pt x="116971" y="70795"/>
                  <a:pt x="116971" y="70795"/>
                </a:cubicBezTo>
                <a:cubicBezTo>
                  <a:pt x="119242" y="71833"/>
                  <a:pt x="119242" y="71833"/>
                  <a:pt x="119242" y="71833"/>
                </a:cubicBezTo>
                <a:cubicBezTo>
                  <a:pt x="120000" y="74325"/>
                  <a:pt x="120000" y="74325"/>
                  <a:pt x="120000" y="74325"/>
                </a:cubicBezTo>
                <a:cubicBezTo>
                  <a:pt x="120000" y="74325"/>
                  <a:pt x="119242" y="78062"/>
                  <a:pt x="118864" y="78477"/>
                </a:cubicBezTo>
                <a:cubicBezTo>
                  <a:pt x="118864" y="78892"/>
                  <a:pt x="117728" y="80761"/>
                  <a:pt x="117350" y="80968"/>
                </a:cubicBezTo>
                <a:cubicBezTo>
                  <a:pt x="116593" y="81176"/>
                  <a:pt x="115835" y="81384"/>
                  <a:pt x="115835" y="81799"/>
                </a:cubicBezTo>
                <a:cubicBezTo>
                  <a:pt x="115835" y="82214"/>
                  <a:pt x="114700" y="84498"/>
                  <a:pt x="114700" y="84498"/>
                </a:cubicBezTo>
                <a:cubicBezTo>
                  <a:pt x="114700" y="84498"/>
                  <a:pt x="113564" y="85951"/>
                  <a:pt x="113564" y="86366"/>
                </a:cubicBezTo>
                <a:cubicBezTo>
                  <a:pt x="113564" y="86782"/>
                  <a:pt x="112429" y="88027"/>
                  <a:pt x="112429" y="88442"/>
                </a:cubicBezTo>
                <a:cubicBezTo>
                  <a:pt x="112050" y="88650"/>
                  <a:pt x="111293" y="90311"/>
                  <a:pt x="111293" y="90311"/>
                </a:cubicBezTo>
                <a:cubicBezTo>
                  <a:pt x="106372" y="95709"/>
                  <a:pt x="106372" y="95709"/>
                  <a:pt x="106372" y="95709"/>
                </a:cubicBezTo>
                <a:cubicBezTo>
                  <a:pt x="105236" y="97785"/>
                  <a:pt x="105236" y="97785"/>
                  <a:pt x="105236" y="97785"/>
                </a:cubicBezTo>
                <a:cubicBezTo>
                  <a:pt x="105236" y="97785"/>
                  <a:pt x="104100" y="97993"/>
                  <a:pt x="103722" y="98408"/>
                </a:cubicBezTo>
                <a:cubicBezTo>
                  <a:pt x="103343" y="99031"/>
                  <a:pt x="102965" y="99446"/>
                  <a:pt x="102586" y="100069"/>
                </a:cubicBezTo>
                <a:cubicBezTo>
                  <a:pt x="102586" y="100484"/>
                  <a:pt x="100694" y="102352"/>
                  <a:pt x="100694" y="102352"/>
                </a:cubicBezTo>
                <a:cubicBezTo>
                  <a:pt x="99936" y="103391"/>
                  <a:pt x="99936" y="103391"/>
                  <a:pt x="99936" y="103391"/>
                </a:cubicBezTo>
                <a:cubicBezTo>
                  <a:pt x="98422" y="104429"/>
                  <a:pt x="98422" y="104429"/>
                  <a:pt x="98422" y="104429"/>
                </a:cubicBezTo>
                <a:cubicBezTo>
                  <a:pt x="98422" y="104429"/>
                  <a:pt x="97287" y="104844"/>
                  <a:pt x="97287" y="104844"/>
                </a:cubicBezTo>
                <a:cubicBezTo>
                  <a:pt x="97287" y="104844"/>
                  <a:pt x="96529" y="104844"/>
                  <a:pt x="96529" y="104844"/>
                </a:cubicBezTo>
                <a:cubicBezTo>
                  <a:pt x="94637" y="104844"/>
                  <a:pt x="94637" y="104844"/>
                  <a:pt x="94637" y="104844"/>
                </a:cubicBezTo>
                <a:cubicBezTo>
                  <a:pt x="93501" y="104429"/>
                  <a:pt x="93501" y="104429"/>
                  <a:pt x="93501" y="104429"/>
                </a:cubicBezTo>
                <a:cubicBezTo>
                  <a:pt x="93501" y="104429"/>
                  <a:pt x="92365" y="104844"/>
                  <a:pt x="92365" y="104844"/>
                </a:cubicBezTo>
                <a:cubicBezTo>
                  <a:pt x="92365" y="105051"/>
                  <a:pt x="91608" y="105259"/>
                  <a:pt x="91608" y="105467"/>
                </a:cubicBezTo>
                <a:cubicBezTo>
                  <a:pt x="91608" y="105467"/>
                  <a:pt x="91230" y="105882"/>
                  <a:pt x="90851" y="105882"/>
                </a:cubicBezTo>
                <a:cubicBezTo>
                  <a:pt x="90473" y="106089"/>
                  <a:pt x="90094" y="106297"/>
                  <a:pt x="89716" y="106297"/>
                </a:cubicBezTo>
                <a:cubicBezTo>
                  <a:pt x="89716" y="106505"/>
                  <a:pt x="88958" y="106505"/>
                  <a:pt x="88958" y="106505"/>
                </a:cubicBezTo>
                <a:cubicBezTo>
                  <a:pt x="88958" y="106505"/>
                  <a:pt x="88958" y="106712"/>
                  <a:pt x="88580" y="106920"/>
                </a:cubicBezTo>
                <a:cubicBezTo>
                  <a:pt x="88580" y="106920"/>
                  <a:pt x="87444" y="106920"/>
                  <a:pt x="87066" y="106712"/>
                </a:cubicBezTo>
                <a:cubicBezTo>
                  <a:pt x="86687" y="106505"/>
                  <a:pt x="85930" y="106297"/>
                  <a:pt x="86309" y="106297"/>
                </a:cubicBezTo>
                <a:cubicBezTo>
                  <a:pt x="86309" y="106505"/>
                  <a:pt x="85930" y="106920"/>
                  <a:pt x="85930" y="106920"/>
                </a:cubicBezTo>
                <a:cubicBezTo>
                  <a:pt x="85930" y="107128"/>
                  <a:pt x="85173" y="107750"/>
                  <a:pt x="84794" y="107750"/>
                </a:cubicBezTo>
                <a:cubicBezTo>
                  <a:pt x="84416" y="107750"/>
                  <a:pt x="83659" y="107543"/>
                  <a:pt x="83280" y="107335"/>
                </a:cubicBezTo>
                <a:cubicBezTo>
                  <a:pt x="82902" y="107335"/>
                  <a:pt x="82523" y="107335"/>
                  <a:pt x="82523" y="107335"/>
                </a:cubicBezTo>
                <a:cubicBezTo>
                  <a:pt x="82523" y="107543"/>
                  <a:pt x="82523" y="108166"/>
                  <a:pt x="82523" y="108373"/>
                </a:cubicBezTo>
                <a:cubicBezTo>
                  <a:pt x="82523" y="108373"/>
                  <a:pt x="82523" y="108581"/>
                  <a:pt x="82523" y="108788"/>
                </a:cubicBezTo>
                <a:cubicBezTo>
                  <a:pt x="82145" y="108788"/>
                  <a:pt x="81388" y="108996"/>
                  <a:pt x="81388" y="108996"/>
                </a:cubicBezTo>
                <a:cubicBezTo>
                  <a:pt x="81388" y="108996"/>
                  <a:pt x="81766" y="109411"/>
                  <a:pt x="81388" y="109411"/>
                </a:cubicBezTo>
                <a:cubicBezTo>
                  <a:pt x="81009" y="109619"/>
                  <a:pt x="80630" y="109826"/>
                  <a:pt x="80252" y="109826"/>
                </a:cubicBezTo>
                <a:cubicBezTo>
                  <a:pt x="80252" y="109619"/>
                  <a:pt x="79495" y="109411"/>
                  <a:pt x="79495" y="109411"/>
                </a:cubicBezTo>
                <a:cubicBezTo>
                  <a:pt x="79116" y="109619"/>
                  <a:pt x="78738" y="110034"/>
                  <a:pt x="78738" y="110034"/>
                </a:cubicBezTo>
                <a:cubicBezTo>
                  <a:pt x="78738" y="110242"/>
                  <a:pt x="78359" y="110449"/>
                  <a:pt x="78359" y="110449"/>
                </a:cubicBezTo>
                <a:cubicBezTo>
                  <a:pt x="78359" y="110449"/>
                  <a:pt x="75709" y="112110"/>
                  <a:pt x="75709" y="112110"/>
                </a:cubicBezTo>
                <a:cubicBezTo>
                  <a:pt x="75331" y="112110"/>
                  <a:pt x="74574" y="111487"/>
                  <a:pt x="74574" y="111487"/>
                </a:cubicBezTo>
                <a:cubicBezTo>
                  <a:pt x="74574" y="111695"/>
                  <a:pt x="74574" y="112110"/>
                  <a:pt x="74574" y="112110"/>
                </a:cubicBezTo>
                <a:cubicBezTo>
                  <a:pt x="74195" y="112318"/>
                  <a:pt x="73438" y="112525"/>
                  <a:pt x="73438" y="112525"/>
                </a:cubicBezTo>
                <a:cubicBezTo>
                  <a:pt x="73438" y="112733"/>
                  <a:pt x="73059" y="112525"/>
                  <a:pt x="72681" y="112525"/>
                </a:cubicBezTo>
                <a:cubicBezTo>
                  <a:pt x="72681" y="112733"/>
                  <a:pt x="72302" y="112733"/>
                  <a:pt x="72302" y="112941"/>
                </a:cubicBezTo>
                <a:cubicBezTo>
                  <a:pt x="72302" y="113148"/>
                  <a:pt x="71924" y="113356"/>
                  <a:pt x="71924" y="113356"/>
                </a:cubicBezTo>
                <a:cubicBezTo>
                  <a:pt x="71924" y="113356"/>
                  <a:pt x="71167" y="113564"/>
                  <a:pt x="71167" y="113771"/>
                </a:cubicBezTo>
                <a:cubicBezTo>
                  <a:pt x="70788" y="113979"/>
                  <a:pt x="70031" y="114186"/>
                  <a:pt x="70031" y="114186"/>
                </a:cubicBezTo>
                <a:cubicBezTo>
                  <a:pt x="70031" y="114186"/>
                  <a:pt x="69652" y="114394"/>
                  <a:pt x="69274" y="114186"/>
                </a:cubicBezTo>
                <a:cubicBezTo>
                  <a:pt x="68895" y="114186"/>
                  <a:pt x="68138" y="113564"/>
                  <a:pt x="68138" y="113564"/>
                </a:cubicBezTo>
                <a:cubicBezTo>
                  <a:pt x="68138" y="113564"/>
                  <a:pt x="67381" y="113564"/>
                  <a:pt x="67381" y="113771"/>
                </a:cubicBezTo>
                <a:cubicBezTo>
                  <a:pt x="67003" y="113979"/>
                  <a:pt x="67003" y="114186"/>
                  <a:pt x="66624" y="114186"/>
                </a:cubicBezTo>
                <a:cubicBezTo>
                  <a:pt x="66246" y="114394"/>
                  <a:pt x="65867" y="114394"/>
                  <a:pt x="65488" y="114394"/>
                </a:cubicBezTo>
                <a:cubicBezTo>
                  <a:pt x="65110" y="114602"/>
                  <a:pt x="64353" y="114602"/>
                  <a:pt x="64353" y="114809"/>
                </a:cubicBezTo>
                <a:cubicBezTo>
                  <a:pt x="63974" y="114809"/>
                  <a:pt x="63596" y="115224"/>
                  <a:pt x="63596" y="115432"/>
                </a:cubicBezTo>
                <a:cubicBezTo>
                  <a:pt x="63596" y="115640"/>
                  <a:pt x="64353" y="115640"/>
                  <a:pt x="63596" y="115640"/>
                </a:cubicBezTo>
                <a:cubicBezTo>
                  <a:pt x="62839" y="115847"/>
                  <a:pt x="61703" y="115847"/>
                  <a:pt x="61703" y="115847"/>
                </a:cubicBezTo>
                <a:cubicBezTo>
                  <a:pt x="61703" y="115847"/>
                  <a:pt x="60946" y="116055"/>
                  <a:pt x="60946" y="116262"/>
                </a:cubicBezTo>
                <a:cubicBezTo>
                  <a:pt x="60567" y="116470"/>
                  <a:pt x="60946" y="116470"/>
                  <a:pt x="60189" y="116678"/>
                </a:cubicBezTo>
                <a:cubicBezTo>
                  <a:pt x="59810" y="116678"/>
                  <a:pt x="59432" y="116885"/>
                  <a:pt x="59432" y="116885"/>
                </a:cubicBezTo>
                <a:cubicBezTo>
                  <a:pt x="58675" y="116470"/>
                  <a:pt x="58675" y="116470"/>
                  <a:pt x="58675" y="116470"/>
                </a:cubicBezTo>
                <a:cubicBezTo>
                  <a:pt x="59053" y="116055"/>
                  <a:pt x="59053" y="116055"/>
                  <a:pt x="59053" y="116055"/>
                </a:cubicBezTo>
                <a:cubicBezTo>
                  <a:pt x="59053" y="116055"/>
                  <a:pt x="58675" y="115640"/>
                  <a:pt x="58675" y="115847"/>
                </a:cubicBezTo>
                <a:cubicBezTo>
                  <a:pt x="58296" y="116262"/>
                  <a:pt x="58675" y="116470"/>
                  <a:pt x="58675" y="116470"/>
                </a:cubicBezTo>
                <a:cubicBezTo>
                  <a:pt x="58675" y="116470"/>
                  <a:pt x="58296" y="116470"/>
                  <a:pt x="58296" y="116678"/>
                </a:cubicBezTo>
                <a:cubicBezTo>
                  <a:pt x="57917" y="116885"/>
                  <a:pt x="58296" y="116885"/>
                  <a:pt x="57917" y="117093"/>
                </a:cubicBezTo>
                <a:cubicBezTo>
                  <a:pt x="57917" y="117301"/>
                  <a:pt x="57539" y="117508"/>
                  <a:pt x="57160" y="117508"/>
                </a:cubicBezTo>
                <a:cubicBezTo>
                  <a:pt x="57160" y="117716"/>
                  <a:pt x="56782" y="117716"/>
                  <a:pt x="56403" y="117716"/>
                </a:cubicBezTo>
                <a:cubicBezTo>
                  <a:pt x="56403" y="117716"/>
                  <a:pt x="55646" y="117716"/>
                  <a:pt x="55646" y="117716"/>
                </a:cubicBezTo>
                <a:cubicBezTo>
                  <a:pt x="55268" y="117716"/>
                  <a:pt x="54889" y="117508"/>
                  <a:pt x="55268" y="117508"/>
                </a:cubicBezTo>
                <a:cubicBezTo>
                  <a:pt x="55268" y="117508"/>
                  <a:pt x="56025" y="117301"/>
                  <a:pt x="56025" y="117301"/>
                </a:cubicBezTo>
                <a:cubicBezTo>
                  <a:pt x="56025" y="117301"/>
                  <a:pt x="56403" y="117093"/>
                  <a:pt x="56025" y="117093"/>
                </a:cubicBezTo>
                <a:cubicBezTo>
                  <a:pt x="55646" y="116885"/>
                  <a:pt x="55268" y="116678"/>
                  <a:pt x="55268" y="116678"/>
                </a:cubicBezTo>
                <a:cubicBezTo>
                  <a:pt x="55268" y="116678"/>
                  <a:pt x="55646" y="116885"/>
                  <a:pt x="54511" y="116885"/>
                </a:cubicBezTo>
                <a:cubicBezTo>
                  <a:pt x="53753" y="117093"/>
                  <a:pt x="53375" y="117093"/>
                  <a:pt x="53375" y="116885"/>
                </a:cubicBezTo>
                <a:cubicBezTo>
                  <a:pt x="53375" y="116885"/>
                  <a:pt x="52618" y="116885"/>
                  <a:pt x="52996" y="116678"/>
                </a:cubicBezTo>
                <a:cubicBezTo>
                  <a:pt x="53753" y="116470"/>
                  <a:pt x="53753" y="116262"/>
                  <a:pt x="54132" y="116262"/>
                </a:cubicBezTo>
                <a:cubicBezTo>
                  <a:pt x="54511" y="116262"/>
                  <a:pt x="54511" y="115847"/>
                  <a:pt x="54511" y="115640"/>
                </a:cubicBezTo>
                <a:cubicBezTo>
                  <a:pt x="54511" y="115640"/>
                  <a:pt x="55268" y="116055"/>
                  <a:pt x="54132" y="115640"/>
                </a:cubicBezTo>
                <a:cubicBezTo>
                  <a:pt x="53375" y="115017"/>
                  <a:pt x="53375" y="115017"/>
                  <a:pt x="53375" y="115017"/>
                </a:cubicBezTo>
                <a:cubicBezTo>
                  <a:pt x="53375" y="115017"/>
                  <a:pt x="52996" y="115224"/>
                  <a:pt x="52996" y="115432"/>
                </a:cubicBezTo>
                <a:cubicBezTo>
                  <a:pt x="53375" y="115640"/>
                  <a:pt x="54132" y="115847"/>
                  <a:pt x="52996" y="116055"/>
                </a:cubicBezTo>
                <a:cubicBezTo>
                  <a:pt x="51861" y="116055"/>
                  <a:pt x="51861" y="116055"/>
                  <a:pt x="51861" y="116055"/>
                </a:cubicBezTo>
                <a:cubicBezTo>
                  <a:pt x="51482" y="116262"/>
                  <a:pt x="50347" y="116262"/>
                  <a:pt x="50347" y="116262"/>
                </a:cubicBezTo>
                <a:cubicBezTo>
                  <a:pt x="50347" y="116262"/>
                  <a:pt x="49589" y="116262"/>
                  <a:pt x="49968" y="116470"/>
                </a:cubicBezTo>
                <a:cubicBezTo>
                  <a:pt x="49968" y="116678"/>
                  <a:pt x="50725" y="116885"/>
                  <a:pt x="50725" y="116885"/>
                </a:cubicBezTo>
                <a:cubicBezTo>
                  <a:pt x="50725" y="116885"/>
                  <a:pt x="50725" y="117093"/>
                  <a:pt x="49968" y="117093"/>
                </a:cubicBezTo>
                <a:cubicBezTo>
                  <a:pt x="49589" y="117301"/>
                  <a:pt x="48832" y="117301"/>
                  <a:pt x="48832" y="117301"/>
                </a:cubicBezTo>
                <a:cubicBezTo>
                  <a:pt x="48454" y="117508"/>
                  <a:pt x="48454" y="117508"/>
                  <a:pt x="48454" y="117508"/>
                </a:cubicBezTo>
                <a:cubicBezTo>
                  <a:pt x="48454" y="117508"/>
                  <a:pt x="48075" y="117508"/>
                  <a:pt x="48075" y="117301"/>
                </a:cubicBezTo>
                <a:cubicBezTo>
                  <a:pt x="48075" y="117301"/>
                  <a:pt x="48454" y="117093"/>
                  <a:pt x="48454" y="116885"/>
                </a:cubicBezTo>
                <a:cubicBezTo>
                  <a:pt x="48454" y="116678"/>
                  <a:pt x="48832" y="116885"/>
                  <a:pt x="48454" y="116678"/>
                </a:cubicBezTo>
                <a:cubicBezTo>
                  <a:pt x="48075" y="116262"/>
                  <a:pt x="47697" y="116262"/>
                  <a:pt x="47697" y="116055"/>
                </a:cubicBezTo>
                <a:cubicBezTo>
                  <a:pt x="48075" y="115847"/>
                  <a:pt x="48832" y="115640"/>
                  <a:pt x="48832" y="115640"/>
                </a:cubicBezTo>
                <a:cubicBezTo>
                  <a:pt x="48832" y="115432"/>
                  <a:pt x="48832" y="115224"/>
                  <a:pt x="48832" y="115224"/>
                </a:cubicBezTo>
                <a:cubicBezTo>
                  <a:pt x="48832" y="115224"/>
                  <a:pt x="48454" y="115224"/>
                  <a:pt x="48832" y="115017"/>
                </a:cubicBezTo>
                <a:cubicBezTo>
                  <a:pt x="49211" y="114602"/>
                  <a:pt x="49589" y="114394"/>
                  <a:pt x="49589" y="114394"/>
                </a:cubicBezTo>
                <a:cubicBezTo>
                  <a:pt x="49589" y="114186"/>
                  <a:pt x="49211" y="113979"/>
                  <a:pt x="48832" y="113979"/>
                </a:cubicBezTo>
                <a:cubicBezTo>
                  <a:pt x="48832" y="113979"/>
                  <a:pt x="48454" y="114394"/>
                  <a:pt x="48454" y="114602"/>
                </a:cubicBezTo>
                <a:cubicBezTo>
                  <a:pt x="48454" y="114602"/>
                  <a:pt x="48832" y="115017"/>
                  <a:pt x="47697" y="114809"/>
                </a:cubicBezTo>
                <a:cubicBezTo>
                  <a:pt x="46561" y="114809"/>
                  <a:pt x="45804" y="114809"/>
                  <a:pt x="45425" y="114602"/>
                </a:cubicBezTo>
                <a:cubicBezTo>
                  <a:pt x="45425" y="114394"/>
                  <a:pt x="44668" y="114186"/>
                  <a:pt x="45804" y="114186"/>
                </a:cubicBezTo>
                <a:cubicBezTo>
                  <a:pt x="46940" y="113979"/>
                  <a:pt x="46940" y="113979"/>
                  <a:pt x="46940" y="113979"/>
                </a:cubicBezTo>
                <a:cubicBezTo>
                  <a:pt x="47318" y="113771"/>
                  <a:pt x="47318" y="113564"/>
                  <a:pt x="47318" y="113356"/>
                </a:cubicBezTo>
                <a:cubicBezTo>
                  <a:pt x="46940" y="113356"/>
                  <a:pt x="46561" y="112941"/>
                  <a:pt x="46561" y="113148"/>
                </a:cubicBezTo>
                <a:cubicBezTo>
                  <a:pt x="46182" y="113564"/>
                  <a:pt x="46182" y="113771"/>
                  <a:pt x="46182" y="113771"/>
                </a:cubicBezTo>
                <a:cubicBezTo>
                  <a:pt x="46182" y="113771"/>
                  <a:pt x="44668" y="113771"/>
                  <a:pt x="44668" y="113771"/>
                </a:cubicBezTo>
                <a:cubicBezTo>
                  <a:pt x="44668" y="113771"/>
                  <a:pt x="44290" y="113564"/>
                  <a:pt x="44290" y="113356"/>
                </a:cubicBezTo>
                <a:cubicBezTo>
                  <a:pt x="44290" y="113356"/>
                  <a:pt x="44668" y="112525"/>
                  <a:pt x="44668" y="112525"/>
                </a:cubicBezTo>
                <a:cubicBezTo>
                  <a:pt x="44668" y="112525"/>
                  <a:pt x="45425" y="112318"/>
                  <a:pt x="45047" y="112318"/>
                </a:cubicBezTo>
                <a:cubicBezTo>
                  <a:pt x="45047" y="112318"/>
                  <a:pt x="44290" y="112110"/>
                  <a:pt x="44290" y="112318"/>
                </a:cubicBezTo>
                <a:cubicBezTo>
                  <a:pt x="43911" y="112318"/>
                  <a:pt x="44290" y="112525"/>
                  <a:pt x="44290" y="112733"/>
                </a:cubicBezTo>
                <a:cubicBezTo>
                  <a:pt x="44290" y="112941"/>
                  <a:pt x="44290" y="113148"/>
                  <a:pt x="43911" y="113148"/>
                </a:cubicBezTo>
                <a:cubicBezTo>
                  <a:pt x="43533" y="113356"/>
                  <a:pt x="42018" y="113356"/>
                  <a:pt x="42018" y="113356"/>
                </a:cubicBezTo>
                <a:cubicBezTo>
                  <a:pt x="42018" y="113148"/>
                  <a:pt x="41640" y="113148"/>
                  <a:pt x="42018" y="112941"/>
                </a:cubicBezTo>
                <a:cubicBezTo>
                  <a:pt x="42018" y="112733"/>
                  <a:pt x="42018" y="112525"/>
                  <a:pt x="42018" y="112525"/>
                </a:cubicBezTo>
                <a:cubicBezTo>
                  <a:pt x="42018" y="112525"/>
                  <a:pt x="41640" y="112110"/>
                  <a:pt x="41640" y="112318"/>
                </a:cubicBezTo>
                <a:cubicBezTo>
                  <a:pt x="41261" y="112318"/>
                  <a:pt x="40883" y="112318"/>
                  <a:pt x="40883" y="112318"/>
                </a:cubicBezTo>
                <a:cubicBezTo>
                  <a:pt x="40883" y="111903"/>
                  <a:pt x="40883" y="111903"/>
                  <a:pt x="40883" y="111903"/>
                </a:cubicBezTo>
                <a:cubicBezTo>
                  <a:pt x="40126" y="111903"/>
                  <a:pt x="40126" y="111903"/>
                  <a:pt x="40126" y="111903"/>
                </a:cubicBezTo>
                <a:cubicBezTo>
                  <a:pt x="39747" y="111903"/>
                  <a:pt x="39747" y="111903"/>
                  <a:pt x="39747" y="111903"/>
                </a:cubicBezTo>
                <a:cubicBezTo>
                  <a:pt x="39747" y="111903"/>
                  <a:pt x="39369" y="111695"/>
                  <a:pt x="39369" y="111695"/>
                </a:cubicBezTo>
                <a:cubicBezTo>
                  <a:pt x="38990" y="111695"/>
                  <a:pt x="38990" y="111695"/>
                  <a:pt x="38990" y="111903"/>
                </a:cubicBezTo>
                <a:cubicBezTo>
                  <a:pt x="38611" y="111903"/>
                  <a:pt x="37476" y="112110"/>
                  <a:pt x="37476" y="112110"/>
                </a:cubicBezTo>
                <a:cubicBezTo>
                  <a:pt x="37476" y="112110"/>
                  <a:pt x="37476" y="111695"/>
                  <a:pt x="37097" y="112110"/>
                </a:cubicBezTo>
                <a:cubicBezTo>
                  <a:pt x="37097" y="112318"/>
                  <a:pt x="35205" y="112318"/>
                  <a:pt x="35205" y="112318"/>
                </a:cubicBezTo>
                <a:cubicBezTo>
                  <a:pt x="35205" y="112318"/>
                  <a:pt x="34826" y="111903"/>
                  <a:pt x="34826" y="111695"/>
                </a:cubicBezTo>
                <a:cubicBezTo>
                  <a:pt x="34826" y="111695"/>
                  <a:pt x="35205" y="111072"/>
                  <a:pt x="35205" y="111072"/>
                </a:cubicBezTo>
                <a:cubicBezTo>
                  <a:pt x="35583" y="110865"/>
                  <a:pt x="35583" y="110865"/>
                  <a:pt x="35583" y="110865"/>
                </a:cubicBezTo>
                <a:cubicBezTo>
                  <a:pt x="35205" y="110657"/>
                  <a:pt x="35205" y="110657"/>
                  <a:pt x="35205" y="110657"/>
                </a:cubicBezTo>
                <a:cubicBezTo>
                  <a:pt x="35205" y="110657"/>
                  <a:pt x="34069" y="110657"/>
                  <a:pt x="34447" y="110657"/>
                </a:cubicBezTo>
                <a:cubicBezTo>
                  <a:pt x="34447" y="110449"/>
                  <a:pt x="35205" y="110034"/>
                  <a:pt x="35205" y="110034"/>
                </a:cubicBezTo>
                <a:cubicBezTo>
                  <a:pt x="35205" y="110034"/>
                  <a:pt x="35583" y="109826"/>
                  <a:pt x="35583" y="109826"/>
                </a:cubicBezTo>
                <a:cubicBezTo>
                  <a:pt x="35962" y="109619"/>
                  <a:pt x="36719" y="109619"/>
                  <a:pt x="36340" y="109411"/>
                </a:cubicBezTo>
                <a:cubicBezTo>
                  <a:pt x="35962" y="109411"/>
                  <a:pt x="35583" y="109204"/>
                  <a:pt x="35583" y="109204"/>
                </a:cubicBezTo>
                <a:cubicBezTo>
                  <a:pt x="35583" y="109204"/>
                  <a:pt x="35205" y="109204"/>
                  <a:pt x="35205" y="108996"/>
                </a:cubicBezTo>
                <a:cubicBezTo>
                  <a:pt x="35205" y="108996"/>
                  <a:pt x="35583" y="108581"/>
                  <a:pt x="35583" y="108373"/>
                </a:cubicBezTo>
                <a:cubicBezTo>
                  <a:pt x="35583" y="108166"/>
                  <a:pt x="35205" y="107958"/>
                  <a:pt x="35205" y="107958"/>
                </a:cubicBezTo>
                <a:cubicBezTo>
                  <a:pt x="34826" y="107958"/>
                  <a:pt x="35205" y="108166"/>
                  <a:pt x="34447" y="108166"/>
                </a:cubicBezTo>
                <a:cubicBezTo>
                  <a:pt x="34069" y="108373"/>
                  <a:pt x="32933" y="108788"/>
                  <a:pt x="32933" y="108788"/>
                </a:cubicBezTo>
                <a:cubicBezTo>
                  <a:pt x="32933" y="108581"/>
                  <a:pt x="32933" y="108373"/>
                  <a:pt x="32933" y="108166"/>
                </a:cubicBezTo>
                <a:cubicBezTo>
                  <a:pt x="33312" y="107958"/>
                  <a:pt x="34447" y="107958"/>
                  <a:pt x="34826" y="107750"/>
                </a:cubicBezTo>
                <a:cubicBezTo>
                  <a:pt x="34826" y="107543"/>
                  <a:pt x="34069" y="106920"/>
                  <a:pt x="34069" y="106920"/>
                </a:cubicBezTo>
                <a:cubicBezTo>
                  <a:pt x="34069" y="106920"/>
                  <a:pt x="34826" y="107128"/>
                  <a:pt x="34447" y="106712"/>
                </a:cubicBezTo>
                <a:cubicBezTo>
                  <a:pt x="33690" y="106505"/>
                  <a:pt x="33690" y="106505"/>
                  <a:pt x="33690" y="106505"/>
                </a:cubicBezTo>
                <a:cubicBezTo>
                  <a:pt x="33690" y="106297"/>
                  <a:pt x="33690" y="106089"/>
                  <a:pt x="34069" y="105882"/>
                </a:cubicBezTo>
                <a:cubicBezTo>
                  <a:pt x="34447" y="105467"/>
                  <a:pt x="34826" y="105467"/>
                  <a:pt x="34826" y="105259"/>
                </a:cubicBezTo>
                <a:cubicBezTo>
                  <a:pt x="34826" y="105259"/>
                  <a:pt x="33690" y="105051"/>
                  <a:pt x="33690" y="104844"/>
                </a:cubicBezTo>
                <a:cubicBezTo>
                  <a:pt x="33690" y="104636"/>
                  <a:pt x="32933" y="104636"/>
                  <a:pt x="33690" y="104221"/>
                </a:cubicBezTo>
                <a:cubicBezTo>
                  <a:pt x="34069" y="104013"/>
                  <a:pt x="34447" y="104013"/>
                  <a:pt x="34447" y="104013"/>
                </a:cubicBezTo>
                <a:cubicBezTo>
                  <a:pt x="34447" y="104013"/>
                  <a:pt x="34447" y="103391"/>
                  <a:pt x="34447" y="103183"/>
                </a:cubicBezTo>
                <a:cubicBezTo>
                  <a:pt x="34447" y="102975"/>
                  <a:pt x="34826" y="102975"/>
                  <a:pt x="34826" y="102768"/>
                </a:cubicBezTo>
                <a:cubicBezTo>
                  <a:pt x="34447" y="102560"/>
                  <a:pt x="34069" y="102560"/>
                  <a:pt x="33690" y="102145"/>
                </a:cubicBezTo>
                <a:cubicBezTo>
                  <a:pt x="33690" y="101937"/>
                  <a:pt x="33690" y="101937"/>
                  <a:pt x="33690" y="101730"/>
                </a:cubicBezTo>
                <a:cubicBezTo>
                  <a:pt x="34069" y="101730"/>
                  <a:pt x="34447" y="101522"/>
                  <a:pt x="34069" y="101522"/>
                </a:cubicBezTo>
                <a:cubicBezTo>
                  <a:pt x="34069" y="101314"/>
                  <a:pt x="34069" y="101107"/>
                  <a:pt x="34069" y="101107"/>
                </a:cubicBezTo>
                <a:cubicBezTo>
                  <a:pt x="34069" y="101107"/>
                  <a:pt x="34069" y="101107"/>
                  <a:pt x="33690" y="100692"/>
                </a:cubicBezTo>
                <a:cubicBezTo>
                  <a:pt x="33312" y="100484"/>
                  <a:pt x="33312" y="100069"/>
                  <a:pt x="33312" y="99861"/>
                </a:cubicBezTo>
                <a:cubicBezTo>
                  <a:pt x="33312" y="99653"/>
                  <a:pt x="33690" y="98823"/>
                  <a:pt x="33690" y="98823"/>
                </a:cubicBezTo>
                <a:cubicBezTo>
                  <a:pt x="33690" y="98823"/>
                  <a:pt x="33690" y="98200"/>
                  <a:pt x="32933" y="97993"/>
                </a:cubicBezTo>
                <a:cubicBezTo>
                  <a:pt x="32555" y="97577"/>
                  <a:pt x="31798" y="97370"/>
                  <a:pt x="31798" y="97370"/>
                </a:cubicBezTo>
                <a:cubicBezTo>
                  <a:pt x="31798" y="97370"/>
                  <a:pt x="31798" y="96955"/>
                  <a:pt x="31798" y="96747"/>
                </a:cubicBezTo>
                <a:cubicBezTo>
                  <a:pt x="31798" y="96747"/>
                  <a:pt x="31041" y="96539"/>
                  <a:pt x="31041" y="96332"/>
                </a:cubicBezTo>
                <a:cubicBezTo>
                  <a:pt x="31041" y="96124"/>
                  <a:pt x="30662" y="95709"/>
                  <a:pt x="30662" y="95709"/>
                </a:cubicBezTo>
                <a:cubicBezTo>
                  <a:pt x="30662" y="95709"/>
                  <a:pt x="30283" y="95709"/>
                  <a:pt x="30662" y="95294"/>
                </a:cubicBezTo>
                <a:cubicBezTo>
                  <a:pt x="30662" y="94671"/>
                  <a:pt x="30662" y="94463"/>
                  <a:pt x="30662" y="94256"/>
                </a:cubicBezTo>
                <a:cubicBezTo>
                  <a:pt x="30283" y="94048"/>
                  <a:pt x="29905" y="93633"/>
                  <a:pt x="29905" y="93425"/>
                </a:cubicBezTo>
                <a:cubicBezTo>
                  <a:pt x="29905" y="93217"/>
                  <a:pt x="29905" y="92802"/>
                  <a:pt x="29905" y="92802"/>
                </a:cubicBezTo>
                <a:cubicBezTo>
                  <a:pt x="29905" y="92802"/>
                  <a:pt x="29905" y="92595"/>
                  <a:pt x="29526" y="92387"/>
                </a:cubicBezTo>
                <a:cubicBezTo>
                  <a:pt x="29148" y="92179"/>
                  <a:pt x="28012" y="91141"/>
                  <a:pt x="28012" y="91141"/>
                </a:cubicBezTo>
                <a:cubicBezTo>
                  <a:pt x="28012" y="91141"/>
                  <a:pt x="27634" y="91141"/>
                  <a:pt x="27634" y="90726"/>
                </a:cubicBezTo>
                <a:cubicBezTo>
                  <a:pt x="27255" y="90311"/>
                  <a:pt x="27255" y="89896"/>
                  <a:pt x="27255" y="89896"/>
                </a:cubicBezTo>
                <a:cubicBezTo>
                  <a:pt x="27255" y="89896"/>
                  <a:pt x="27255" y="89273"/>
                  <a:pt x="27255" y="89273"/>
                </a:cubicBezTo>
                <a:cubicBezTo>
                  <a:pt x="26119" y="88650"/>
                  <a:pt x="26119" y="88650"/>
                  <a:pt x="26119" y="88650"/>
                </a:cubicBezTo>
                <a:cubicBezTo>
                  <a:pt x="26498" y="87820"/>
                  <a:pt x="26498" y="87820"/>
                  <a:pt x="26498" y="87820"/>
                </a:cubicBezTo>
                <a:cubicBezTo>
                  <a:pt x="26498" y="86989"/>
                  <a:pt x="26498" y="86989"/>
                  <a:pt x="26498" y="86989"/>
                </a:cubicBezTo>
                <a:cubicBezTo>
                  <a:pt x="26498" y="86989"/>
                  <a:pt x="26498" y="85951"/>
                  <a:pt x="26876" y="85951"/>
                </a:cubicBezTo>
                <a:cubicBezTo>
                  <a:pt x="27255" y="85951"/>
                  <a:pt x="28012" y="85328"/>
                  <a:pt x="28012" y="85328"/>
                </a:cubicBezTo>
                <a:cubicBezTo>
                  <a:pt x="28012" y="85328"/>
                  <a:pt x="28769" y="84705"/>
                  <a:pt x="28391" y="84498"/>
                </a:cubicBezTo>
                <a:cubicBezTo>
                  <a:pt x="28391" y="84290"/>
                  <a:pt x="28012" y="83460"/>
                  <a:pt x="28012" y="83460"/>
                </a:cubicBezTo>
                <a:cubicBezTo>
                  <a:pt x="28012" y="83460"/>
                  <a:pt x="28769" y="82837"/>
                  <a:pt x="28391" y="82837"/>
                </a:cubicBezTo>
                <a:cubicBezTo>
                  <a:pt x="28391" y="82629"/>
                  <a:pt x="27634" y="81799"/>
                  <a:pt x="27634" y="81799"/>
                </a:cubicBezTo>
                <a:cubicBezTo>
                  <a:pt x="26498" y="82422"/>
                  <a:pt x="26498" y="82422"/>
                  <a:pt x="26498" y="82422"/>
                </a:cubicBezTo>
                <a:cubicBezTo>
                  <a:pt x="25741" y="82214"/>
                  <a:pt x="25741" y="82214"/>
                  <a:pt x="25741" y="82214"/>
                </a:cubicBezTo>
                <a:cubicBezTo>
                  <a:pt x="26119" y="81384"/>
                  <a:pt x="26119" y="81384"/>
                  <a:pt x="26119" y="81384"/>
                </a:cubicBezTo>
                <a:cubicBezTo>
                  <a:pt x="26119" y="81384"/>
                  <a:pt x="25362" y="80968"/>
                  <a:pt x="25362" y="80761"/>
                </a:cubicBezTo>
                <a:cubicBezTo>
                  <a:pt x="25362" y="80553"/>
                  <a:pt x="26119" y="80138"/>
                  <a:pt x="26119" y="80138"/>
                </a:cubicBezTo>
                <a:cubicBezTo>
                  <a:pt x="26119" y="80138"/>
                  <a:pt x="26876" y="80968"/>
                  <a:pt x="26876" y="81176"/>
                </a:cubicBezTo>
                <a:cubicBezTo>
                  <a:pt x="26876" y="81384"/>
                  <a:pt x="27634" y="81591"/>
                  <a:pt x="27634" y="81591"/>
                </a:cubicBezTo>
                <a:cubicBezTo>
                  <a:pt x="28012" y="81384"/>
                  <a:pt x="28012" y="80968"/>
                  <a:pt x="28391" y="80968"/>
                </a:cubicBezTo>
                <a:cubicBezTo>
                  <a:pt x="28769" y="80968"/>
                  <a:pt x="29148" y="81176"/>
                  <a:pt x="29148" y="81384"/>
                </a:cubicBezTo>
                <a:cubicBezTo>
                  <a:pt x="29148" y="81384"/>
                  <a:pt x="30662" y="81176"/>
                  <a:pt x="30662" y="81176"/>
                </a:cubicBezTo>
                <a:cubicBezTo>
                  <a:pt x="30662" y="81176"/>
                  <a:pt x="30283" y="80968"/>
                  <a:pt x="31419" y="80968"/>
                </a:cubicBezTo>
                <a:cubicBezTo>
                  <a:pt x="32555" y="81176"/>
                  <a:pt x="32555" y="80968"/>
                  <a:pt x="32555" y="80553"/>
                </a:cubicBezTo>
                <a:cubicBezTo>
                  <a:pt x="32555" y="80346"/>
                  <a:pt x="31419" y="79515"/>
                  <a:pt x="32176" y="79515"/>
                </a:cubicBezTo>
                <a:cubicBezTo>
                  <a:pt x="33312" y="79515"/>
                  <a:pt x="33690" y="79723"/>
                  <a:pt x="33690" y="79723"/>
                </a:cubicBezTo>
                <a:cubicBezTo>
                  <a:pt x="33690" y="79723"/>
                  <a:pt x="33690" y="79930"/>
                  <a:pt x="33690" y="80138"/>
                </a:cubicBezTo>
                <a:cubicBezTo>
                  <a:pt x="33690" y="80553"/>
                  <a:pt x="34826" y="80968"/>
                  <a:pt x="34826" y="80553"/>
                </a:cubicBezTo>
                <a:cubicBezTo>
                  <a:pt x="35205" y="80138"/>
                  <a:pt x="35205" y="80346"/>
                  <a:pt x="35205" y="79930"/>
                </a:cubicBezTo>
                <a:cubicBezTo>
                  <a:pt x="35205" y="79515"/>
                  <a:pt x="34447" y="79515"/>
                  <a:pt x="34069" y="79100"/>
                </a:cubicBezTo>
                <a:cubicBezTo>
                  <a:pt x="34069" y="78892"/>
                  <a:pt x="33690" y="79307"/>
                  <a:pt x="33690" y="78685"/>
                </a:cubicBezTo>
                <a:cubicBezTo>
                  <a:pt x="34069" y="78062"/>
                  <a:pt x="34069" y="77854"/>
                  <a:pt x="34447" y="77854"/>
                </a:cubicBezTo>
                <a:cubicBezTo>
                  <a:pt x="35205" y="77647"/>
                  <a:pt x="34447" y="77854"/>
                  <a:pt x="35205" y="77647"/>
                </a:cubicBezTo>
                <a:cubicBezTo>
                  <a:pt x="35962" y="77647"/>
                  <a:pt x="36340" y="77231"/>
                  <a:pt x="35962" y="76608"/>
                </a:cubicBezTo>
                <a:cubicBezTo>
                  <a:pt x="35962" y="76193"/>
                  <a:pt x="35583" y="75986"/>
                  <a:pt x="35962" y="75778"/>
                </a:cubicBezTo>
                <a:cubicBezTo>
                  <a:pt x="36719" y="75570"/>
                  <a:pt x="36340" y="75363"/>
                  <a:pt x="37097" y="75570"/>
                </a:cubicBezTo>
                <a:cubicBezTo>
                  <a:pt x="37854" y="75778"/>
                  <a:pt x="37476" y="75778"/>
                  <a:pt x="38233" y="75778"/>
                </a:cubicBezTo>
                <a:cubicBezTo>
                  <a:pt x="38611" y="75570"/>
                  <a:pt x="38611" y="74532"/>
                  <a:pt x="38611" y="74532"/>
                </a:cubicBezTo>
                <a:cubicBezTo>
                  <a:pt x="38233" y="74740"/>
                  <a:pt x="37476" y="74325"/>
                  <a:pt x="37476" y="74325"/>
                </a:cubicBezTo>
                <a:cubicBezTo>
                  <a:pt x="37097" y="74325"/>
                  <a:pt x="37097" y="73910"/>
                  <a:pt x="37476" y="73702"/>
                </a:cubicBezTo>
                <a:cubicBezTo>
                  <a:pt x="37476" y="73702"/>
                  <a:pt x="37476" y="73287"/>
                  <a:pt x="37854" y="73287"/>
                </a:cubicBezTo>
                <a:cubicBezTo>
                  <a:pt x="38611" y="73287"/>
                  <a:pt x="38611" y="73494"/>
                  <a:pt x="39369" y="73287"/>
                </a:cubicBezTo>
                <a:cubicBezTo>
                  <a:pt x="39747" y="73079"/>
                  <a:pt x="39747" y="73079"/>
                  <a:pt x="40126" y="72871"/>
                </a:cubicBezTo>
                <a:cubicBezTo>
                  <a:pt x="40504" y="72664"/>
                  <a:pt x="40883" y="72664"/>
                  <a:pt x="41261" y="72249"/>
                </a:cubicBezTo>
                <a:cubicBezTo>
                  <a:pt x="41261" y="72041"/>
                  <a:pt x="41640" y="70795"/>
                  <a:pt x="41640" y="70795"/>
                </a:cubicBezTo>
                <a:cubicBezTo>
                  <a:pt x="41261" y="70588"/>
                  <a:pt x="42018" y="70795"/>
                  <a:pt x="42776" y="70588"/>
                </a:cubicBezTo>
                <a:cubicBezTo>
                  <a:pt x="43154" y="70380"/>
                  <a:pt x="43533" y="69134"/>
                  <a:pt x="43911" y="68927"/>
                </a:cubicBezTo>
                <a:cubicBezTo>
                  <a:pt x="44290" y="68512"/>
                  <a:pt x="45425" y="67681"/>
                  <a:pt x="45425" y="67474"/>
                </a:cubicBezTo>
                <a:cubicBezTo>
                  <a:pt x="45425" y="67266"/>
                  <a:pt x="46561" y="65813"/>
                  <a:pt x="46561" y="65813"/>
                </a:cubicBezTo>
                <a:cubicBezTo>
                  <a:pt x="48075" y="64359"/>
                  <a:pt x="48075" y="64359"/>
                  <a:pt x="48075" y="64359"/>
                </a:cubicBezTo>
                <a:cubicBezTo>
                  <a:pt x="48075" y="64359"/>
                  <a:pt x="48075" y="63944"/>
                  <a:pt x="47697" y="63529"/>
                </a:cubicBezTo>
                <a:cubicBezTo>
                  <a:pt x="47697" y="63321"/>
                  <a:pt x="47318" y="62491"/>
                  <a:pt x="47697" y="62283"/>
                </a:cubicBezTo>
                <a:cubicBezTo>
                  <a:pt x="48075" y="62283"/>
                  <a:pt x="48454" y="61660"/>
                  <a:pt x="48454" y="61660"/>
                </a:cubicBezTo>
                <a:cubicBezTo>
                  <a:pt x="48454" y="60830"/>
                  <a:pt x="48454" y="60830"/>
                  <a:pt x="48454" y="60830"/>
                </a:cubicBezTo>
                <a:cubicBezTo>
                  <a:pt x="48454" y="60830"/>
                  <a:pt x="50347" y="60207"/>
                  <a:pt x="50347" y="60207"/>
                </a:cubicBezTo>
                <a:cubicBezTo>
                  <a:pt x="52618" y="60000"/>
                  <a:pt x="51104" y="59377"/>
                  <a:pt x="53753" y="60000"/>
                </a:cubicBezTo>
                <a:cubicBezTo>
                  <a:pt x="53753" y="60000"/>
                  <a:pt x="55268" y="59792"/>
                  <a:pt x="54889" y="59584"/>
                </a:cubicBezTo>
                <a:cubicBezTo>
                  <a:pt x="54889" y="59584"/>
                  <a:pt x="53375" y="58754"/>
                  <a:pt x="53375" y="58754"/>
                </a:cubicBezTo>
                <a:cubicBezTo>
                  <a:pt x="54132" y="58131"/>
                  <a:pt x="54132" y="58131"/>
                  <a:pt x="54132" y="58131"/>
                </a:cubicBezTo>
                <a:cubicBezTo>
                  <a:pt x="54132" y="58131"/>
                  <a:pt x="55268" y="57716"/>
                  <a:pt x="54132" y="57508"/>
                </a:cubicBezTo>
                <a:cubicBezTo>
                  <a:pt x="53375" y="57301"/>
                  <a:pt x="52618" y="57093"/>
                  <a:pt x="52618" y="56885"/>
                </a:cubicBezTo>
                <a:cubicBezTo>
                  <a:pt x="52618" y="56885"/>
                  <a:pt x="52239" y="56055"/>
                  <a:pt x="52239" y="55847"/>
                </a:cubicBezTo>
                <a:cubicBezTo>
                  <a:pt x="52239" y="55640"/>
                  <a:pt x="51861" y="55017"/>
                  <a:pt x="51861" y="55017"/>
                </a:cubicBezTo>
                <a:cubicBezTo>
                  <a:pt x="51861" y="55017"/>
                  <a:pt x="51861" y="54186"/>
                  <a:pt x="51861" y="53979"/>
                </a:cubicBezTo>
                <a:cubicBezTo>
                  <a:pt x="51861" y="53771"/>
                  <a:pt x="51482" y="53148"/>
                  <a:pt x="51104" y="52941"/>
                </a:cubicBezTo>
                <a:cubicBezTo>
                  <a:pt x="50725" y="52733"/>
                  <a:pt x="49211" y="52110"/>
                  <a:pt x="49211" y="52110"/>
                </a:cubicBezTo>
                <a:cubicBezTo>
                  <a:pt x="46561" y="51487"/>
                  <a:pt x="46561" y="51487"/>
                  <a:pt x="46561" y="51487"/>
                </a:cubicBezTo>
                <a:cubicBezTo>
                  <a:pt x="45804" y="51903"/>
                  <a:pt x="45804" y="51903"/>
                  <a:pt x="45804" y="51903"/>
                </a:cubicBezTo>
                <a:cubicBezTo>
                  <a:pt x="43911" y="50865"/>
                  <a:pt x="43911" y="50865"/>
                  <a:pt x="43911" y="50865"/>
                </a:cubicBezTo>
                <a:cubicBezTo>
                  <a:pt x="42397" y="50657"/>
                  <a:pt x="42397" y="50657"/>
                  <a:pt x="42397" y="50657"/>
                </a:cubicBezTo>
                <a:cubicBezTo>
                  <a:pt x="40883" y="50657"/>
                  <a:pt x="40883" y="50657"/>
                  <a:pt x="40883" y="50657"/>
                </a:cubicBezTo>
                <a:cubicBezTo>
                  <a:pt x="38233" y="47543"/>
                  <a:pt x="38233" y="47543"/>
                  <a:pt x="38233" y="47543"/>
                </a:cubicBezTo>
                <a:cubicBezTo>
                  <a:pt x="35962" y="46920"/>
                  <a:pt x="35962" y="46920"/>
                  <a:pt x="35962" y="46920"/>
                </a:cubicBezTo>
                <a:cubicBezTo>
                  <a:pt x="34447" y="46089"/>
                  <a:pt x="34447" y="46089"/>
                  <a:pt x="34447" y="46089"/>
                </a:cubicBezTo>
                <a:cubicBezTo>
                  <a:pt x="34447" y="45051"/>
                  <a:pt x="34447" y="45051"/>
                  <a:pt x="34447" y="45051"/>
                </a:cubicBezTo>
                <a:cubicBezTo>
                  <a:pt x="33312" y="44221"/>
                  <a:pt x="33312" y="44221"/>
                  <a:pt x="33312" y="44221"/>
                </a:cubicBezTo>
                <a:cubicBezTo>
                  <a:pt x="33312" y="44221"/>
                  <a:pt x="33690" y="43598"/>
                  <a:pt x="33690" y="43391"/>
                </a:cubicBezTo>
                <a:cubicBezTo>
                  <a:pt x="34069" y="43183"/>
                  <a:pt x="34826" y="42145"/>
                  <a:pt x="34826" y="42145"/>
                </a:cubicBezTo>
                <a:cubicBezTo>
                  <a:pt x="34826" y="42145"/>
                  <a:pt x="34447" y="41314"/>
                  <a:pt x="34447" y="41107"/>
                </a:cubicBezTo>
                <a:cubicBezTo>
                  <a:pt x="34447" y="40899"/>
                  <a:pt x="34826" y="39861"/>
                  <a:pt x="34826" y="39861"/>
                </a:cubicBezTo>
                <a:cubicBezTo>
                  <a:pt x="34447" y="38823"/>
                  <a:pt x="34447" y="38823"/>
                  <a:pt x="34447" y="38823"/>
                </a:cubicBezTo>
                <a:cubicBezTo>
                  <a:pt x="29905" y="35916"/>
                  <a:pt x="29905" y="35916"/>
                  <a:pt x="29905" y="35916"/>
                </a:cubicBezTo>
                <a:cubicBezTo>
                  <a:pt x="30283" y="34671"/>
                  <a:pt x="30283" y="34671"/>
                  <a:pt x="30283" y="34671"/>
                </a:cubicBezTo>
                <a:cubicBezTo>
                  <a:pt x="29905" y="34048"/>
                  <a:pt x="29905" y="34048"/>
                  <a:pt x="29905" y="34048"/>
                </a:cubicBezTo>
                <a:cubicBezTo>
                  <a:pt x="29526" y="33425"/>
                  <a:pt x="29526" y="33425"/>
                  <a:pt x="29905" y="33010"/>
                </a:cubicBezTo>
                <a:cubicBezTo>
                  <a:pt x="29905" y="32802"/>
                  <a:pt x="29905" y="32802"/>
                  <a:pt x="29905" y="32802"/>
                </a:cubicBezTo>
                <a:cubicBezTo>
                  <a:pt x="28391" y="33010"/>
                  <a:pt x="28391" y="33010"/>
                  <a:pt x="28391" y="33010"/>
                </a:cubicBezTo>
                <a:cubicBezTo>
                  <a:pt x="27255" y="32179"/>
                  <a:pt x="27255" y="32179"/>
                  <a:pt x="27255" y="32179"/>
                </a:cubicBezTo>
                <a:cubicBezTo>
                  <a:pt x="27634" y="31141"/>
                  <a:pt x="27634" y="31141"/>
                  <a:pt x="27634" y="31141"/>
                </a:cubicBezTo>
                <a:cubicBezTo>
                  <a:pt x="26876" y="28650"/>
                  <a:pt x="26876" y="28650"/>
                  <a:pt x="26876" y="28650"/>
                </a:cubicBezTo>
                <a:cubicBezTo>
                  <a:pt x="27634" y="27404"/>
                  <a:pt x="27634" y="27404"/>
                  <a:pt x="27634" y="27404"/>
                </a:cubicBezTo>
                <a:cubicBezTo>
                  <a:pt x="25362" y="26782"/>
                  <a:pt x="25362" y="26782"/>
                  <a:pt x="25362" y="26782"/>
                </a:cubicBezTo>
                <a:cubicBezTo>
                  <a:pt x="23848" y="25536"/>
                  <a:pt x="23848" y="25536"/>
                  <a:pt x="23848" y="25536"/>
                </a:cubicBezTo>
                <a:cubicBezTo>
                  <a:pt x="23848" y="25536"/>
                  <a:pt x="23470" y="25951"/>
                  <a:pt x="23091" y="25743"/>
                </a:cubicBezTo>
                <a:cubicBezTo>
                  <a:pt x="22712" y="25536"/>
                  <a:pt x="20820" y="23875"/>
                  <a:pt x="20820" y="23875"/>
                </a:cubicBezTo>
                <a:cubicBezTo>
                  <a:pt x="17413" y="23252"/>
                  <a:pt x="17413" y="23252"/>
                  <a:pt x="17413" y="23252"/>
                </a:cubicBezTo>
                <a:cubicBezTo>
                  <a:pt x="15899" y="22837"/>
                  <a:pt x="15899" y="22837"/>
                  <a:pt x="15899" y="22837"/>
                </a:cubicBezTo>
                <a:cubicBezTo>
                  <a:pt x="14006" y="22629"/>
                  <a:pt x="14006" y="22629"/>
                  <a:pt x="14006" y="22629"/>
                </a:cubicBezTo>
                <a:cubicBezTo>
                  <a:pt x="14006" y="22629"/>
                  <a:pt x="13627" y="23044"/>
                  <a:pt x="13249" y="22629"/>
                </a:cubicBezTo>
                <a:cubicBezTo>
                  <a:pt x="12870" y="22214"/>
                  <a:pt x="12113" y="21799"/>
                  <a:pt x="12113" y="21799"/>
                </a:cubicBezTo>
                <a:cubicBezTo>
                  <a:pt x="10599" y="22006"/>
                  <a:pt x="10599" y="22006"/>
                  <a:pt x="10599" y="22006"/>
                </a:cubicBezTo>
                <a:cubicBezTo>
                  <a:pt x="9463" y="21176"/>
                  <a:pt x="9463" y="21176"/>
                  <a:pt x="9463" y="21176"/>
                </a:cubicBezTo>
                <a:cubicBezTo>
                  <a:pt x="9463" y="21176"/>
                  <a:pt x="9085" y="21176"/>
                  <a:pt x="8706" y="21176"/>
                </a:cubicBezTo>
                <a:cubicBezTo>
                  <a:pt x="8328" y="20968"/>
                  <a:pt x="7570" y="20761"/>
                  <a:pt x="7570" y="20761"/>
                </a:cubicBezTo>
                <a:close/>
                <a:moveTo>
                  <a:pt x="53753" y="117923"/>
                </a:moveTo>
                <a:cubicBezTo>
                  <a:pt x="53753" y="117923"/>
                  <a:pt x="53753" y="117923"/>
                  <a:pt x="53753" y="117923"/>
                </a:cubicBezTo>
                <a:cubicBezTo>
                  <a:pt x="53753" y="117923"/>
                  <a:pt x="53753" y="118131"/>
                  <a:pt x="53753" y="118339"/>
                </a:cubicBezTo>
                <a:cubicBezTo>
                  <a:pt x="53753" y="118339"/>
                  <a:pt x="54132" y="118546"/>
                  <a:pt x="54511" y="118546"/>
                </a:cubicBezTo>
                <a:cubicBezTo>
                  <a:pt x="54511" y="118546"/>
                  <a:pt x="55268" y="118339"/>
                  <a:pt x="55646" y="118131"/>
                </a:cubicBezTo>
                <a:cubicBezTo>
                  <a:pt x="56403" y="117923"/>
                  <a:pt x="55646" y="118131"/>
                  <a:pt x="55646" y="118131"/>
                </a:cubicBezTo>
                <a:cubicBezTo>
                  <a:pt x="54889" y="117716"/>
                  <a:pt x="54889" y="117716"/>
                  <a:pt x="54889" y="117716"/>
                </a:cubicBezTo>
                <a:cubicBezTo>
                  <a:pt x="54889" y="117716"/>
                  <a:pt x="54132" y="117923"/>
                  <a:pt x="53753" y="117923"/>
                </a:cubicBezTo>
                <a:close/>
                <a:moveTo>
                  <a:pt x="48832" y="117923"/>
                </a:moveTo>
                <a:cubicBezTo>
                  <a:pt x="48832" y="117923"/>
                  <a:pt x="48832" y="117923"/>
                  <a:pt x="48832" y="117923"/>
                </a:cubicBezTo>
                <a:cubicBezTo>
                  <a:pt x="48832" y="117923"/>
                  <a:pt x="48832" y="118339"/>
                  <a:pt x="48832" y="118339"/>
                </a:cubicBezTo>
                <a:cubicBezTo>
                  <a:pt x="48832" y="118546"/>
                  <a:pt x="49211" y="118546"/>
                  <a:pt x="49589" y="118339"/>
                </a:cubicBezTo>
                <a:cubicBezTo>
                  <a:pt x="49589" y="118339"/>
                  <a:pt x="49968" y="118339"/>
                  <a:pt x="50347" y="118131"/>
                </a:cubicBezTo>
                <a:cubicBezTo>
                  <a:pt x="50725" y="117923"/>
                  <a:pt x="50347" y="117716"/>
                  <a:pt x="49968" y="117716"/>
                </a:cubicBezTo>
                <a:cubicBezTo>
                  <a:pt x="49968" y="117508"/>
                  <a:pt x="49589" y="117716"/>
                  <a:pt x="49589" y="117716"/>
                </a:cubicBezTo>
                <a:cubicBezTo>
                  <a:pt x="49211" y="117716"/>
                  <a:pt x="48832" y="117923"/>
                  <a:pt x="48832" y="117923"/>
                </a:cubicBezTo>
                <a:close/>
                <a:moveTo>
                  <a:pt x="39747" y="115432"/>
                </a:moveTo>
                <a:cubicBezTo>
                  <a:pt x="39747" y="115432"/>
                  <a:pt x="39747" y="115432"/>
                  <a:pt x="39747" y="115432"/>
                </a:cubicBezTo>
                <a:cubicBezTo>
                  <a:pt x="39369" y="115640"/>
                  <a:pt x="39369" y="115640"/>
                  <a:pt x="39369" y="115640"/>
                </a:cubicBezTo>
                <a:cubicBezTo>
                  <a:pt x="39369" y="115640"/>
                  <a:pt x="38990" y="115847"/>
                  <a:pt x="39369" y="116055"/>
                </a:cubicBezTo>
                <a:cubicBezTo>
                  <a:pt x="39369" y="116470"/>
                  <a:pt x="39747" y="116470"/>
                  <a:pt x="39747" y="116470"/>
                </a:cubicBezTo>
                <a:cubicBezTo>
                  <a:pt x="39747" y="116470"/>
                  <a:pt x="40126" y="116262"/>
                  <a:pt x="40883" y="116262"/>
                </a:cubicBezTo>
                <a:cubicBezTo>
                  <a:pt x="41261" y="116262"/>
                  <a:pt x="42018" y="115847"/>
                  <a:pt x="42018" y="115640"/>
                </a:cubicBezTo>
                <a:cubicBezTo>
                  <a:pt x="42397" y="115640"/>
                  <a:pt x="42397" y="115224"/>
                  <a:pt x="42776" y="115224"/>
                </a:cubicBezTo>
                <a:cubicBezTo>
                  <a:pt x="43154" y="115224"/>
                  <a:pt x="44290" y="115432"/>
                  <a:pt x="44668" y="115432"/>
                </a:cubicBezTo>
                <a:cubicBezTo>
                  <a:pt x="45047" y="115432"/>
                  <a:pt x="44290" y="114809"/>
                  <a:pt x="44290" y="114809"/>
                </a:cubicBezTo>
                <a:cubicBezTo>
                  <a:pt x="44290" y="114602"/>
                  <a:pt x="43154" y="114809"/>
                  <a:pt x="43154" y="114809"/>
                </a:cubicBezTo>
                <a:cubicBezTo>
                  <a:pt x="43154" y="114809"/>
                  <a:pt x="42397" y="114809"/>
                  <a:pt x="42018" y="114602"/>
                </a:cubicBezTo>
                <a:cubicBezTo>
                  <a:pt x="41640" y="114602"/>
                  <a:pt x="41640" y="114602"/>
                  <a:pt x="41640" y="114602"/>
                </a:cubicBezTo>
                <a:cubicBezTo>
                  <a:pt x="41261" y="114809"/>
                  <a:pt x="41261" y="115017"/>
                  <a:pt x="40883" y="115224"/>
                </a:cubicBezTo>
                <a:cubicBezTo>
                  <a:pt x="40504" y="115432"/>
                  <a:pt x="40504" y="115224"/>
                  <a:pt x="40504" y="115017"/>
                </a:cubicBezTo>
                <a:cubicBezTo>
                  <a:pt x="40504" y="115017"/>
                  <a:pt x="39747" y="114809"/>
                  <a:pt x="39369" y="115017"/>
                </a:cubicBezTo>
                <a:cubicBezTo>
                  <a:pt x="39369" y="115017"/>
                  <a:pt x="39747" y="115224"/>
                  <a:pt x="39747" y="115432"/>
                </a:cubicBezTo>
                <a:close/>
                <a:moveTo>
                  <a:pt x="36719" y="115432"/>
                </a:moveTo>
                <a:cubicBezTo>
                  <a:pt x="36719" y="115432"/>
                  <a:pt x="36719" y="115432"/>
                  <a:pt x="36719" y="115432"/>
                </a:cubicBezTo>
                <a:cubicBezTo>
                  <a:pt x="36719" y="115432"/>
                  <a:pt x="37476" y="115640"/>
                  <a:pt x="38233" y="115640"/>
                </a:cubicBezTo>
                <a:cubicBezTo>
                  <a:pt x="38611" y="115640"/>
                  <a:pt x="38233" y="115432"/>
                  <a:pt x="38611" y="115224"/>
                </a:cubicBezTo>
                <a:cubicBezTo>
                  <a:pt x="38611" y="115017"/>
                  <a:pt x="38233" y="115224"/>
                  <a:pt x="37854" y="115017"/>
                </a:cubicBezTo>
                <a:cubicBezTo>
                  <a:pt x="37476" y="115017"/>
                  <a:pt x="37476" y="115017"/>
                  <a:pt x="37097" y="115017"/>
                </a:cubicBezTo>
                <a:cubicBezTo>
                  <a:pt x="36340" y="115017"/>
                  <a:pt x="36719" y="115432"/>
                  <a:pt x="36719" y="115432"/>
                </a:cubicBezTo>
                <a:close/>
                <a:moveTo>
                  <a:pt x="33312" y="113148"/>
                </a:moveTo>
                <a:cubicBezTo>
                  <a:pt x="33312" y="113148"/>
                  <a:pt x="33312" y="113148"/>
                  <a:pt x="33312" y="113148"/>
                </a:cubicBezTo>
                <a:cubicBezTo>
                  <a:pt x="32933" y="114186"/>
                  <a:pt x="34826" y="113564"/>
                  <a:pt x="34826" y="112941"/>
                </a:cubicBezTo>
                <a:cubicBezTo>
                  <a:pt x="34447" y="112525"/>
                  <a:pt x="34826" y="112525"/>
                  <a:pt x="34069" y="112110"/>
                </a:cubicBezTo>
                <a:cubicBezTo>
                  <a:pt x="33690" y="111487"/>
                  <a:pt x="33690" y="112110"/>
                  <a:pt x="33312" y="112318"/>
                </a:cubicBezTo>
                <a:cubicBezTo>
                  <a:pt x="32933" y="112733"/>
                  <a:pt x="33690" y="112733"/>
                  <a:pt x="33690" y="112941"/>
                </a:cubicBezTo>
                <a:cubicBezTo>
                  <a:pt x="33690" y="113148"/>
                  <a:pt x="33312" y="112941"/>
                  <a:pt x="33312" y="113148"/>
                </a:cubicBezTo>
                <a:close/>
                <a:moveTo>
                  <a:pt x="30283" y="115640"/>
                </a:moveTo>
                <a:cubicBezTo>
                  <a:pt x="30283" y="115640"/>
                  <a:pt x="30283" y="115640"/>
                  <a:pt x="30283" y="115640"/>
                </a:cubicBezTo>
                <a:cubicBezTo>
                  <a:pt x="30283" y="115640"/>
                  <a:pt x="29905" y="115847"/>
                  <a:pt x="30283" y="116262"/>
                </a:cubicBezTo>
                <a:cubicBezTo>
                  <a:pt x="30283" y="116470"/>
                  <a:pt x="30283" y="116262"/>
                  <a:pt x="31419" y="115847"/>
                </a:cubicBezTo>
                <a:cubicBezTo>
                  <a:pt x="32176" y="115432"/>
                  <a:pt x="31041" y="115640"/>
                  <a:pt x="31041" y="115640"/>
                </a:cubicBezTo>
                <a:cubicBezTo>
                  <a:pt x="31041" y="115432"/>
                  <a:pt x="30662" y="115640"/>
                  <a:pt x="30283" y="115640"/>
                </a:cubicBezTo>
                <a:close/>
                <a:moveTo>
                  <a:pt x="30283" y="116885"/>
                </a:moveTo>
                <a:cubicBezTo>
                  <a:pt x="30283" y="116885"/>
                  <a:pt x="30283" y="116885"/>
                  <a:pt x="30283" y="116885"/>
                </a:cubicBezTo>
                <a:cubicBezTo>
                  <a:pt x="30283" y="116885"/>
                  <a:pt x="30283" y="117301"/>
                  <a:pt x="30662" y="117301"/>
                </a:cubicBezTo>
                <a:cubicBezTo>
                  <a:pt x="31041" y="117301"/>
                  <a:pt x="31041" y="117093"/>
                  <a:pt x="31419" y="116885"/>
                </a:cubicBezTo>
                <a:cubicBezTo>
                  <a:pt x="31419" y="116678"/>
                  <a:pt x="31041" y="116678"/>
                  <a:pt x="31041" y="116470"/>
                </a:cubicBezTo>
                <a:cubicBezTo>
                  <a:pt x="30662" y="116470"/>
                  <a:pt x="30283" y="116678"/>
                  <a:pt x="30283" y="116885"/>
                </a:cubicBezTo>
                <a:close/>
                <a:moveTo>
                  <a:pt x="29148" y="117923"/>
                </a:moveTo>
                <a:cubicBezTo>
                  <a:pt x="29148" y="117923"/>
                  <a:pt x="29148" y="117923"/>
                  <a:pt x="29148" y="117923"/>
                </a:cubicBezTo>
                <a:cubicBezTo>
                  <a:pt x="28391" y="117923"/>
                  <a:pt x="28391" y="117923"/>
                  <a:pt x="28391" y="117923"/>
                </a:cubicBezTo>
                <a:cubicBezTo>
                  <a:pt x="28391" y="117923"/>
                  <a:pt x="28391" y="117923"/>
                  <a:pt x="27255" y="118339"/>
                </a:cubicBezTo>
                <a:cubicBezTo>
                  <a:pt x="26119" y="118546"/>
                  <a:pt x="26876" y="118754"/>
                  <a:pt x="26876" y="118961"/>
                </a:cubicBezTo>
                <a:cubicBezTo>
                  <a:pt x="26876" y="119377"/>
                  <a:pt x="28012" y="118961"/>
                  <a:pt x="28769" y="118754"/>
                </a:cubicBezTo>
                <a:cubicBezTo>
                  <a:pt x="29148" y="118754"/>
                  <a:pt x="28769" y="118546"/>
                  <a:pt x="29148" y="118546"/>
                </a:cubicBezTo>
                <a:cubicBezTo>
                  <a:pt x="29148" y="118546"/>
                  <a:pt x="29148" y="118546"/>
                  <a:pt x="29905" y="118339"/>
                </a:cubicBezTo>
                <a:cubicBezTo>
                  <a:pt x="30662" y="118131"/>
                  <a:pt x="30283" y="118131"/>
                  <a:pt x="30283" y="117923"/>
                </a:cubicBezTo>
                <a:cubicBezTo>
                  <a:pt x="30283" y="117923"/>
                  <a:pt x="29526" y="117716"/>
                  <a:pt x="29148" y="117923"/>
                </a:cubicBezTo>
                <a:close/>
                <a:moveTo>
                  <a:pt x="19305" y="118961"/>
                </a:moveTo>
                <a:cubicBezTo>
                  <a:pt x="19305" y="118961"/>
                  <a:pt x="19305" y="118961"/>
                  <a:pt x="19305" y="118961"/>
                </a:cubicBezTo>
                <a:cubicBezTo>
                  <a:pt x="19684" y="118961"/>
                  <a:pt x="20063" y="118754"/>
                  <a:pt x="20441" y="118961"/>
                </a:cubicBezTo>
                <a:cubicBezTo>
                  <a:pt x="20820" y="119169"/>
                  <a:pt x="20441" y="119584"/>
                  <a:pt x="20441" y="119584"/>
                </a:cubicBezTo>
                <a:cubicBezTo>
                  <a:pt x="20063" y="119792"/>
                  <a:pt x="19684" y="120000"/>
                  <a:pt x="19305" y="120000"/>
                </a:cubicBezTo>
                <a:cubicBezTo>
                  <a:pt x="18927" y="120000"/>
                  <a:pt x="18548" y="120000"/>
                  <a:pt x="18170" y="119792"/>
                </a:cubicBezTo>
                <a:cubicBezTo>
                  <a:pt x="18170" y="119584"/>
                  <a:pt x="18170" y="118961"/>
                  <a:pt x="18170" y="118961"/>
                </a:cubicBezTo>
                <a:cubicBezTo>
                  <a:pt x="18548" y="118961"/>
                  <a:pt x="19305" y="118961"/>
                  <a:pt x="19305" y="118961"/>
                </a:cubicBezTo>
                <a:close/>
                <a:moveTo>
                  <a:pt x="22334" y="115847"/>
                </a:moveTo>
                <a:cubicBezTo>
                  <a:pt x="22334" y="115847"/>
                  <a:pt x="22334" y="115847"/>
                  <a:pt x="22334" y="115847"/>
                </a:cubicBezTo>
                <a:cubicBezTo>
                  <a:pt x="22334" y="115847"/>
                  <a:pt x="22334" y="115847"/>
                  <a:pt x="22334" y="115847"/>
                </a:cubicBezTo>
                <a:cubicBezTo>
                  <a:pt x="22334" y="115847"/>
                  <a:pt x="22334" y="116262"/>
                  <a:pt x="21955" y="116262"/>
                </a:cubicBezTo>
                <a:cubicBezTo>
                  <a:pt x="21198" y="116470"/>
                  <a:pt x="21577" y="115847"/>
                  <a:pt x="21577" y="115640"/>
                </a:cubicBezTo>
                <a:cubicBezTo>
                  <a:pt x="21577" y="115432"/>
                  <a:pt x="20063" y="115847"/>
                  <a:pt x="20063" y="115847"/>
                </a:cubicBezTo>
                <a:cubicBezTo>
                  <a:pt x="20063" y="115847"/>
                  <a:pt x="20063" y="116470"/>
                  <a:pt x="19684" y="116678"/>
                </a:cubicBezTo>
                <a:cubicBezTo>
                  <a:pt x="19305" y="116678"/>
                  <a:pt x="19305" y="116678"/>
                  <a:pt x="18927" y="116885"/>
                </a:cubicBezTo>
                <a:cubicBezTo>
                  <a:pt x="18548" y="117093"/>
                  <a:pt x="18548" y="117508"/>
                  <a:pt x="18548" y="117508"/>
                </a:cubicBezTo>
                <a:cubicBezTo>
                  <a:pt x="18927" y="117716"/>
                  <a:pt x="19684" y="117716"/>
                  <a:pt x="19684" y="117716"/>
                </a:cubicBezTo>
                <a:cubicBezTo>
                  <a:pt x="20063" y="117716"/>
                  <a:pt x="20063" y="117716"/>
                  <a:pt x="21198" y="118131"/>
                </a:cubicBezTo>
                <a:cubicBezTo>
                  <a:pt x="22712" y="118339"/>
                  <a:pt x="21577" y="118131"/>
                  <a:pt x="22712" y="118131"/>
                </a:cubicBezTo>
                <a:cubicBezTo>
                  <a:pt x="23470" y="118131"/>
                  <a:pt x="23091" y="118339"/>
                  <a:pt x="23470" y="118339"/>
                </a:cubicBezTo>
                <a:cubicBezTo>
                  <a:pt x="23848" y="118339"/>
                  <a:pt x="24227" y="118754"/>
                  <a:pt x="24605" y="118961"/>
                </a:cubicBezTo>
                <a:cubicBezTo>
                  <a:pt x="25362" y="119169"/>
                  <a:pt x="25741" y="118754"/>
                  <a:pt x="26119" y="118754"/>
                </a:cubicBezTo>
                <a:cubicBezTo>
                  <a:pt x="26119" y="118546"/>
                  <a:pt x="26876" y="117923"/>
                  <a:pt x="26876" y="117923"/>
                </a:cubicBezTo>
                <a:cubicBezTo>
                  <a:pt x="26876" y="117923"/>
                  <a:pt x="24605" y="117508"/>
                  <a:pt x="24605" y="117508"/>
                </a:cubicBezTo>
                <a:cubicBezTo>
                  <a:pt x="24227" y="117508"/>
                  <a:pt x="23848" y="116885"/>
                  <a:pt x="24605" y="116885"/>
                </a:cubicBezTo>
                <a:cubicBezTo>
                  <a:pt x="24984" y="116885"/>
                  <a:pt x="24984" y="117093"/>
                  <a:pt x="25362" y="117301"/>
                </a:cubicBezTo>
                <a:cubicBezTo>
                  <a:pt x="25362" y="117508"/>
                  <a:pt x="25741" y="117508"/>
                  <a:pt x="26119" y="117508"/>
                </a:cubicBezTo>
                <a:cubicBezTo>
                  <a:pt x="26498" y="117508"/>
                  <a:pt x="26876" y="117301"/>
                  <a:pt x="26876" y="117093"/>
                </a:cubicBezTo>
                <a:cubicBezTo>
                  <a:pt x="26876" y="116885"/>
                  <a:pt x="26498" y="117093"/>
                  <a:pt x="25741" y="116470"/>
                </a:cubicBezTo>
                <a:cubicBezTo>
                  <a:pt x="24605" y="115847"/>
                  <a:pt x="25741" y="116055"/>
                  <a:pt x="26119" y="116055"/>
                </a:cubicBezTo>
                <a:cubicBezTo>
                  <a:pt x="26119" y="115847"/>
                  <a:pt x="26876" y="115432"/>
                  <a:pt x="26876" y="115432"/>
                </a:cubicBezTo>
                <a:cubicBezTo>
                  <a:pt x="27255" y="115224"/>
                  <a:pt x="26119" y="115224"/>
                  <a:pt x="25741" y="115017"/>
                </a:cubicBezTo>
                <a:cubicBezTo>
                  <a:pt x="25362" y="115017"/>
                  <a:pt x="25362" y="115017"/>
                  <a:pt x="25362" y="115017"/>
                </a:cubicBezTo>
                <a:cubicBezTo>
                  <a:pt x="25362" y="115224"/>
                  <a:pt x="24227" y="115017"/>
                  <a:pt x="23848" y="114809"/>
                </a:cubicBezTo>
                <a:cubicBezTo>
                  <a:pt x="23848" y="114809"/>
                  <a:pt x="23848" y="114394"/>
                  <a:pt x="23470" y="114186"/>
                </a:cubicBezTo>
                <a:cubicBezTo>
                  <a:pt x="23470" y="114186"/>
                  <a:pt x="22712" y="114186"/>
                  <a:pt x="21955" y="114186"/>
                </a:cubicBezTo>
                <a:cubicBezTo>
                  <a:pt x="21198" y="114186"/>
                  <a:pt x="21577" y="114809"/>
                  <a:pt x="21577" y="114809"/>
                </a:cubicBezTo>
                <a:cubicBezTo>
                  <a:pt x="21577" y="114809"/>
                  <a:pt x="21955" y="115224"/>
                  <a:pt x="22334" y="115432"/>
                </a:cubicBezTo>
                <a:cubicBezTo>
                  <a:pt x="22334" y="115432"/>
                  <a:pt x="22334" y="115847"/>
                  <a:pt x="22334" y="115847"/>
                </a:cubicBez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3055;p256">
            <a:extLst>
              <a:ext uri="{FF2B5EF4-FFF2-40B4-BE49-F238E27FC236}">
                <a16:creationId xmlns:a16="http://schemas.microsoft.com/office/drawing/2014/main" id="{0D5B2CB9-4562-EEB3-5BCF-C33D6DB77F98}"/>
              </a:ext>
            </a:extLst>
          </p:cNvPr>
          <p:cNvSpPr/>
          <p:nvPr/>
        </p:nvSpPr>
        <p:spPr>
          <a:xfrm>
            <a:off x="13466001" y="1753962"/>
            <a:ext cx="1879006" cy="231225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5321" y="81290"/>
                </a:moveTo>
                <a:cubicBezTo>
                  <a:pt x="42339" y="77788"/>
                  <a:pt x="42339" y="77788"/>
                  <a:pt x="42339" y="77788"/>
                </a:cubicBezTo>
                <a:cubicBezTo>
                  <a:pt x="50760" y="72811"/>
                  <a:pt x="50760" y="72811"/>
                  <a:pt x="50760" y="72811"/>
                </a:cubicBezTo>
                <a:cubicBezTo>
                  <a:pt x="59883" y="72442"/>
                  <a:pt x="59883" y="72442"/>
                  <a:pt x="59883" y="72442"/>
                </a:cubicBezTo>
                <a:cubicBezTo>
                  <a:pt x="62222" y="72811"/>
                  <a:pt x="62923" y="74101"/>
                  <a:pt x="67134" y="71520"/>
                </a:cubicBezTo>
                <a:cubicBezTo>
                  <a:pt x="71578" y="73917"/>
                  <a:pt x="71578" y="73917"/>
                  <a:pt x="71578" y="73917"/>
                </a:cubicBezTo>
                <a:cubicBezTo>
                  <a:pt x="74385" y="78341"/>
                  <a:pt x="74385" y="78341"/>
                  <a:pt x="74385" y="78341"/>
                </a:cubicBezTo>
                <a:cubicBezTo>
                  <a:pt x="75789" y="84792"/>
                  <a:pt x="75789" y="84792"/>
                  <a:pt x="75789" y="84792"/>
                </a:cubicBezTo>
                <a:cubicBezTo>
                  <a:pt x="82339" y="84792"/>
                  <a:pt x="82339" y="84792"/>
                  <a:pt x="82339" y="84792"/>
                </a:cubicBezTo>
                <a:cubicBezTo>
                  <a:pt x="86783" y="83317"/>
                  <a:pt x="86783" y="83317"/>
                  <a:pt x="86783" y="83317"/>
                </a:cubicBezTo>
                <a:cubicBezTo>
                  <a:pt x="89824" y="85345"/>
                  <a:pt x="89122" y="84608"/>
                  <a:pt x="89824" y="86267"/>
                </a:cubicBezTo>
                <a:cubicBezTo>
                  <a:pt x="87017" y="88110"/>
                  <a:pt x="87485" y="87741"/>
                  <a:pt x="84210" y="89216"/>
                </a:cubicBezTo>
                <a:cubicBezTo>
                  <a:pt x="82807" y="93640"/>
                  <a:pt x="82807" y="93640"/>
                  <a:pt x="82807" y="93640"/>
                </a:cubicBezTo>
                <a:cubicBezTo>
                  <a:pt x="81169" y="93824"/>
                  <a:pt x="81169" y="93824"/>
                  <a:pt x="81169" y="93824"/>
                </a:cubicBezTo>
                <a:cubicBezTo>
                  <a:pt x="81169" y="89400"/>
                  <a:pt x="80701" y="91059"/>
                  <a:pt x="83274" y="87004"/>
                </a:cubicBezTo>
                <a:cubicBezTo>
                  <a:pt x="81871" y="86451"/>
                  <a:pt x="81871" y="86451"/>
                  <a:pt x="81871" y="86451"/>
                </a:cubicBezTo>
                <a:cubicBezTo>
                  <a:pt x="74853" y="86451"/>
                  <a:pt x="74853" y="86451"/>
                  <a:pt x="74853" y="86451"/>
                </a:cubicBezTo>
                <a:cubicBezTo>
                  <a:pt x="68538" y="86451"/>
                  <a:pt x="71578" y="86082"/>
                  <a:pt x="64795" y="87373"/>
                </a:cubicBezTo>
                <a:cubicBezTo>
                  <a:pt x="64561" y="87926"/>
                  <a:pt x="61988" y="87188"/>
                  <a:pt x="61520" y="87741"/>
                </a:cubicBezTo>
                <a:cubicBezTo>
                  <a:pt x="58479" y="91612"/>
                  <a:pt x="57309" y="92534"/>
                  <a:pt x="65029" y="94377"/>
                </a:cubicBezTo>
                <a:cubicBezTo>
                  <a:pt x="64093" y="96405"/>
                  <a:pt x="64093" y="96405"/>
                  <a:pt x="64093" y="96405"/>
                </a:cubicBezTo>
                <a:cubicBezTo>
                  <a:pt x="60818" y="94930"/>
                  <a:pt x="62456" y="95299"/>
                  <a:pt x="57309" y="95483"/>
                </a:cubicBezTo>
                <a:cubicBezTo>
                  <a:pt x="54035" y="95668"/>
                  <a:pt x="54035" y="95668"/>
                  <a:pt x="54035" y="95668"/>
                </a:cubicBezTo>
                <a:cubicBezTo>
                  <a:pt x="54035" y="97880"/>
                  <a:pt x="54035" y="97880"/>
                  <a:pt x="54035" y="97880"/>
                </a:cubicBezTo>
                <a:cubicBezTo>
                  <a:pt x="57543" y="97695"/>
                  <a:pt x="57543" y="97695"/>
                  <a:pt x="57543" y="97695"/>
                </a:cubicBezTo>
                <a:cubicBezTo>
                  <a:pt x="60818" y="99170"/>
                  <a:pt x="60818" y="99170"/>
                  <a:pt x="60818" y="99170"/>
                </a:cubicBezTo>
                <a:cubicBezTo>
                  <a:pt x="62923" y="101013"/>
                  <a:pt x="62923" y="101013"/>
                  <a:pt x="62923" y="101013"/>
                </a:cubicBezTo>
                <a:cubicBezTo>
                  <a:pt x="68070" y="104700"/>
                  <a:pt x="68070" y="104700"/>
                  <a:pt x="68070" y="104700"/>
                </a:cubicBezTo>
                <a:cubicBezTo>
                  <a:pt x="68771" y="108018"/>
                  <a:pt x="68771" y="108018"/>
                  <a:pt x="68771" y="108018"/>
                </a:cubicBezTo>
                <a:cubicBezTo>
                  <a:pt x="71578" y="107649"/>
                  <a:pt x="71345" y="107465"/>
                  <a:pt x="73918" y="108387"/>
                </a:cubicBezTo>
                <a:cubicBezTo>
                  <a:pt x="78128" y="109861"/>
                  <a:pt x="78830" y="109308"/>
                  <a:pt x="83742" y="108571"/>
                </a:cubicBezTo>
                <a:cubicBezTo>
                  <a:pt x="84678" y="110230"/>
                  <a:pt x="84678" y="110230"/>
                  <a:pt x="84678" y="110230"/>
                </a:cubicBezTo>
                <a:cubicBezTo>
                  <a:pt x="84678" y="113917"/>
                  <a:pt x="84678" y="113917"/>
                  <a:pt x="84678" y="113917"/>
                </a:cubicBezTo>
                <a:cubicBezTo>
                  <a:pt x="85380" y="117235"/>
                  <a:pt x="85380" y="117235"/>
                  <a:pt x="85380" y="117235"/>
                </a:cubicBezTo>
                <a:cubicBezTo>
                  <a:pt x="89122" y="115391"/>
                  <a:pt x="89122" y="115391"/>
                  <a:pt x="89122" y="115391"/>
                </a:cubicBezTo>
                <a:cubicBezTo>
                  <a:pt x="90760" y="113364"/>
                  <a:pt x="90760" y="113364"/>
                  <a:pt x="90760" y="113364"/>
                </a:cubicBezTo>
                <a:cubicBezTo>
                  <a:pt x="96608" y="111889"/>
                  <a:pt x="96608" y="111889"/>
                  <a:pt x="96608" y="111889"/>
                </a:cubicBezTo>
                <a:cubicBezTo>
                  <a:pt x="103391" y="112258"/>
                  <a:pt x="103391" y="112258"/>
                  <a:pt x="103391" y="112258"/>
                </a:cubicBezTo>
                <a:cubicBezTo>
                  <a:pt x="103391" y="112442"/>
                  <a:pt x="111578" y="116497"/>
                  <a:pt x="112748" y="117419"/>
                </a:cubicBezTo>
                <a:cubicBezTo>
                  <a:pt x="113684" y="118341"/>
                  <a:pt x="115087" y="120000"/>
                  <a:pt x="115087" y="120000"/>
                </a:cubicBezTo>
                <a:cubicBezTo>
                  <a:pt x="119532" y="119078"/>
                  <a:pt x="119532" y="119078"/>
                  <a:pt x="119532" y="119078"/>
                </a:cubicBezTo>
                <a:cubicBezTo>
                  <a:pt x="120000" y="118709"/>
                  <a:pt x="120000" y="118709"/>
                  <a:pt x="120000" y="118709"/>
                </a:cubicBezTo>
                <a:cubicBezTo>
                  <a:pt x="120000" y="113917"/>
                  <a:pt x="120000" y="113917"/>
                  <a:pt x="120000" y="113917"/>
                </a:cubicBezTo>
                <a:cubicBezTo>
                  <a:pt x="105029" y="85714"/>
                  <a:pt x="105029" y="85714"/>
                  <a:pt x="105029" y="85714"/>
                </a:cubicBezTo>
                <a:cubicBezTo>
                  <a:pt x="120000" y="80368"/>
                  <a:pt x="120000" y="80368"/>
                  <a:pt x="120000" y="80368"/>
                </a:cubicBezTo>
                <a:cubicBezTo>
                  <a:pt x="120000" y="30046"/>
                  <a:pt x="120000" y="30046"/>
                  <a:pt x="120000" y="30046"/>
                </a:cubicBezTo>
                <a:cubicBezTo>
                  <a:pt x="119298" y="30046"/>
                  <a:pt x="118362" y="30230"/>
                  <a:pt x="117192" y="30230"/>
                </a:cubicBezTo>
                <a:cubicBezTo>
                  <a:pt x="115555" y="32442"/>
                  <a:pt x="115555" y="32442"/>
                  <a:pt x="115555" y="32442"/>
                </a:cubicBezTo>
                <a:cubicBezTo>
                  <a:pt x="103625" y="30783"/>
                  <a:pt x="103625" y="30783"/>
                  <a:pt x="103625" y="30783"/>
                </a:cubicBezTo>
                <a:cubicBezTo>
                  <a:pt x="99649" y="28940"/>
                  <a:pt x="99649" y="28940"/>
                  <a:pt x="99649" y="28940"/>
                </a:cubicBezTo>
                <a:cubicBezTo>
                  <a:pt x="96608" y="30599"/>
                  <a:pt x="97309" y="29861"/>
                  <a:pt x="94736" y="32073"/>
                </a:cubicBezTo>
                <a:cubicBezTo>
                  <a:pt x="87719" y="30599"/>
                  <a:pt x="87719" y="30599"/>
                  <a:pt x="87719" y="30599"/>
                </a:cubicBezTo>
                <a:cubicBezTo>
                  <a:pt x="83274" y="32258"/>
                  <a:pt x="83274" y="32258"/>
                  <a:pt x="83274" y="32258"/>
                </a:cubicBezTo>
                <a:cubicBezTo>
                  <a:pt x="78128" y="36313"/>
                  <a:pt x="78128" y="36313"/>
                  <a:pt x="78128" y="36313"/>
                </a:cubicBezTo>
                <a:cubicBezTo>
                  <a:pt x="69473" y="35944"/>
                  <a:pt x="69473" y="35944"/>
                  <a:pt x="69473" y="35944"/>
                </a:cubicBezTo>
                <a:cubicBezTo>
                  <a:pt x="67602" y="33917"/>
                  <a:pt x="67602" y="33917"/>
                  <a:pt x="67602" y="33917"/>
                </a:cubicBezTo>
                <a:cubicBezTo>
                  <a:pt x="67134" y="35760"/>
                  <a:pt x="67134" y="35760"/>
                  <a:pt x="67134" y="35760"/>
                </a:cubicBezTo>
                <a:cubicBezTo>
                  <a:pt x="69005" y="37603"/>
                  <a:pt x="69005" y="37603"/>
                  <a:pt x="69005" y="37603"/>
                </a:cubicBezTo>
                <a:cubicBezTo>
                  <a:pt x="65730" y="38894"/>
                  <a:pt x="65730" y="38894"/>
                  <a:pt x="65730" y="38894"/>
                </a:cubicBezTo>
                <a:cubicBezTo>
                  <a:pt x="64561" y="36313"/>
                  <a:pt x="64561" y="36313"/>
                  <a:pt x="64561" y="36313"/>
                </a:cubicBezTo>
                <a:cubicBezTo>
                  <a:pt x="61754" y="33548"/>
                  <a:pt x="61754" y="33548"/>
                  <a:pt x="61754" y="33548"/>
                </a:cubicBezTo>
                <a:cubicBezTo>
                  <a:pt x="57543" y="32811"/>
                  <a:pt x="57543" y="32811"/>
                  <a:pt x="57543" y="32811"/>
                </a:cubicBezTo>
                <a:cubicBezTo>
                  <a:pt x="55204" y="31520"/>
                  <a:pt x="55204" y="31520"/>
                  <a:pt x="55204" y="31520"/>
                </a:cubicBezTo>
                <a:cubicBezTo>
                  <a:pt x="54736" y="31336"/>
                  <a:pt x="46081" y="32073"/>
                  <a:pt x="44444" y="32258"/>
                </a:cubicBezTo>
                <a:cubicBezTo>
                  <a:pt x="42339" y="31152"/>
                  <a:pt x="42105" y="31152"/>
                  <a:pt x="39766" y="30230"/>
                </a:cubicBezTo>
                <a:cubicBezTo>
                  <a:pt x="37426" y="31705"/>
                  <a:pt x="37426" y="31705"/>
                  <a:pt x="37426" y="31705"/>
                </a:cubicBezTo>
                <a:cubicBezTo>
                  <a:pt x="37426" y="31705"/>
                  <a:pt x="36257" y="33364"/>
                  <a:pt x="34385" y="33364"/>
                </a:cubicBezTo>
                <a:cubicBezTo>
                  <a:pt x="32280" y="33364"/>
                  <a:pt x="32514" y="31152"/>
                  <a:pt x="32514" y="31152"/>
                </a:cubicBezTo>
                <a:cubicBezTo>
                  <a:pt x="29473" y="31520"/>
                  <a:pt x="29473" y="31520"/>
                  <a:pt x="29473" y="31520"/>
                </a:cubicBezTo>
                <a:cubicBezTo>
                  <a:pt x="25497" y="35944"/>
                  <a:pt x="25497" y="35944"/>
                  <a:pt x="25497" y="35944"/>
                </a:cubicBezTo>
                <a:cubicBezTo>
                  <a:pt x="20584" y="39262"/>
                  <a:pt x="20584" y="39262"/>
                  <a:pt x="20584" y="39262"/>
                </a:cubicBezTo>
                <a:cubicBezTo>
                  <a:pt x="17777" y="42580"/>
                  <a:pt x="17777" y="42580"/>
                  <a:pt x="17777" y="42580"/>
                </a:cubicBezTo>
                <a:cubicBezTo>
                  <a:pt x="12397" y="44239"/>
                  <a:pt x="12397" y="44239"/>
                  <a:pt x="12397" y="44239"/>
                </a:cubicBezTo>
                <a:cubicBezTo>
                  <a:pt x="12631" y="45714"/>
                  <a:pt x="12631" y="45714"/>
                  <a:pt x="12631" y="45714"/>
                </a:cubicBezTo>
                <a:cubicBezTo>
                  <a:pt x="18011" y="49400"/>
                  <a:pt x="18011" y="49400"/>
                  <a:pt x="18011" y="49400"/>
                </a:cubicBezTo>
                <a:cubicBezTo>
                  <a:pt x="14269" y="51428"/>
                  <a:pt x="14269" y="51428"/>
                  <a:pt x="14269" y="51428"/>
                </a:cubicBezTo>
                <a:cubicBezTo>
                  <a:pt x="8654" y="46820"/>
                  <a:pt x="10760" y="50322"/>
                  <a:pt x="3742" y="46082"/>
                </a:cubicBezTo>
                <a:cubicBezTo>
                  <a:pt x="2573" y="49400"/>
                  <a:pt x="2339" y="48479"/>
                  <a:pt x="3040" y="51244"/>
                </a:cubicBezTo>
                <a:cubicBezTo>
                  <a:pt x="0" y="52903"/>
                  <a:pt x="0" y="52903"/>
                  <a:pt x="0" y="52903"/>
                </a:cubicBezTo>
                <a:cubicBezTo>
                  <a:pt x="1637" y="57880"/>
                  <a:pt x="467" y="56221"/>
                  <a:pt x="4444" y="59539"/>
                </a:cubicBezTo>
                <a:cubicBezTo>
                  <a:pt x="2105" y="63410"/>
                  <a:pt x="2573" y="61751"/>
                  <a:pt x="2807" y="66359"/>
                </a:cubicBezTo>
                <a:cubicBezTo>
                  <a:pt x="8187" y="67649"/>
                  <a:pt x="8187" y="67649"/>
                  <a:pt x="8187" y="67649"/>
                </a:cubicBezTo>
                <a:cubicBezTo>
                  <a:pt x="9590" y="70230"/>
                  <a:pt x="9590" y="70230"/>
                  <a:pt x="9590" y="70230"/>
                </a:cubicBezTo>
                <a:cubicBezTo>
                  <a:pt x="13099" y="71520"/>
                  <a:pt x="13099" y="71520"/>
                  <a:pt x="13099" y="71520"/>
                </a:cubicBezTo>
                <a:cubicBezTo>
                  <a:pt x="16608" y="69677"/>
                  <a:pt x="16608" y="69677"/>
                  <a:pt x="16608" y="69677"/>
                </a:cubicBezTo>
                <a:cubicBezTo>
                  <a:pt x="21754" y="71705"/>
                  <a:pt x="21754" y="71705"/>
                  <a:pt x="21754" y="71705"/>
                </a:cubicBezTo>
                <a:cubicBezTo>
                  <a:pt x="28538" y="75760"/>
                  <a:pt x="28538" y="75760"/>
                  <a:pt x="28538" y="75760"/>
                </a:cubicBezTo>
                <a:cubicBezTo>
                  <a:pt x="32514" y="79631"/>
                  <a:pt x="32514" y="79631"/>
                  <a:pt x="32514" y="79631"/>
                </a:cubicBezTo>
                <a:cubicBezTo>
                  <a:pt x="30175" y="78156"/>
                  <a:pt x="30175" y="78156"/>
                  <a:pt x="30175" y="78156"/>
                </a:cubicBezTo>
                <a:cubicBezTo>
                  <a:pt x="28771" y="78709"/>
                  <a:pt x="28771" y="78709"/>
                  <a:pt x="28771" y="78709"/>
                </a:cubicBezTo>
                <a:cubicBezTo>
                  <a:pt x="29707" y="80000"/>
                  <a:pt x="29707" y="80000"/>
                  <a:pt x="29707" y="80000"/>
                </a:cubicBezTo>
                <a:cubicBezTo>
                  <a:pt x="35321" y="81290"/>
                  <a:pt x="35321" y="81290"/>
                  <a:pt x="35321" y="81290"/>
                </a:cubicBezTo>
                <a:close/>
                <a:moveTo>
                  <a:pt x="120000" y="0"/>
                </a:moveTo>
                <a:cubicBezTo>
                  <a:pt x="120000" y="0"/>
                  <a:pt x="120000" y="0"/>
                  <a:pt x="120000" y="0"/>
                </a:cubicBezTo>
                <a:cubicBezTo>
                  <a:pt x="116725" y="921"/>
                  <a:pt x="116725" y="921"/>
                  <a:pt x="116725" y="921"/>
                </a:cubicBezTo>
                <a:cubicBezTo>
                  <a:pt x="116257" y="921"/>
                  <a:pt x="109707" y="184"/>
                  <a:pt x="109941" y="1843"/>
                </a:cubicBezTo>
                <a:cubicBezTo>
                  <a:pt x="110175" y="2764"/>
                  <a:pt x="111345" y="2949"/>
                  <a:pt x="111345" y="2949"/>
                </a:cubicBezTo>
                <a:cubicBezTo>
                  <a:pt x="114385" y="5161"/>
                  <a:pt x="114385" y="5161"/>
                  <a:pt x="114385" y="5161"/>
                </a:cubicBezTo>
                <a:cubicBezTo>
                  <a:pt x="114152" y="6451"/>
                  <a:pt x="114152" y="6451"/>
                  <a:pt x="114152" y="6451"/>
                </a:cubicBezTo>
                <a:cubicBezTo>
                  <a:pt x="116023" y="6820"/>
                  <a:pt x="116023" y="6820"/>
                  <a:pt x="116023" y="6820"/>
                </a:cubicBezTo>
                <a:cubicBezTo>
                  <a:pt x="120000" y="6820"/>
                  <a:pt x="120000" y="6820"/>
                  <a:pt x="120000" y="6820"/>
                </a:cubicBezTo>
                <a:cubicBezTo>
                  <a:pt x="120000" y="0"/>
                  <a:pt x="120000" y="0"/>
                  <a:pt x="120000" y="0"/>
                </a:cubicBezTo>
                <a:close/>
                <a:moveTo>
                  <a:pt x="120000" y="9032"/>
                </a:moveTo>
                <a:cubicBezTo>
                  <a:pt x="120000" y="9032"/>
                  <a:pt x="120000" y="9032"/>
                  <a:pt x="120000" y="9032"/>
                </a:cubicBezTo>
                <a:cubicBezTo>
                  <a:pt x="117660" y="9216"/>
                  <a:pt x="115087" y="9585"/>
                  <a:pt x="114619" y="9769"/>
                </a:cubicBezTo>
                <a:cubicBezTo>
                  <a:pt x="112046" y="11981"/>
                  <a:pt x="112046" y="11981"/>
                  <a:pt x="112046" y="11981"/>
                </a:cubicBezTo>
                <a:cubicBezTo>
                  <a:pt x="115087" y="15115"/>
                  <a:pt x="115087" y="15115"/>
                  <a:pt x="115087" y="15115"/>
                </a:cubicBezTo>
                <a:cubicBezTo>
                  <a:pt x="114853" y="17142"/>
                  <a:pt x="114853" y="17142"/>
                  <a:pt x="114853" y="17142"/>
                </a:cubicBezTo>
                <a:cubicBezTo>
                  <a:pt x="112280" y="18617"/>
                  <a:pt x="112280" y="18617"/>
                  <a:pt x="112280" y="18617"/>
                </a:cubicBezTo>
                <a:cubicBezTo>
                  <a:pt x="114385" y="20276"/>
                  <a:pt x="114385" y="20276"/>
                  <a:pt x="114385" y="20276"/>
                </a:cubicBezTo>
                <a:cubicBezTo>
                  <a:pt x="118128" y="20276"/>
                  <a:pt x="118128" y="20276"/>
                  <a:pt x="118128" y="20276"/>
                </a:cubicBezTo>
                <a:cubicBezTo>
                  <a:pt x="120000" y="21382"/>
                  <a:pt x="120000" y="21382"/>
                  <a:pt x="120000" y="21382"/>
                </a:cubicBezTo>
                <a:lnTo>
                  <a:pt x="120000" y="9032"/>
                </a:lnTo>
                <a:close/>
              </a:path>
            </a:pathLst>
          </a:custGeom>
          <a:solidFill>
            <a:srgbClr val="E6E6E6"/>
          </a:solidFill>
          <a:ln w="9525" cap="flat" cmpd="sng">
            <a:solidFill>
              <a:srgbClr val="FFFFFF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22850" rIns="45700" bIns="228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Google Shape;3057;p256">
            <a:extLst>
              <a:ext uri="{FF2B5EF4-FFF2-40B4-BE49-F238E27FC236}">
                <a16:creationId xmlns:a16="http://schemas.microsoft.com/office/drawing/2014/main" id="{15377B66-6D16-9F0A-8510-646EFE605B7E}"/>
              </a:ext>
            </a:extLst>
          </p:cNvPr>
          <p:cNvGrpSpPr/>
          <p:nvPr/>
        </p:nvGrpSpPr>
        <p:grpSpPr>
          <a:xfrm>
            <a:off x="10490788" y="131667"/>
            <a:ext cx="1296381" cy="472535"/>
            <a:chOff x="5192400" y="1286375"/>
            <a:chExt cx="2931000" cy="1068600"/>
          </a:xfrm>
        </p:grpSpPr>
        <p:sp>
          <p:nvSpPr>
            <p:cNvPr id="76" name="Google Shape;3058;p256">
              <a:extLst>
                <a:ext uri="{FF2B5EF4-FFF2-40B4-BE49-F238E27FC236}">
                  <a16:creationId xmlns:a16="http://schemas.microsoft.com/office/drawing/2014/main" id="{1C4F1872-20FD-65E6-8149-3B94FEAB4F1D}"/>
                </a:ext>
              </a:extLst>
            </p:cNvPr>
            <p:cNvSpPr/>
            <p:nvPr/>
          </p:nvSpPr>
          <p:spPr>
            <a:xfrm>
              <a:off x="5192400" y="1286375"/>
              <a:ext cx="2931000" cy="10686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7" name="Google Shape;3059;p256">
              <a:extLst>
                <a:ext uri="{FF2B5EF4-FFF2-40B4-BE49-F238E27FC236}">
                  <a16:creationId xmlns:a16="http://schemas.microsoft.com/office/drawing/2014/main" id="{D23462CA-3141-4561-B705-F9E3749F4A7B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5540327" y="1490925"/>
              <a:ext cx="2038849" cy="6595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Google Shape;3062;p256">
            <a:extLst>
              <a:ext uri="{FF2B5EF4-FFF2-40B4-BE49-F238E27FC236}">
                <a16:creationId xmlns:a16="http://schemas.microsoft.com/office/drawing/2014/main" id="{7FD8B54F-6D1F-E94A-977E-8547CA8FE1E2}"/>
              </a:ext>
            </a:extLst>
          </p:cNvPr>
          <p:cNvSpPr txBox="1"/>
          <p:nvPr/>
        </p:nvSpPr>
        <p:spPr>
          <a:xfrm>
            <a:off x="5177055" y="3854859"/>
            <a:ext cx="1351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ACe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2G): FacturaE</a:t>
            </a:r>
            <a:b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2B platform TBD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3063;p256">
            <a:extLst>
              <a:ext uri="{FF2B5EF4-FFF2-40B4-BE49-F238E27FC236}">
                <a16:creationId xmlns:a16="http://schemas.microsoft.com/office/drawing/2014/main" id="{952AEF2A-3E3D-49FF-BDC7-E40BB3F46F5A}"/>
              </a:ext>
            </a:extLst>
          </p:cNvPr>
          <p:cNvSpPr txBox="1"/>
          <p:nvPr/>
        </p:nvSpPr>
        <p:spPr>
          <a:xfrm>
            <a:off x="5177041" y="4162981"/>
            <a:ext cx="5787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933C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2026</a:t>
            </a:r>
            <a:endParaRPr kumimoji="0" sz="600" b="1" i="0" u="none" strike="noStrike" kern="1200" cap="none" spc="0" normalizeH="0" baseline="0" noProof="0">
              <a:ln>
                <a:noFill/>
              </a:ln>
              <a:solidFill>
                <a:srgbClr val="00933C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12" name="Google Shape;3064;p256">
            <a:extLst>
              <a:ext uri="{FF2B5EF4-FFF2-40B4-BE49-F238E27FC236}">
                <a16:creationId xmlns:a16="http://schemas.microsoft.com/office/drawing/2014/main" id="{BDCC7650-4707-5E4B-6C51-5A3A821CBBE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77043" y="3638413"/>
            <a:ext cx="291527" cy="193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" name="Google Shape;3065;p256">
            <a:extLst>
              <a:ext uri="{FF2B5EF4-FFF2-40B4-BE49-F238E27FC236}">
                <a16:creationId xmlns:a16="http://schemas.microsoft.com/office/drawing/2014/main" id="{ECDFE66F-2BE7-1AD9-898E-0E257E1DA256}"/>
              </a:ext>
            </a:extLst>
          </p:cNvPr>
          <p:cNvGrpSpPr/>
          <p:nvPr/>
        </p:nvGrpSpPr>
        <p:grpSpPr>
          <a:xfrm>
            <a:off x="6005811" y="1809546"/>
            <a:ext cx="1280784" cy="996900"/>
            <a:chOff x="4692525" y="2435700"/>
            <a:chExt cx="1280400" cy="996900"/>
          </a:xfrm>
        </p:grpSpPr>
        <p:sp>
          <p:nvSpPr>
            <p:cNvPr id="73" name="Google Shape;3066;p256">
              <a:extLst>
                <a:ext uri="{FF2B5EF4-FFF2-40B4-BE49-F238E27FC236}">
                  <a16:creationId xmlns:a16="http://schemas.microsoft.com/office/drawing/2014/main" id="{ECCEBD1A-6F08-FDAC-1FBE-A385B413ED97}"/>
                </a:ext>
              </a:extLst>
            </p:cNvPr>
            <p:cNvSpPr/>
            <p:nvPr/>
          </p:nvSpPr>
          <p:spPr>
            <a:xfrm>
              <a:off x="4692525" y="2435700"/>
              <a:ext cx="1280400" cy="9969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Google Shape;3067;p256">
              <a:extLst>
                <a:ext uri="{FF2B5EF4-FFF2-40B4-BE49-F238E27FC236}">
                  <a16:creationId xmlns:a16="http://schemas.microsoft.com/office/drawing/2014/main" id="{4A5D6366-B30E-AF29-FB3C-D818D73475D0}"/>
                </a:ext>
              </a:extLst>
            </p:cNvPr>
            <p:cNvSpPr txBox="1"/>
            <p:nvPr/>
          </p:nvSpPr>
          <p:spPr>
            <a:xfrm>
              <a:off x="4865624" y="2797975"/>
              <a:ext cx="897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PPF (B2B) | Chorus Pro (B2G): CII, UBL, </a:t>
              </a: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Factur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-X</a:t>
              </a: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5" name="Google Shape;3068;p256">
              <a:extLst>
                <a:ext uri="{FF2B5EF4-FFF2-40B4-BE49-F238E27FC236}">
                  <a16:creationId xmlns:a16="http://schemas.microsoft.com/office/drawing/2014/main" id="{4D625FC0-6480-002D-AD02-D4A6B809A83D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4865622" y="2552611"/>
              <a:ext cx="291527" cy="19386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oogle Shape;3069;p256">
            <a:extLst>
              <a:ext uri="{FF2B5EF4-FFF2-40B4-BE49-F238E27FC236}">
                <a16:creationId xmlns:a16="http://schemas.microsoft.com/office/drawing/2014/main" id="{D9AEFBB5-3CC6-77DF-3643-83750882A0C6}"/>
              </a:ext>
            </a:extLst>
          </p:cNvPr>
          <p:cNvGrpSpPr/>
          <p:nvPr/>
        </p:nvGrpSpPr>
        <p:grpSpPr>
          <a:xfrm>
            <a:off x="7567857" y="2403246"/>
            <a:ext cx="721716" cy="669600"/>
            <a:chOff x="4794675" y="2412425"/>
            <a:chExt cx="721500" cy="669600"/>
          </a:xfrm>
        </p:grpSpPr>
        <p:sp>
          <p:nvSpPr>
            <p:cNvPr id="69" name="Google Shape;3070;p256">
              <a:extLst>
                <a:ext uri="{FF2B5EF4-FFF2-40B4-BE49-F238E27FC236}">
                  <a16:creationId xmlns:a16="http://schemas.microsoft.com/office/drawing/2014/main" id="{BBA864E5-597D-7949-DDEB-3970DAE4BDB9}"/>
                </a:ext>
              </a:extLst>
            </p:cNvPr>
            <p:cNvSpPr/>
            <p:nvPr/>
          </p:nvSpPr>
          <p:spPr>
            <a:xfrm>
              <a:off x="4794675" y="2412425"/>
              <a:ext cx="721500" cy="6696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Google Shape;3071;p256">
              <a:extLst>
                <a:ext uri="{FF2B5EF4-FFF2-40B4-BE49-F238E27FC236}">
                  <a16:creationId xmlns:a16="http://schemas.microsoft.com/office/drawing/2014/main" id="{C6A3841F-3E1B-66F4-0639-33C0F37C361A}"/>
                </a:ext>
              </a:extLst>
            </p:cNvPr>
            <p:cNvSpPr txBox="1"/>
            <p:nvPr/>
          </p:nvSpPr>
          <p:spPr>
            <a:xfrm>
              <a:off x="4910974" y="2827819"/>
              <a:ext cx="6051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6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1" name="Google Shape;3072;p256">
              <a:extLst>
                <a:ext uri="{FF2B5EF4-FFF2-40B4-BE49-F238E27FC236}">
                  <a16:creationId xmlns:a16="http://schemas.microsoft.com/office/drawing/2014/main" id="{6348CA9C-27D8-9F5A-D667-1BF208DBA4D8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910985" y="2525628"/>
              <a:ext cx="306223" cy="1936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" name="Google Shape;3073;p256">
              <a:extLst>
                <a:ext uri="{FF2B5EF4-FFF2-40B4-BE49-F238E27FC236}">
                  <a16:creationId xmlns:a16="http://schemas.microsoft.com/office/drawing/2014/main" id="{CA8BACA5-BEF5-AE2E-4EC3-F900FD2C67C9}"/>
                </a:ext>
              </a:extLst>
            </p:cNvPr>
            <p:cNvSpPr txBox="1"/>
            <p:nvPr/>
          </p:nvSpPr>
          <p:spPr>
            <a:xfrm>
              <a:off x="4910973" y="2726800"/>
              <a:ext cx="605100" cy="13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ppol</a:t>
              </a:r>
              <a:endParaRPr kumimoji="0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5" name="Google Shape;3074;p256">
            <a:extLst>
              <a:ext uri="{FF2B5EF4-FFF2-40B4-BE49-F238E27FC236}">
                <a16:creationId xmlns:a16="http://schemas.microsoft.com/office/drawing/2014/main" id="{3DC58624-AD45-FDF0-A3A0-49363BEA1E20}"/>
              </a:ext>
            </a:extLst>
          </p:cNvPr>
          <p:cNvCxnSpPr>
            <a:cxnSpLocks/>
            <a:stCxn id="69" idx="2"/>
          </p:cNvCxnSpPr>
          <p:nvPr/>
        </p:nvCxnSpPr>
        <p:spPr>
          <a:xfrm>
            <a:off x="7928715" y="3072846"/>
            <a:ext cx="0" cy="544500"/>
          </a:xfrm>
          <a:prstGeom prst="straightConnector1">
            <a:avLst/>
          </a:prstGeom>
          <a:noFill/>
          <a:ln w="9525" cap="flat" cmpd="sng">
            <a:solidFill>
              <a:srgbClr val="0D0D0D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16" name="Google Shape;3075;p256">
            <a:extLst>
              <a:ext uri="{FF2B5EF4-FFF2-40B4-BE49-F238E27FC236}">
                <a16:creationId xmlns:a16="http://schemas.microsoft.com/office/drawing/2014/main" id="{98300BA7-C039-8CDA-2D51-3206B9786E09}"/>
              </a:ext>
            </a:extLst>
          </p:cNvPr>
          <p:cNvSpPr txBox="1"/>
          <p:nvPr/>
        </p:nvSpPr>
        <p:spPr>
          <a:xfrm>
            <a:off x="6172815" y="2518190"/>
            <a:ext cx="9909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933C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2026 - 2027</a:t>
            </a:r>
            <a:endParaRPr kumimoji="0" sz="1000" b="1" i="0" u="none" strike="noStrike" kern="1200" cap="none" spc="0" normalizeH="0" baseline="0" noProof="0">
              <a:ln>
                <a:noFill/>
              </a:ln>
              <a:solidFill>
                <a:srgbClr val="00933C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17" name="Google Shape;3076;p256">
            <a:extLst>
              <a:ext uri="{FF2B5EF4-FFF2-40B4-BE49-F238E27FC236}">
                <a16:creationId xmlns:a16="http://schemas.microsoft.com/office/drawing/2014/main" id="{F1833A7D-611E-BCA6-64BE-D9A91FC9DE46}"/>
              </a:ext>
            </a:extLst>
          </p:cNvPr>
          <p:cNvCxnSpPr>
            <a:stCxn id="73" idx="2"/>
          </p:cNvCxnSpPr>
          <p:nvPr/>
        </p:nvCxnSpPr>
        <p:spPr>
          <a:xfrm rot="16200000" flipH="1">
            <a:off x="6531903" y="2920746"/>
            <a:ext cx="1169400" cy="9408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18" name="Google Shape;3077;p256">
            <a:extLst>
              <a:ext uri="{FF2B5EF4-FFF2-40B4-BE49-F238E27FC236}">
                <a16:creationId xmlns:a16="http://schemas.microsoft.com/office/drawing/2014/main" id="{048DA889-085B-699F-976A-FFA6A564B660}"/>
              </a:ext>
            </a:extLst>
          </p:cNvPr>
          <p:cNvSpPr/>
          <p:nvPr/>
        </p:nvSpPr>
        <p:spPr>
          <a:xfrm>
            <a:off x="9037117" y="813821"/>
            <a:ext cx="1280700" cy="7050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Google Shape;3078;p256">
            <a:extLst>
              <a:ext uri="{FF2B5EF4-FFF2-40B4-BE49-F238E27FC236}">
                <a16:creationId xmlns:a16="http://schemas.microsoft.com/office/drawing/2014/main" id="{69B98AEB-E1E1-08BA-5098-4A77559D0C1D}"/>
              </a:ext>
            </a:extLst>
          </p:cNvPr>
          <p:cNvSpPr txBox="1"/>
          <p:nvPr/>
        </p:nvSpPr>
        <p:spPr>
          <a:xfrm>
            <a:off x="9162248" y="1244146"/>
            <a:ext cx="9909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ppol: UBL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3079;p256">
            <a:extLst>
              <a:ext uri="{FF2B5EF4-FFF2-40B4-BE49-F238E27FC236}">
                <a16:creationId xmlns:a16="http://schemas.microsoft.com/office/drawing/2014/main" id="{8DBF6C6B-B775-3D21-9027-8DF0176CACC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523068" y="935227"/>
            <a:ext cx="291502" cy="22119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3080;p256">
            <a:extLst>
              <a:ext uri="{FF2B5EF4-FFF2-40B4-BE49-F238E27FC236}">
                <a16:creationId xmlns:a16="http://schemas.microsoft.com/office/drawing/2014/main" id="{0E162003-B51E-CAEE-938F-EB04AB209C0E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873862" y="927996"/>
            <a:ext cx="291575" cy="235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3081;p256">
            <a:extLst>
              <a:ext uri="{FF2B5EF4-FFF2-40B4-BE49-F238E27FC236}">
                <a16:creationId xmlns:a16="http://schemas.microsoft.com/office/drawing/2014/main" id="{8405EA2C-4BCC-9098-C352-9DFE25BE5D49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162240" y="935846"/>
            <a:ext cx="301537" cy="21994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" name="Google Shape;3082;p256">
            <a:extLst>
              <a:ext uri="{FF2B5EF4-FFF2-40B4-BE49-F238E27FC236}">
                <a16:creationId xmlns:a16="http://schemas.microsoft.com/office/drawing/2014/main" id="{B59DF66B-0C6A-BA21-26A0-6FE013B9466F}"/>
              </a:ext>
            </a:extLst>
          </p:cNvPr>
          <p:cNvGrpSpPr/>
          <p:nvPr/>
        </p:nvGrpSpPr>
        <p:grpSpPr>
          <a:xfrm>
            <a:off x="8463384" y="1837771"/>
            <a:ext cx="1400520" cy="996900"/>
            <a:chOff x="4097675" y="2787100"/>
            <a:chExt cx="1400100" cy="996900"/>
          </a:xfrm>
        </p:grpSpPr>
        <p:sp>
          <p:nvSpPr>
            <p:cNvPr id="65" name="Google Shape;3083;p256">
              <a:extLst>
                <a:ext uri="{FF2B5EF4-FFF2-40B4-BE49-F238E27FC236}">
                  <a16:creationId xmlns:a16="http://schemas.microsoft.com/office/drawing/2014/main" id="{C732210A-59B4-BB74-A43A-053F42F504C2}"/>
                </a:ext>
              </a:extLst>
            </p:cNvPr>
            <p:cNvSpPr/>
            <p:nvPr/>
          </p:nvSpPr>
          <p:spPr>
            <a:xfrm>
              <a:off x="4097675" y="2787100"/>
              <a:ext cx="1400100" cy="9969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Google Shape;3084;p256">
              <a:extLst>
                <a:ext uri="{FF2B5EF4-FFF2-40B4-BE49-F238E27FC236}">
                  <a16:creationId xmlns:a16="http://schemas.microsoft.com/office/drawing/2014/main" id="{6E072A7D-69B5-BBCE-FEE1-FC420306F8D1}"/>
                </a:ext>
              </a:extLst>
            </p:cNvPr>
            <p:cNvSpPr txBox="1"/>
            <p:nvPr/>
          </p:nvSpPr>
          <p:spPr>
            <a:xfrm>
              <a:off x="4233923" y="3140825"/>
              <a:ext cx="1165500" cy="307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ppol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</a:t>
              </a: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Rechnung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</a:t>
              </a: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UGFeRD</a:t>
              </a:r>
              <a:endParaRPr kumimoji="0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Google Shape;3085;p256">
              <a:extLst>
                <a:ext uri="{FF2B5EF4-FFF2-40B4-BE49-F238E27FC236}">
                  <a16:creationId xmlns:a16="http://schemas.microsoft.com/office/drawing/2014/main" id="{ED59E085-23DA-397E-70D4-CEEC881F0E3D}"/>
                </a:ext>
              </a:extLst>
            </p:cNvPr>
            <p:cNvSpPr txBox="1"/>
            <p:nvPr/>
          </p:nvSpPr>
          <p:spPr>
            <a:xfrm>
              <a:off x="4233929" y="3495925"/>
              <a:ext cx="9213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5 - 2028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933C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68" name="Google Shape;3086;p256">
              <a:extLst>
                <a:ext uri="{FF2B5EF4-FFF2-40B4-BE49-F238E27FC236}">
                  <a16:creationId xmlns:a16="http://schemas.microsoft.com/office/drawing/2014/main" id="{49EBA838-D92C-843A-FE15-0B87A3309E26}"/>
                </a:ext>
              </a:extLst>
            </p:cNvPr>
            <p:cNvPicPr preferRelativeResize="0"/>
            <p:nvPr/>
          </p:nvPicPr>
          <p:blipFill>
            <a:blip r:embed="rId9">
              <a:alphaModFix/>
            </a:blip>
            <a:stretch>
              <a:fillRect/>
            </a:stretch>
          </p:blipFill>
          <p:spPr>
            <a:xfrm>
              <a:off x="4233932" y="2899625"/>
              <a:ext cx="291527" cy="19390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24" name="Google Shape;3087;p256">
            <a:extLst>
              <a:ext uri="{FF2B5EF4-FFF2-40B4-BE49-F238E27FC236}">
                <a16:creationId xmlns:a16="http://schemas.microsoft.com/office/drawing/2014/main" id="{19F8962A-B7BA-7FE1-17E9-D7DA86B2F5AD}"/>
              </a:ext>
            </a:extLst>
          </p:cNvPr>
          <p:cNvCxnSpPr>
            <a:stCxn id="65" idx="2"/>
          </p:cNvCxnSpPr>
          <p:nvPr/>
        </p:nvCxnSpPr>
        <p:spPr>
          <a:xfrm rot="5400000">
            <a:off x="8519094" y="2965621"/>
            <a:ext cx="775500" cy="5136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25" name="Google Shape;3088;p256">
            <a:extLst>
              <a:ext uri="{FF2B5EF4-FFF2-40B4-BE49-F238E27FC236}">
                <a16:creationId xmlns:a16="http://schemas.microsoft.com/office/drawing/2014/main" id="{4E6914CA-27B8-0552-0232-552F5C0569F5}"/>
              </a:ext>
            </a:extLst>
          </p:cNvPr>
          <p:cNvCxnSpPr/>
          <p:nvPr/>
        </p:nvCxnSpPr>
        <p:spPr>
          <a:xfrm flipH="1">
            <a:off x="9743901" y="1965246"/>
            <a:ext cx="1545600" cy="11076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D0D0D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26" name="Google Shape;3089;p256">
            <a:extLst>
              <a:ext uri="{FF2B5EF4-FFF2-40B4-BE49-F238E27FC236}">
                <a16:creationId xmlns:a16="http://schemas.microsoft.com/office/drawing/2014/main" id="{8A48FD73-1399-1C30-4191-0DFB2A26AFFF}"/>
              </a:ext>
            </a:extLst>
          </p:cNvPr>
          <p:cNvCxnSpPr>
            <a:stCxn id="7" idx="2"/>
          </p:cNvCxnSpPr>
          <p:nvPr/>
        </p:nvCxnSpPr>
        <p:spPr>
          <a:xfrm rot="16200000" flipH="1">
            <a:off x="5653132" y="4602946"/>
            <a:ext cx="1008600" cy="7278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27" name="Google Shape;3090;p256">
            <a:extLst>
              <a:ext uri="{FF2B5EF4-FFF2-40B4-BE49-F238E27FC236}">
                <a16:creationId xmlns:a16="http://schemas.microsoft.com/office/drawing/2014/main" id="{8AB23D9C-1DB2-2864-AFE8-BC96189CDF7C}"/>
              </a:ext>
            </a:extLst>
          </p:cNvPr>
          <p:cNvSpPr/>
          <p:nvPr/>
        </p:nvSpPr>
        <p:spPr>
          <a:xfrm>
            <a:off x="8539436" y="5760421"/>
            <a:ext cx="1143600" cy="7914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Google Shape;3091;p256">
            <a:extLst>
              <a:ext uri="{FF2B5EF4-FFF2-40B4-BE49-F238E27FC236}">
                <a16:creationId xmlns:a16="http://schemas.microsoft.com/office/drawing/2014/main" id="{000A8C22-8C6A-7A88-501D-1A71FFD96E18}"/>
              </a:ext>
            </a:extLst>
          </p:cNvPr>
          <p:cNvSpPr txBox="1"/>
          <p:nvPr/>
        </p:nvSpPr>
        <p:spPr>
          <a:xfrm>
            <a:off x="8667986" y="6117884"/>
            <a:ext cx="9909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DI: FacturaP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3092;p256">
            <a:extLst>
              <a:ext uri="{FF2B5EF4-FFF2-40B4-BE49-F238E27FC236}">
                <a16:creationId xmlns:a16="http://schemas.microsoft.com/office/drawing/2014/main" id="{9306C5C8-8AC3-85AD-6974-F8779D64DEED}"/>
              </a:ext>
            </a:extLst>
          </p:cNvPr>
          <p:cNvSpPr txBox="1"/>
          <p:nvPr/>
        </p:nvSpPr>
        <p:spPr>
          <a:xfrm>
            <a:off x="8667992" y="6283368"/>
            <a:ext cx="5097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933C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2019</a:t>
            </a:r>
            <a:endParaRPr kumimoji="0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0" name="Google Shape;3093;p256">
            <a:extLst>
              <a:ext uri="{FF2B5EF4-FFF2-40B4-BE49-F238E27FC236}">
                <a16:creationId xmlns:a16="http://schemas.microsoft.com/office/drawing/2014/main" id="{D70A2FFD-88C4-C490-9E27-A88405553ACF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8667983" y="5869034"/>
            <a:ext cx="291527" cy="19386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" name="Google Shape;3094;p256">
            <a:extLst>
              <a:ext uri="{FF2B5EF4-FFF2-40B4-BE49-F238E27FC236}">
                <a16:creationId xmlns:a16="http://schemas.microsoft.com/office/drawing/2014/main" id="{E2549E13-59B3-CB48-1472-944CE88901E8}"/>
              </a:ext>
            </a:extLst>
          </p:cNvPr>
          <p:cNvCxnSpPr>
            <a:stCxn id="27" idx="0"/>
          </p:cNvCxnSpPr>
          <p:nvPr/>
        </p:nvCxnSpPr>
        <p:spPr>
          <a:xfrm rot="5400000" flipH="1">
            <a:off x="8750336" y="5399521"/>
            <a:ext cx="560400" cy="1614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oval" w="med" len="med"/>
          </a:ln>
        </p:spPr>
      </p:cxnSp>
      <p:grpSp>
        <p:nvGrpSpPr>
          <p:cNvPr id="32" name="Google Shape;3095;p256">
            <a:extLst>
              <a:ext uri="{FF2B5EF4-FFF2-40B4-BE49-F238E27FC236}">
                <a16:creationId xmlns:a16="http://schemas.microsoft.com/office/drawing/2014/main" id="{EEB6A23D-D15B-43B1-EDF0-5F3E8D38F5C0}"/>
              </a:ext>
            </a:extLst>
          </p:cNvPr>
          <p:cNvGrpSpPr/>
          <p:nvPr/>
        </p:nvGrpSpPr>
        <p:grpSpPr>
          <a:xfrm>
            <a:off x="7443545" y="5760432"/>
            <a:ext cx="970791" cy="615000"/>
            <a:chOff x="9455525" y="5062348"/>
            <a:chExt cx="970500" cy="615000"/>
          </a:xfrm>
        </p:grpSpPr>
        <p:sp>
          <p:nvSpPr>
            <p:cNvPr id="62" name="Google Shape;3096;p256">
              <a:extLst>
                <a:ext uri="{FF2B5EF4-FFF2-40B4-BE49-F238E27FC236}">
                  <a16:creationId xmlns:a16="http://schemas.microsoft.com/office/drawing/2014/main" id="{03D51755-7881-3F5F-48C9-DEDDCBC10F06}"/>
                </a:ext>
              </a:extLst>
            </p:cNvPr>
            <p:cNvSpPr/>
            <p:nvPr/>
          </p:nvSpPr>
          <p:spPr>
            <a:xfrm>
              <a:off x="9455525" y="5062348"/>
              <a:ext cx="970500" cy="6150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Google Shape;3097;p256">
              <a:extLst>
                <a:ext uri="{FF2B5EF4-FFF2-40B4-BE49-F238E27FC236}">
                  <a16:creationId xmlns:a16="http://schemas.microsoft.com/office/drawing/2014/main" id="{65FDF7BC-0996-FC90-09BC-55483F5CC03A}"/>
                </a:ext>
              </a:extLst>
            </p:cNvPr>
            <p:cNvSpPr txBox="1"/>
            <p:nvPr/>
          </p:nvSpPr>
          <p:spPr>
            <a:xfrm>
              <a:off x="9584394" y="5422417"/>
              <a:ext cx="751500" cy="13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ebInterface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4" name="Google Shape;3098;p256">
              <a:extLst>
                <a:ext uri="{FF2B5EF4-FFF2-40B4-BE49-F238E27FC236}">
                  <a16:creationId xmlns:a16="http://schemas.microsoft.com/office/drawing/2014/main" id="{D9A7599A-11D8-82B2-625F-C1C5015F91DE}"/>
                </a:ext>
              </a:extLst>
            </p:cNvPr>
            <p:cNvPicPr preferRelativeResize="0"/>
            <p:nvPr/>
          </p:nvPicPr>
          <p:blipFill>
            <a:blip r:embed="rId11">
              <a:alphaModFix/>
            </a:blip>
            <a:stretch>
              <a:fillRect/>
            </a:stretch>
          </p:blipFill>
          <p:spPr>
            <a:xfrm>
              <a:off x="9584411" y="5190638"/>
              <a:ext cx="291527" cy="19386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3" name="Google Shape;3099;p256">
            <a:extLst>
              <a:ext uri="{FF2B5EF4-FFF2-40B4-BE49-F238E27FC236}">
                <a16:creationId xmlns:a16="http://schemas.microsoft.com/office/drawing/2014/main" id="{03004508-EC4B-F50E-DD1D-89D1922B27E4}"/>
              </a:ext>
            </a:extLst>
          </p:cNvPr>
          <p:cNvGrpSpPr/>
          <p:nvPr/>
        </p:nvGrpSpPr>
        <p:grpSpPr>
          <a:xfrm>
            <a:off x="9602444" y="4895972"/>
            <a:ext cx="578874" cy="544500"/>
            <a:chOff x="9988945" y="5472751"/>
            <a:chExt cx="578700" cy="544500"/>
          </a:xfrm>
        </p:grpSpPr>
        <p:sp>
          <p:nvSpPr>
            <p:cNvPr id="60" name="Google Shape;3100;p256">
              <a:extLst>
                <a:ext uri="{FF2B5EF4-FFF2-40B4-BE49-F238E27FC236}">
                  <a16:creationId xmlns:a16="http://schemas.microsoft.com/office/drawing/2014/main" id="{D597AC54-D4D4-3ADD-BE55-3A84C35FB1BF}"/>
                </a:ext>
              </a:extLst>
            </p:cNvPr>
            <p:cNvSpPr/>
            <p:nvPr/>
          </p:nvSpPr>
          <p:spPr>
            <a:xfrm>
              <a:off x="9988945" y="5472751"/>
              <a:ext cx="578700" cy="5445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Google Shape;3101;p256">
              <a:extLst>
                <a:ext uri="{FF2B5EF4-FFF2-40B4-BE49-F238E27FC236}">
                  <a16:creationId xmlns:a16="http://schemas.microsoft.com/office/drawing/2014/main" id="{3781C8DC-F87D-4BDB-5A7F-6B7A66DCFE19}"/>
                </a:ext>
              </a:extLst>
            </p:cNvPr>
            <p:cNvSpPr txBox="1"/>
            <p:nvPr/>
          </p:nvSpPr>
          <p:spPr>
            <a:xfrm>
              <a:off x="10109275" y="5756094"/>
              <a:ext cx="3891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6</a:t>
              </a:r>
              <a:endPara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</p:grpSp>
      <p:cxnSp>
        <p:nvCxnSpPr>
          <p:cNvPr id="34" name="Google Shape;3102;p256">
            <a:extLst>
              <a:ext uri="{FF2B5EF4-FFF2-40B4-BE49-F238E27FC236}">
                <a16:creationId xmlns:a16="http://schemas.microsoft.com/office/drawing/2014/main" id="{972C5EFC-A741-133F-2158-57027FCAFCE4}"/>
              </a:ext>
            </a:extLst>
          </p:cNvPr>
          <p:cNvCxnSpPr>
            <a:cxnSpLocks/>
            <a:stCxn id="60" idx="0"/>
          </p:cNvCxnSpPr>
          <p:nvPr/>
        </p:nvCxnSpPr>
        <p:spPr>
          <a:xfrm rot="16200000" flipV="1">
            <a:off x="9408131" y="4412222"/>
            <a:ext cx="353700" cy="613800"/>
          </a:xfrm>
          <a:prstGeom prst="bentConnector2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oval" w="med" len="med"/>
          </a:ln>
        </p:spPr>
      </p:cxnSp>
      <p:grpSp>
        <p:nvGrpSpPr>
          <p:cNvPr id="35" name="Google Shape;3103;p256">
            <a:extLst>
              <a:ext uri="{FF2B5EF4-FFF2-40B4-BE49-F238E27FC236}">
                <a16:creationId xmlns:a16="http://schemas.microsoft.com/office/drawing/2014/main" id="{C590C617-0409-D7BE-95CA-ECF4350ACE58}"/>
              </a:ext>
            </a:extLst>
          </p:cNvPr>
          <p:cNvGrpSpPr/>
          <p:nvPr/>
        </p:nvGrpSpPr>
        <p:grpSpPr>
          <a:xfrm>
            <a:off x="10971988" y="4749946"/>
            <a:ext cx="1070721" cy="838200"/>
            <a:chOff x="10916200" y="5229600"/>
            <a:chExt cx="1070400" cy="838200"/>
          </a:xfrm>
        </p:grpSpPr>
        <p:sp>
          <p:nvSpPr>
            <p:cNvPr id="56" name="Google Shape;3104;p256">
              <a:extLst>
                <a:ext uri="{FF2B5EF4-FFF2-40B4-BE49-F238E27FC236}">
                  <a16:creationId xmlns:a16="http://schemas.microsoft.com/office/drawing/2014/main" id="{28845258-886B-A5D2-593D-9656982EC172}"/>
                </a:ext>
              </a:extLst>
            </p:cNvPr>
            <p:cNvSpPr/>
            <p:nvPr/>
          </p:nvSpPr>
          <p:spPr>
            <a:xfrm>
              <a:off x="10916200" y="5229600"/>
              <a:ext cx="1070400" cy="8382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Google Shape;3105;p256">
              <a:extLst>
                <a:ext uri="{FF2B5EF4-FFF2-40B4-BE49-F238E27FC236}">
                  <a16:creationId xmlns:a16="http://schemas.microsoft.com/office/drawing/2014/main" id="{49ED235F-9DB6-AD0C-97D3-DB549ED92AC8}"/>
                </a:ext>
              </a:extLst>
            </p:cNvPr>
            <p:cNvSpPr txBox="1"/>
            <p:nvPr/>
          </p:nvSpPr>
          <p:spPr>
            <a:xfrm>
              <a:off x="11007787" y="5758634"/>
              <a:ext cx="7515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4 - 2025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58" name="Google Shape;3106;p256">
              <a:extLst>
                <a:ext uri="{FF2B5EF4-FFF2-40B4-BE49-F238E27FC236}">
                  <a16:creationId xmlns:a16="http://schemas.microsoft.com/office/drawing/2014/main" id="{14C32B89-1621-991B-F824-E22829F522F4}"/>
                </a:ext>
              </a:extLst>
            </p:cNvPr>
            <p:cNvSpPr txBox="1"/>
            <p:nvPr/>
          </p:nvSpPr>
          <p:spPr>
            <a:xfrm>
              <a:off x="11018625" y="5512800"/>
              <a:ext cx="840900" cy="277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 e-Factura: </a:t>
              </a:r>
              <a:endParaRPr kumimoji="0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BL, CII </a:t>
              </a:r>
              <a:endParaRPr kumimoji="0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9" name="Google Shape;3107;p256">
              <a:extLst>
                <a:ext uri="{FF2B5EF4-FFF2-40B4-BE49-F238E27FC236}">
                  <a16:creationId xmlns:a16="http://schemas.microsoft.com/office/drawing/2014/main" id="{A8B4A7A7-90D6-0859-99CF-183ADDB8C1CD}"/>
                </a:ext>
              </a:extLst>
            </p:cNvPr>
            <p:cNvPicPr preferRelativeResize="0"/>
            <p:nvPr/>
          </p:nvPicPr>
          <p:blipFill>
            <a:blip r:embed="rId12">
              <a:alphaModFix/>
            </a:blip>
            <a:stretch>
              <a:fillRect/>
            </a:stretch>
          </p:blipFill>
          <p:spPr>
            <a:xfrm>
              <a:off x="11018625" y="5321700"/>
              <a:ext cx="274000" cy="15390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36" name="Google Shape;3108;p256">
            <a:extLst>
              <a:ext uri="{FF2B5EF4-FFF2-40B4-BE49-F238E27FC236}">
                <a16:creationId xmlns:a16="http://schemas.microsoft.com/office/drawing/2014/main" id="{CC8CDD1E-774B-1871-30F0-750D029375C5}"/>
              </a:ext>
            </a:extLst>
          </p:cNvPr>
          <p:cNvCxnSpPr>
            <a:cxnSpLocks/>
            <a:stCxn id="56" idx="0"/>
          </p:cNvCxnSpPr>
          <p:nvPr/>
        </p:nvCxnSpPr>
        <p:spPr>
          <a:xfrm rot="16200000" flipV="1">
            <a:off x="10905849" y="4148446"/>
            <a:ext cx="472500" cy="730500"/>
          </a:xfrm>
          <a:prstGeom prst="bentConnector2">
            <a:avLst/>
          </a:prstGeom>
          <a:noFill/>
          <a:ln w="9525" cap="flat" cmpd="sng">
            <a:solidFill>
              <a:srgbClr val="0D0D0D"/>
            </a:solidFill>
            <a:prstDash val="solid"/>
            <a:round/>
            <a:headEnd type="none" w="med" len="med"/>
            <a:tailEnd type="oval" w="med" len="med"/>
          </a:ln>
        </p:spPr>
      </p:cxnSp>
      <p:grpSp>
        <p:nvGrpSpPr>
          <p:cNvPr id="37" name="Google Shape;3109;p256">
            <a:extLst>
              <a:ext uri="{FF2B5EF4-FFF2-40B4-BE49-F238E27FC236}">
                <a16:creationId xmlns:a16="http://schemas.microsoft.com/office/drawing/2014/main" id="{EB2029A7-2A1D-FD30-D3AD-D0B5A9557F5A}"/>
              </a:ext>
            </a:extLst>
          </p:cNvPr>
          <p:cNvGrpSpPr/>
          <p:nvPr/>
        </p:nvGrpSpPr>
        <p:grpSpPr>
          <a:xfrm>
            <a:off x="10709415" y="2960646"/>
            <a:ext cx="1280784" cy="705000"/>
            <a:chOff x="10777200" y="2810713"/>
            <a:chExt cx="1280400" cy="705000"/>
          </a:xfrm>
        </p:grpSpPr>
        <p:sp>
          <p:nvSpPr>
            <p:cNvPr id="52" name="Google Shape;3110;p256">
              <a:extLst>
                <a:ext uri="{FF2B5EF4-FFF2-40B4-BE49-F238E27FC236}">
                  <a16:creationId xmlns:a16="http://schemas.microsoft.com/office/drawing/2014/main" id="{139F6784-63DB-A264-327B-96A659AA4FC6}"/>
                </a:ext>
              </a:extLst>
            </p:cNvPr>
            <p:cNvSpPr/>
            <p:nvPr/>
          </p:nvSpPr>
          <p:spPr>
            <a:xfrm>
              <a:off x="10777200" y="2810713"/>
              <a:ext cx="1280400" cy="7050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Google Shape;3111;p256">
              <a:extLst>
                <a:ext uri="{FF2B5EF4-FFF2-40B4-BE49-F238E27FC236}">
                  <a16:creationId xmlns:a16="http://schemas.microsoft.com/office/drawing/2014/main" id="{89DBEE76-222A-77A4-88D2-2BB3951D7222}"/>
                </a:ext>
              </a:extLst>
            </p:cNvPr>
            <p:cNvSpPr txBox="1"/>
            <p:nvPr/>
          </p:nvSpPr>
          <p:spPr>
            <a:xfrm>
              <a:off x="10882205" y="3129913"/>
              <a:ext cx="1070400" cy="13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NAV: NAV XML 3.0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4" name="Google Shape;3112;p256">
              <a:extLst>
                <a:ext uri="{FF2B5EF4-FFF2-40B4-BE49-F238E27FC236}">
                  <a16:creationId xmlns:a16="http://schemas.microsoft.com/office/drawing/2014/main" id="{E47D4DA4-EEA8-4969-A117-DFFB6AF8EFE4}"/>
                </a:ext>
              </a:extLst>
            </p:cNvPr>
            <p:cNvPicPr preferRelativeResize="0"/>
            <p:nvPr/>
          </p:nvPicPr>
          <p:blipFill>
            <a:blip r:embed="rId13">
              <a:alphaModFix/>
            </a:blip>
            <a:stretch>
              <a:fillRect/>
            </a:stretch>
          </p:blipFill>
          <p:spPr>
            <a:xfrm>
              <a:off x="10882200" y="2925375"/>
              <a:ext cx="348275" cy="1822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3113;p256">
              <a:extLst>
                <a:ext uri="{FF2B5EF4-FFF2-40B4-BE49-F238E27FC236}">
                  <a16:creationId xmlns:a16="http://schemas.microsoft.com/office/drawing/2014/main" id="{E5A896FB-38FE-DB1D-1501-E9C3FAF0AF24}"/>
                </a:ext>
              </a:extLst>
            </p:cNvPr>
            <p:cNvSpPr txBox="1"/>
            <p:nvPr/>
          </p:nvSpPr>
          <p:spPr>
            <a:xfrm>
              <a:off x="10882211" y="3226144"/>
              <a:ext cx="5514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1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38" name="Google Shape;3114;p256">
            <a:extLst>
              <a:ext uri="{FF2B5EF4-FFF2-40B4-BE49-F238E27FC236}">
                <a16:creationId xmlns:a16="http://schemas.microsoft.com/office/drawing/2014/main" id="{57B09CC9-CC26-E4B9-94E5-D9B8FFB4040A}"/>
              </a:ext>
            </a:extLst>
          </p:cNvPr>
          <p:cNvGrpSpPr/>
          <p:nvPr/>
        </p:nvGrpSpPr>
        <p:grpSpPr>
          <a:xfrm>
            <a:off x="10866952" y="5676771"/>
            <a:ext cx="1175747" cy="705000"/>
            <a:chOff x="10730450" y="3855600"/>
            <a:chExt cx="1175394" cy="705000"/>
          </a:xfrm>
        </p:grpSpPr>
        <p:sp>
          <p:nvSpPr>
            <p:cNvPr id="48" name="Google Shape;3115;p256">
              <a:extLst>
                <a:ext uri="{FF2B5EF4-FFF2-40B4-BE49-F238E27FC236}">
                  <a16:creationId xmlns:a16="http://schemas.microsoft.com/office/drawing/2014/main" id="{C10E4718-CF27-70C0-D5A1-387ABBF7C400}"/>
                </a:ext>
              </a:extLst>
            </p:cNvPr>
            <p:cNvSpPr/>
            <p:nvPr/>
          </p:nvSpPr>
          <p:spPr>
            <a:xfrm>
              <a:off x="10730450" y="3855600"/>
              <a:ext cx="1070400" cy="7050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9" name="Google Shape;3116;p256">
              <a:extLst>
                <a:ext uri="{FF2B5EF4-FFF2-40B4-BE49-F238E27FC236}">
                  <a16:creationId xmlns:a16="http://schemas.microsoft.com/office/drawing/2014/main" id="{60CD4BD5-06F5-D448-3D21-2723ED9791BC}"/>
                </a:ext>
              </a:extLst>
            </p:cNvPr>
            <p:cNvPicPr preferRelativeResize="0"/>
            <p:nvPr/>
          </p:nvPicPr>
          <p:blipFill>
            <a:blip r:embed="rId14">
              <a:alphaModFix/>
            </a:blip>
            <a:stretch>
              <a:fillRect/>
            </a:stretch>
          </p:blipFill>
          <p:spPr>
            <a:xfrm rot="10800000" flipH="1">
              <a:off x="10835453" y="3949449"/>
              <a:ext cx="296825" cy="19787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" name="Google Shape;3117;p256">
              <a:extLst>
                <a:ext uri="{FF2B5EF4-FFF2-40B4-BE49-F238E27FC236}">
                  <a16:creationId xmlns:a16="http://schemas.microsoft.com/office/drawing/2014/main" id="{0BC23AD4-99BA-ABD1-A064-B06B9B0493DD}"/>
                </a:ext>
              </a:extLst>
            </p:cNvPr>
            <p:cNvSpPr txBox="1"/>
            <p:nvPr/>
          </p:nvSpPr>
          <p:spPr>
            <a:xfrm>
              <a:off x="10835444" y="4176325"/>
              <a:ext cx="1070400" cy="13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F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: 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BL, CII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3118;p256">
              <a:extLst>
                <a:ext uri="{FF2B5EF4-FFF2-40B4-BE49-F238E27FC236}">
                  <a16:creationId xmlns:a16="http://schemas.microsoft.com/office/drawing/2014/main" id="{C645FB9A-CC3A-4DB1-FB67-430C602F2987}"/>
                </a:ext>
              </a:extLst>
            </p:cNvPr>
            <p:cNvSpPr txBox="1"/>
            <p:nvPr/>
          </p:nvSpPr>
          <p:spPr>
            <a:xfrm>
              <a:off x="10844562" y="4269772"/>
              <a:ext cx="7515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3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</p:grpSp>
      <p:cxnSp>
        <p:nvCxnSpPr>
          <p:cNvPr id="39" name="Google Shape;3119;p256">
            <a:extLst>
              <a:ext uri="{FF2B5EF4-FFF2-40B4-BE49-F238E27FC236}">
                <a16:creationId xmlns:a16="http://schemas.microsoft.com/office/drawing/2014/main" id="{2B0CE800-9F88-3C0A-B86C-48EF4DBA3B55}"/>
              </a:ext>
            </a:extLst>
          </p:cNvPr>
          <p:cNvCxnSpPr>
            <a:cxnSpLocks/>
            <a:stCxn id="52" idx="1"/>
          </p:cNvCxnSpPr>
          <p:nvPr/>
        </p:nvCxnSpPr>
        <p:spPr>
          <a:xfrm rot="10800000" flipV="1">
            <a:off x="9987615" y="3313146"/>
            <a:ext cx="721800" cy="905400"/>
          </a:xfrm>
          <a:prstGeom prst="bentConnector2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40" name="Google Shape;3120;p256">
            <a:extLst>
              <a:ext uri="{FF2B5EF4-FFF2-40B4-BE49-F238E27FC236}">
                <a16:creationId xmlns:a16="http://schemas.microsoft.com/office/drawing/2014/main" id="{25AB2AE6-E000-BAAE-E19F-5A4744964FF9}"/>
              </a:ext>
            </a:extLst>
          </p:cNvPr>
          <p:cNvCxnSpPr>
            <a:stCxn id="62" idx="0"/>
          </p:cNvCxnSpPr>
          <p:nvPr/>
        </p:nvCxnSpPr>
        <p:spPr>
          <a:xfrm rot="16200000">
            <a:off x="7889491" y="4324482"/>
            <a:ext cx="1475400" cy="13965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41" name="Google Shape;3121;p256">
            <a:extLst>
              <a:ext uri="{FF2B5EF4-FFF2-40B4-BE49-F238E27FC236}">
                <a16:creationId xmlns:a16="http://schemas.microsoft.com/office/drawing/2014/main" id="{1A44173C-9379-0F21-EFA0-AC3CB13AC5BC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>
            <a:off x="10227678" y="4750096"/>
            <a:ext cx="744300" cy="1316700"/>
          </a:xfrm>
          <a:prstGeom prst="bentConnector2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oval" w="med" len="med"/>
          </a:ln>
        </p:spPr>
      </p:cxnSp>
      <p:grpSp>
        <p:nvGrpSpPr>
          <p:cNvPr id="42" name="Google Shape;3122;p256">
            <a:extLst>
              <a:ext uri="{FF2B5EF4-FFF2-40B4-BE49-F238E27FC236}">
                <a16:creationId xmlns:a16="http://schemas.microsoft.com/office/drawing/2014/main" id="{BB75613E-8B33-602F-0BB6-344D6738CFB5}"/>
              </a:ext>
            </a:extLst>
          </p:cNvPr>
          <p:cNvGrpSpPr/>
          <p:nvPr/>
        </p:nvGrpSpPr>
        <p:grpSpPr>
          <a:xfrm>
            <a:off x="10972010" y="1306821"/>
            <a:ext cx="940782" cy="705000"/>
            <a:chOff x="10028200" y="2281775"/>
            <a:chExt cx="940500" cy="705000"/>
          </a:xfrm>
        </p:grpSpPr>
        <p:sp>
          <p:nvSpPr>
            <p:cNvPr id="44" name="Google Shape;3123;p256">
              <a:extLst>
                <a:ext uri="{FF2B5EF4-FFF2-40B4-BE49-F238E27FC236}">
                  <a16:creationId xmlns:a16="http://schemas.microsoft.com/office/drawing/2014/main" id="{60727F21-75F9-96C1-F26C-1C5BDE0A2C9B}"/>
                </a:ext>
              </a:extLst>
            </p:cNvPr>
            <p:cNvSpPr/>
            <p:nvPr/>
          </p:nvSpPr>
          <p:spPr>
            <a:xfrm>
              <a:off x="10028200" y="2281775"/>
              <a:ext cx="940500" cy="7050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Google Shape;3124;p256">
              <a:extLst>
                <a:ext uri="{FF2B5EF4-FFF2-40B4-BE49-F238E27FC236}">
                  <a16:creationId xmlns:a16="http://schemas.microsoft.com/office/drawing/2014/main" id="{C9102938-E17A-8A5A-C1C4-26C438802806}"/>
                </a:ext>
              </a:extLst>
            </p:cNvPr>
            <p:cNvSpPr txBox="1"/>
            <p:nvPr/>
          </p:nvSpPr>
          <p:spPr>
            <a:xfrm>
              <a:off x="10179042" y="2600363"/>
              <a:ext cx="751500" cy="13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KSeF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343433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: FA2</a:t>
              </a:r>
              <a:endParaRPr kumimoji="0" sz="9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3125;p256">
              <a:extLst>
                <a:ext uri="{FF2B5EF4-FFF2-40B4-BE49-F238E27FC236}">
                  <a16:creationId xmlns:a16="http://schemas.microsoft.com/office/drawing/2014/main" id="{7F874930-B664-ADCF-DB9B-734299B6A1F7}"/>
                </a:ext>
              </a:extLst>
            </p:cNvPr>
            <p:cNvSpPr txBox="1"/>
            <p:nvPr/>
          </p:nvSpPr>
          <p:spPr>
            <a:xfrm>
              <a:off x="10179046" y="2727019"/>
              <a:ext cx="551400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933C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2026</a:t>
              </a:r>
              <a:endParaRPr kumimoji="0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47" name="Google Shape;3126;p256">
              <a:extLst>
                <a:ext uri="{FF2B5EF4-FFF2-40B4-BE49-F238E27FC236}">
                  <a16:creationId xmlns:a16="http://schemas.microsoft.com/office/drawing/2014/main" id="{06152B4C-AF4C-FF46-8968-5265D1385A7E}"/>
                </a:ext>
              </a:extLst>
            </p:cNvPr>
            <p:cNvPicPr preferRelativeResize="0"/>
            <p:nvPr/>
          </p:nvPicPr>
          <p:blipFill>
            <a:blip r:embed="rId15">
              <a:alphaModFix/>
            </a:blip>
            <a:stretch>
              <a:fillRect/>
            </a:stretch>
          </p:blipFill>
          <p:spPr>
            <a:xfrm>
              <a:off x="10179043" y="2384963"/>
              <a:ext cx="291527" cy="18220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43" name="Google Shape;3127;p256">
            <a:extLst>
              <a:ext uri="{FF2B5EF4-FFF2-40B4-BE49-F238E27FC236}">
                <a16:creationId xmlns:a16="http://schemas.microsoft.com/office/drawing/2014/main" id="{496FD492-A093-8A27-D6B4-8DBF2FEC63F5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9683025" y="4945771"/>
            <a:ext cx="291575" cy="193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DE7E90-B773-0B4A-F17A-60B8D1EEB7E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72405" y="5874519"/>
            <a:ext cx="279175" cy="141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955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5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5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0"/>
                            </p:stCondLst>
                            <p:childTnLst>
                              <p:par>
                                <p:cTn id="86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7000"/>
                            </p:stCondLst>
                            <p:childTnLst>
                              <p:par>
                                <p:cTn id="102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0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9000"/>
                            </p:stCondLst>
                            <p:childTnLst>
                              <p:par>
                                <p:cTn id="121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2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/>
      <p:bldP spid="11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14CAB20-A9DD-2DD9-3020-F5807EBE9FA6}"/>
              </a:ext>
            </a:extLst>
          </p:cNvPr>
          <p:cNvSpPr/>
          <p:nvPr/>
        </p:nvSpPr>
        <p:spPr>
          <a:xfrm>
            <a:off x="0" y="-1"/>
            <a:ext cx="5158777" cy="70242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314382-E7AA-92A7-E7E3-AFC765A703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9CC0C-C698-4E54-8A6B-C32C4010B3B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43433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43433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B959DE-5A81-3EDD-776B-80285F54A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3748" y="502920"/>
            <a:ext cx="6506325" cy="585216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059F2591-E83F-895C-FCE3-CF38CCF659B5}"/>
              </a:ext>
            </a:extLst>
          </p:cNvPr>
          <p:cNvSpPr>
            <a:spLocks noChangeAspect="1"/>
          </p:cNvSpPr>
          <p:nvPr/>
        </p:nvSpPr>
        <p:spPr>
          <a:xfrm>
            <a:off x="9905112" y="4160747"/>
            <a:ext cx="822960" cy="822960"/>
          </a:xfrm>
          <a:prstGeom prst="ellipse">
            <a:avLst/>
          </a:prstGeom>
          <a:solidFill>
            <a:srgbClr val="003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DF6738-0B34-B2D1-FD91-B0E192576C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83" y="4211266"/>
            <a:ext cx="693019" cy="69301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DCA29EC1-6845-A679-96CE-1BB03B90BB8D}"/>
              </a:ext>
            </a:extLst>
          </p:cNvPr>
          <p:cNvSpPr>
            <a:spLocks noChangeAspect="1"/>
          </p:cNvSpPr>
          <p:nvPr/>
        </p:nvSpPr>
        <p:spPr>
          <a:xfrm>
            <a:off x="9905112" y="2050593"/>
            <a:ext cx="822960" cy="822960"/>
          </a:xfrm>
          <a:prstGeom prst="ellipse">
            <a:avLst/>
          </a:prstGeom>
          <a:solidFill>
            <a:srgbClr val="003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77E5F1-8536-E235-DFF9-B1C773A8C4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83" y="2101112"/>
            <a:ext cx="693019" cy="6930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4BC1636-91C9-8A1A-0104-E7E2730EB8CB}"/>
              </a:ext>
            </a:extLst>
          </p:cNvPr>
          <p:cNvSpPr/>
          <p:nvPr/>
        </p:nvSpPr>
        <p:spPr>
          <a:xfrm>
            <a:off x="7162904" y="476467"/>
            <a:ext cx="2628012" cy="581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3253E6-9D0D-6228-06F3-7015EA17507D}"/>
              </a:ext>
            </a:extLst>
          </p:cNvPr>
          <p:cNvSpPr/>
          <p:nvPr/>
        </p:nvSpPr>
        <p:spPr>
          <a:xfrm>
            <a:off x="10809486" y="2101112"/>
            <a:ext cx="937030" cy="581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F82EE5-9501-6A69-4AC1-72BD68A78BBC}"/>
              </a:ext>
            </a:extLst>
          </p:cNvPr>
          <p:cNvSpPr/>
          <p:nvPr/>
        </p:nvSpPr>
        <p:spPr>
          <a:xfrm>
            <a:off x="10858014" y="4267262"/>
            <a:ext cx="937030" cy="581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976D2F-3DA4-5C3B-9978-240EBC395DC6}"/>
              </a:ext>
            </a:extLst>
          </p:cNvPr>
          <p:cNvSpPr/>
          <p:nvPr/>
        </p:nvSpPr>
        <p:spPr>
          <a:xfrm>
            <a:off x="8008395" y="5950012"/>
            <a:ext cx="937030" cy="54286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43C506B-3DCD-37BA-AE1C-4F1E64A1459F}"/>
              </a:ext>
            </a:extLst>
          </p:cNvPr>
          <p:cNvSpPr/>
          <p:nvPr/>
        </p:nvSpPr>
        <p:spPr>
          <a:xfrm>
            <a:off x="5331870" y="4267261"/>
            <a:ext cx="937030" cy="581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EAE8E2-2EEF-CF44-75F0-4ED40564211C}"/>
              </a:ext>
            </a:extLst>
          </p:cNvPr>
          <p:cNvSpPr/>
          <p:nvPr/>
        </p:nvSpPr>
        <p:spPr>
          <a:xfrm>
            <a:off x="5417595" y="2157108"/>
            <a:ext cx="937030" cy="581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8F95BBA-CE2D-633A-1464-E4BC91681E74}"/>
              </a:ext>
            </a:extLst>
          </p:cNvPr>
          <p:cNvSpPr txBox="1">
            <a:spLocks/>
          </p:cNvSpPr>
          <p:nvPr/>
        </p:nvSpPr>
        <p:spPr>
          <a:xfrm>
            <a:off x="644910" y="2391624"/>
            <a:ext cx="4675762" cy="16002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rgbClr val="00387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/>
              <a:t>Developments that create new challenges</a:t>
            </a:r>
          </a:p>
        </p:txBody>
      </p:sp>
    </p:spTree>
    <p:extLst>
      <p:ext uri="{BB962C8B-B14F-4D97-AF65-F5344CB8AC3E}">
        <p14:creationId xmlns:p14="http://schemas.microsoft.com/office/powerpoint/2010/main" val="23104895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CFB410-89DC-F98E-97F5-98B458EAA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7B319-1373-999F-56D6-CF0FB66382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1399" y="593433"/>
            <a:ext cx="6215610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600">
                <a:solidFill>
                  <a:srgbClr val="002060"/>
                </a:solidFill>
              </a:rPr>
              <a:t>How can Vertex help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D47AA-1348-7594-2C52-53B509334D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9CC0C-C698-4E54-8A6B-C32C4010B3B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43433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43433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43863C5-D1A3-C1D5-9B17-633B7DE23A47}"/>
              </a:ext>
            </a:extLst>
          </p:cNvPr>
          <p:cNvSpPr txBox="1"/>
          <p:nvPr/>
        </p:nvSpPr>
        <p:spPr>
          <a:xfrm>
            <a:off x="527645" y="6500542"/>
            <a:ext cx="2271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X, IPO NASDAQ since 202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37BBA8-9428-FD46-C04B-6629D63C0727}"/>
              </a:ext>
            </a:extLst>
          </p:cNvPr>
          <p:cNvSpPr/>
          <p:nvPr/>
        </p:nvSpPr>
        <p:spPr>
          <a:xfrm>
            <a:off x="-11293" y="0"/>
            <a:ext cx="331304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1A20237-DBC2-A0CE-0E6F-31C61E1E7AEA}"/>
              </a:ext>
            </a:extLst>
          </p:cNvPr>
          <p:cNvSpPr/>
          <p:nvPr/>
        </p:nvSpPr>
        <p:spPr>
          <a:xfrm>
            <a:off x="0" y="0"/>
            <a:ext cx="3197108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8D303F4-9A3E-62E9-9FC5-88BE5CD17190}"/>
              </a:ext>
            </a:extLst>
          </p:cNvPr>
          <p:cNvGrpSpPr/>
          <p:nvPr/>
        </p:nvGrpSpPr>
        <p:grpSpPr>
          <a:xfrm>
            <a:off x="122217" y="250757"/>
            <a:ext cx="2940877" cy="6356485"/>
            <a:chOff x="5310058" y="1078159"/>
            <a:chExt cx="2307837" cy="12788196"/>
          </a:xfrm>
          <a:solidFill>
            <a:schemeClr val="accent1"/>
          </a:solidFill>
        </p:grpSpPr>
        <p:sp>
          <p:nvSpPr>
            <p:cNvPr id="26" name="Rounded Rectangle 1">
              <a:extLst>
                <a:ext uri="{FF2B5EF4-FFF2-40B4-BE49-F238E27FC236}">
                  <a16:creationId xmlns:a16="http://schemas.microsoft.com/office/drawing/2014/main" id="{5D031C41-CC66-D518-2051-E5515442526D}"/>
                </a:ext>
              </a:extLst>
            </p:cNvPr>
            <p:cNvSpPr/>
            <p:nvPr/>
          </p:nvSpPr>
          <p:spPr>
            <a:xfrm>
              <a:off x="5360332" y="1078159"/>
              <a:ext cx="1090657" cy="2416612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non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5+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Years in 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x Technology</a:t>
              </a:r>
            </a:p>
          </p:txBody>
        </p:sp>
        <p:sp>
          <p:nvSpPr>
            <p:cNvPr id="27" name="Rounded Rectangle 2">
              <a:extLst>
                <a:ext uri="{FF2B5EF4-FFF2-40B4-BE49-F238E27FC236}">
                  <a16:creationId xmlns:a16="http://schemas.microsoft.com/office/drawing/2014/main" id="{23EE0308-03B1-2B69-10C1-AA46D1B1F431}"/>
                </a:ext>
              </a:extLst>
            </p:cNvPr>
            <p:cNvSpPr/>
            <p:nvPr/>
          </p:nvSpPr>
          <p:spPr>
            <a:xfrm>
              <a:off x="5332140" y="6358527"/>
              <a:ext cx="2255048" cy="2453660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non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00+ 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x 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earchers</a:t>
              </a:r>
            </a:p>
          </p:txBody>
        </p:sp>
        <p:sp>
          <p:nvSpPr>
            <p:cNvPr id="28" name="Rounded Rectangle 10">
              <a:extLst>
                <a:ext uri="{FF2B5EF4-FFF2-40B4-BE49-F238E27FC236}">
                  <a16:creationId xmlns:a16="http://schemas.microsoft.com/office/drawing/2014/main" id="{1B98D02C-B425-7ADB-20BF-57BD7F2B2933}"/>
                </a:ext>
              </a:extLst>
            </p:cNvPr>
            <p:cNvSpPr/>
            <p:nvPr/>
          </p:nvSpPr>
          <p:spPr>
            <a:xfrm>
              <a:off x="5355499" y="3671331"/>
              <a:ext cx="1090657" cy="2453662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non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,000+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s</a:t>
              </a:r>
            </a:p>
          </p:txBody>
        </p:sp>
        <p:sp>
          <p:nvSpPr>
            <p:cNvPr id="29" name="Rounded Rectangle 11">
              <a:extLst>
                <a:ext uri="{FF2B5EF4-FFF2-40B4-BE49-F238E27FC236}">
                  <a16:creationId xmlns:a16="http://schemas.microsoft.com/office/drawing/2014/main" id="{A2AA5088-ECDA-8918-82F3-2A3ED420D241}"/>
                </a:ext>
              </a:extLst>
            </p:cNvPr>
            <p:cNvSpPr/>
            <p:nvPr/>
          </p:nvSpPr>
          <p:spPr>
            <a:xfrm>
              <a:off x="6519449" y="1089113"/>
              <a:ext cx="1090658" cy="2416612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non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0%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 the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tune 500 </a:t>
              </a:r>
            </a:p>
          </p:txBody>
        </p:sp>
        <p:sp>
          <p:nvSpPr>
            <p:cNvPr id="30" name="Rounded Rectangle 12">
              <a:extLst>
                <a:ext uri="{FF2B5EF4-FFF2-40B4-BE49-F238E27FC236}">
                  <a16:creationId xmlns:a16="http://schemas.microsoft.com/office/drawing/2014/main" id="{009496DE-EFA9-9C11-C1ED-7AC704494B01}"/>
                </a:ext>
              </a:extLst>
            </p:cNvPr>
            <p:cNvSpPr/>
            <p:nvPr/>
          </p:nvSpPr>
          <p:spPr>
            <a:xfrm>
              <a:off x="5310058" y="11596068"/>
              <a:ext cx="2307837" cy="2270287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squar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billion</a:t>
              </a: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-Driven 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ffective Tax Rules</a:t>
              </a:r>
            </a:p>
          </p:txBody>
        </p:sp>
        <p:sp>
          <p:nvSpPr>
            <p:cNvPr id="31" name="Rounded Rectangle 13">
              <a:extLst>
                <a:ext uri="{FF2B5EF4-FFF2-40B4-BE49-F238E27FC236}">
                  <a16:creationId xmlns:a16="http://schemas.microsoft.com/office/drawing/2014/main" id="{EF1D7733-52FF-8486-4C6F-CDDE1253EC4D}"/>
                </a:ext>
              </a:extLst>
            </p:cNvPr>
            <p:cNvSpPr/>
            <p:nvPr/>
          </p:nvSpPr>
          <p:spPr>
            <a:xfrm>
              <a:off x="5332139" y="9064426"/>
              <a:ext cx="2285756" cy="2279404"/>
            </a:xfrm>
            <a:prstGeom prst="roundRect">
              <a:avLst/>
            </a:prstGeom>
            <a:grpFill/>
            <a:ln w="25400">
              <a:noFill/>
            </a:ln>
          </p:spPr>
          <p:txBody>
            <a:bodyPr wrap="squar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,000+</a:t>
              </a: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al Jurisdictions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orted</a:t>
              </a:r>
            </a:p>
          </p:txBody>
        </p:sp>
        <p:sp>
          <p:nvSpPr>
            <p:cNvPr id="32" name="Rounded Rectangle 2">
              <a:extLst>
                <a:ext uri="{FF2B5EF4-FFF2-40B4-BE49-F238E27FC236}">
                  <a16:creationId xmlns:a16="http://schemas.microsoft.com/office/drawing/2014/main" id="{F3248010-5182-1778-E832-BDC5E8A07016}"/>
                </a:ext>
              </a:extLst>
            </p:cNvPr>
            <p:cNvSpPr/>
            <p:nvPr/>
          </p:nvSpPr>
          <p:spPr>
            <a:xfrm>
              <a:off x="6497734" y="3642588"/>
              <a:ext cx="1090658" cy="2482405"/>
            </a:xfrm>
            <a:prstGeom prst="roundRect">
              <a:avLst>
                <a:gd name="adj" fmla="val 17832"/>
              </a:avLst>
            </a:prstGeom>
            <a:grpFill/>
            <a:ln w="25400">
              <a:noFill/>
            </a:ln>
          </p:spPr>
          <p:txBody>
            <a:bodyPr wrap="none" lIns="91440" tIns="91440" rIns="91440" bIns="45720" anchor="ctr" anchorCtr="1">
              <a:noAutofit/>
            </a:bodyPr>
            <a:lstStyle/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50+</a:t>
              </a:r>
            </a:p>
            <a:p>
              <a:pPr marL="0" marR="0" lvl="0" indent="0" algn="ctr" defTabSz="4286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gration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FE579B2-24B3-33C1-D906-E6681DC29DBC}"/>
              </a:ext>
            </a:extLst>
          </p:cNvPr>
          <p:cNvSpPr txBox="1"/>
          <p:nvPr/>
        </p:nvSpPr>
        <p:spPr>
          <a:xfrm>
            <a:off x="3423968" y="6560021"/>
            <a:ext cx="1829347" cy="2308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900">
                <a:solidFill>
                  <a:schemeClr val="bg1"/>
                </a:solidFill>
                <a:latin typeface="Calibri"/>
                <a:ea typeface="Calibri"/>
                <a:cs typeface="Times New Roman"/>
              </a:rPr>
              <a:t>© </a:t>
            </a:r>
            <a:r>
              <a:rPr lang="en-US" sz="900">
                <a:solidFill>
                  <a:schemeClr val="bg1"/>
                </a:solidFill>
                <a:effectLst/>
                <a:latin typeface="Calibri"/>
                <a:ea typeface="Calibri"/>
                <a:cs typeface="Times New Roman"/>
              </a:rPr>
              <a:t>Vertex, Inc. All rights </a:t>
            </a:r>
            <a:r>
              <a:rPr lang="en-US" sz="900">
                <a:solidFill>
                  <a:schemeClr val="bg1"/>
                </a:solidFill>
                <a:latin typeface="Calibri"/>
                <a:ea typeface="Calibri"/>
                <a:cs typeface="Times New Roman"/>
              </a:rPr>
              <a:t>reserved. </a:t>
            </a:r>
            <a:endParaRPr lang="en-US" sz="900">
              <a:solidFill>
                <a:schemeClr val="bg1"/>
              </a:solidFill>
              <a:latin typeface="Calibri"/>
              <a:ea typeface="Calibri"/>
              <a:cs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38258E4-6B15-6998-B84C-3E1CAEB2EF1E}"/>
              </a:ext>
            </a:extLst>
          </p:cNvPr>
          <p:cNvGrpSpPr/>
          <p:nvPr/>
        </p:nvGrpSpPr>
        <p:grpSpPr>
          <a:xfrm>
            <a:off x="3948484" y="4290086"/>
            <a:ext cx="1111125" cy="1111125"/>
            <a:chOff x="2080112" y="4417327"/>
            <a:chExt cx="1111125" cy="111112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442B7E1-1588-DBCF-23C0-337923DEF125}"/>
                </a:ext>
              </a:extLst>
            </p:cNvPr>
            <p:cNvSpPr/>
            <p:nvPr/>
          </p:nvSpPr>
          <p:spPr>
            <a:xfrm>
              <a:off x="2080112" y="4417327"/>
              <a:ext cx="1111125" cy="111112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" name="Picture 17">
              <a:extLst>
                <a:ext uri="{FF2B5EF4-FFF2-40B4-BE49-F238E27FC236}">
                  <a16:creationId xmlns:a16="http://schemas.microsoft.com/office/drawing/2014/main" id="{565DE55D-ED5F-744F-11C9-F159D206E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29697" y="4566912"/>
              <a:ext cx="811953" cy="811953"/>
            </a:xfrm>
            <a:prstGeom prst="rect">
              <a:avLst/>
            </a:prstGeom>
          </p:spPr>
        </p:pic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F0572AE-A17B-4EE0-66EE-602B9ADA983E}"/>
              </a:ext>
            </a:extLst>
          </p:cNvPr>
          <p:cNvSpPr txBox="1">
            <a:spLocks/>
          </p:cNvSpPr>
          <p:nvPr/>
        </p:nvSpPr>
        <p:spPr>
          <a:xfrm>
            <a:off x="3482845" y="1941447"/>
            <a:ext cx="204240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Source System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E2AC1F-2E29-23B7-DE51-4C9A81C2E875}"/>
              </a:ext>
            </a:extLst>
          </p:cNvPr>
          <p:cNvSpPr txBox="1"/>
          <p:nvPr/>
        </p:nvSpPr>
        <p:spPr>
          <a:xfrm>
            <a:off x="3552954" y="5472419"/>
            <a:ext cx="1902187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 O Series</a:t>
            </a:r>
            <a:r>
              <a:rPr lang="en-US" sz="1400" b="1">
                <a:solidFill>
                  <a:srgbClr val="343433"/>
                </a:solidFill>
                <a:latin typeface="Calibri" panose="020F0502020204030204"/>
              </a:rPr>
              <a:t> 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x</a:t>
            </a:r>
            <a:r>
              <a:rPr kumimoji="0" lang="en-US" sz="1400" b="1" i="0" u="none" strike="noStrike" kern="1200" cap="none" spc="0" normalizeH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ion Engine</a:t>
            </a:r>
            <a:endParaRPr lang="en-US" sz="100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C4B3CCC-ACAC-DFE5-E648-10E5D3E6C049}"/>
              </a:ext>
            </a:extLst>
          </p:cNvPr>
          <p:cNvSpPr txBox="1">
            <a:spLocks/>
          </p:cNvSpPr>
          <p:nvPr/>
        </p:nvSpPr>
        <p:spPr>
          <a:xfrm>
            <a:off x="9043926" y="5502452"/>
            <a:ext cx="2904039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Vertex VAT Compliance</a:t>
            </a:r>
          </a:p>
        </p:txBody>
      </p:sp>
      <p:sp>
        <p:nvSpPr>
          <p:cNvPr id="16" name="Rectangle: Rounded Corners 19">
            <a:extLst>
              <a:ext uri="{FF2B5EF4-FFF2-40B4-BE49-F238E27FC236}">
                <a16:creationId xmlns:a16="http://schemas.microsoft.com/office/drawing/2014/main" id="{30AEEB7D-C26E-356B-C750-08F52A110E0E}"/>
              </a:ext>
            </a:extLst>
          </p:cNvPr>
          <p:cNvSpPr/>
          <p:nvPr/>
        </p:nvSpPr>
        <p:spPr>
          <a:xfrm>
            <a:off x="9172057" y="2051938"/>
            <a:ext cx="2647779" cy="3424971"/>
          </a:xfrm>
          <a:prstGeom prst="roundRect">
            <a:avLst>
              <a:gd name="adj" fmla="val 11314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0A801B7-1EED-C0F2-0F22-8BA3E463C265}"/>
              </a:ext>
            </a:extLst>
          </p:cNvPr>
          <p:cNvSpPr/>
          <p:nvPr/>
        </p:nvSpPr>
        <p:spPr>
          <a:xfrm>
            <a:off x="9250719" y="4043816"/>
            <a:ext cx="1111125" cy="11111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B536740-A865-49CA-5ADE-75BB5442FB64}"/>
              </a:ext>
            </a:extLst>
          </p:cNvPr>
          <p:cNvSpPr/>
          <p:nvPr/>
        </p:nvSpPr>
        <p:spPr>
          <a:xfrm>
            <a:off x="9291348" y="2309833"/>
            <a:ext cx="1111125" cy="11111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3222C5-3EC4-DD96-BE4E-BF72E5E0D63B}"/>
              </a:ext>
            </a:extLst>
          </p:cNvPr>
          <p:cNvSpPr txBox="1">
            <a:spLocks/>
          </p:cNvSpPr>
          <p:nvPr/>
        </p:nvSpPr>
        <p:spPr>
          <a:xfrm>
            <a:off x="10520676" y="4294309"/>
            <a:ext cx="1188445" cy="523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Statutor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Report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8DA164-4493-BD27-1E9B-FBA1ABBB9F0B}"/>
              </a:ext>
            </a:extLst>
          </p:cNvPr>
          <p:cNvSpPr txBox="1">
            <a:spLocks/>
          </p:cNvSpPr>
          <p:nvPr/>
        </p:nvSpPr>
        <p:spPr>
          <a:xfrm>
            <a:off x="10596151" y="2542229"/>
            <a:ext cx="1112970" cy="523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Line level Information</a:t>
            </a:r>
          </a:p>
        </p:txBody>
      </p:sp>
      <p:pic>
        <p:nvPicPr>
          <p:cNvPr id="36" name="Picture 17">
            <a:extLst>
              <a:ext uri="{FF2B5EF4-FFF2-40B4-BE49-F238E27FC236}">
                <a16:creationId xmlns:a16="http://schemas.microsoft.com/office/drawing/2014/main" id="{4513169A-5B61-6EA4-2FF4-69FA5450C8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0304" y="4193401"/>
            <a:ext cx="811953" cy="811953"/>
          </a:xfrm>
          <a:prstGeom prst="rect">
            <a:avLst/>
          </a:prstGeom>
        </p:spPr>
      </p:pic>
      <p:pic>
        <p:nvPicPr>
          <p:cNvPr id="37" name="Picture 17">
            <a:extLst>
              <a:ext uri="{FF2B5EF4-FFF2-40B4-BE49-F238E27FC236}">
                <a16:creationId xmlns:a16="http://schemas.microsoft.com/office/drawing/2014/main" id="{468F7606-5442-AC4A-D513-5E8E6796CD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32401" y="2469543"/>
            <a:ext cx="811953" cy="811953"/>
          </a:xfrm>
          <a:prstGeom prst="rect">
            <a:avLst/>
          </a:prstGeom>
        </p:spPr>
      </p:pic>
      <p:sp>
        <p:nvSpPr>
          <p:cNvPr id="38" name="Rectangle: Rounded Corners 19">
            <a:extLst>
              <a:ext uri="{FF2B5EF4-FFF2-40B4-BE49-F238E27FC236}">
                <a16:creationId xmlns:a16="http://schemas.microsoft.com/office/drawing/2014/main" id="{EADC3D62-7ED2-0BEC-C830-AD1DADDBEBFA}"/>
              </a:ext>
            </a:extLst>
          </p:cNvPr>
          <p:cNvSpPr/>
          <p:nvPr/>
        </p:nvSpPr>
        <p:spPr>
          <a:xfrm>
            <a:off x="6118626" y="1859747"/>
            <a:ext cx="5867397" cy="4176390"/>
          </a:xfrm>
          <a:prstGeom prst="roundRect">
            <a:avLst>
              <a:gd name="adj" fmla="val 11314"/>
            </a:avLst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9F2B5FA-7A46-049B-E757-5C9E9E03A614}"/>
              </a:ext>
            </a:extLst>
          </p:cNvPr>
          <p:cNvSpPr txBox="1">
            <a:spLocks/>
          </p:cNvSpPr>
          <p:nvPr/>
        </p:nvSpPr>
        <p:spPr>
          <a:xfrm>
            <a:off x="6080568" y="1451401"/>
            <a:ext cx="586739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Vertex Returns &amp; Reporting Platform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0F619354-00E1-DF70-7B15-4C6ABF99A5D9}"/>
              </a:ext>
            </a:extLst>
          </p:cNvPr>
          <p:cNvSpPr txBox="1">
            <a:spLocks/>
          </p:cNvSpPr>
          <p:nvPr/>
        </p:nvSpPr>
        <p:spPr>
          <a:xfrm>
            <a:off x="6247549" y="5479084"/>
            <a:ext cx="290403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Vertex e-Invoicing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48" name="Rectangle: Rounded Corners 19">
            <a:extLst>
              <a:ext uri="{FF2B5EF4-FFF2-40B4-BE49-F238E27FC236}">
                <a16:creationId xmlns:a16="http://schemas.microsoft.com/office/drawing/2014/main" id="{7EED4ABE-D502-2554-EB41-7A14373D9EC4}"/>
              </a:ext>
            </a:extLst>
          </p:cNvPr>
          <p:cNvSpPr/>
          <p:nvPr/>
        </p:nvSpPr>
        <p:spPr>
          <a:xfrm>
            <a:off x="6328346" y="2051939"/>
            <a:ext cx="2647779" cy="3424971"/>
          </a:xfrm>
          <a:prstGeom prst="roundRect">
            <a:avLst>
              <a:gd name="adj" fmla="val 11314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2">
            <a:extLst>
              <a:ext uri="{FF2B5EF4-FFF2-40B4-BE49-F238E27FC236}">
                <a16:creationId xmlns:a16="http://schemas.microsoft.com/office/drawing/2014/main" id="{3B4F1D42-D580-A1A1-EEC7-8A9A6AA92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645" y="2256840"/>
            <a:ext cx="1188720" cy="118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5558A50-7193-6BFB-4907-E37770432A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455" y="4282395"/>
            <a:ext cx="822960" cy="822960"/>
          </a:xfrm>
          <a:prstGeom prst="rect">
            <a:avLst/>
          </a:prstGeom>
        </p:spPr>
      </p:pic>
      <p:pic>
        <p:nvPicPr>
          <p:cNvPr id="51" name="Picture 4">
            <a:extLst>
              <a:ext uri="{FF2B5EF4-FFF2-40B4-BE49-F238E27FC236}">
                <a16:creationId xmlns:a16="http://schemas.microsoft.com/office/drawing/2014/main" id="{172E6577-1029-5015-6F23-2947AEDEB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25210" y="3459763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FB4C5B3E-6AC4-8536-4790-F1C6E8E5D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6438981" y="3465901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>
            <a:extLst>
              <a:ext uri="{FF2B5EF4-FFF2-40B4-BE49-F238E27FC236}">
                <a16:creationId xmlns:a16="http://schemas.microsoft.com/office/drawing/2014/main" id="{E5D2DDF6-133D-FFB7-296B-30C8071B15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484" y="2607354"/>
            <a:ext cx="1072805" cy="1072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967F06E8-E32B-F1DC-7B97-29781EC3786B}"/>
              </a:ext>
            </a:extLst>
          </p:cNvPr>
          <p:cNvSpPr txBox="1">
            <a:spLocks/>
          </p:cNvSpPr>
          <p:nvPr/>
        </p:nvSpPr>
        <p:spPr>
          <a:xfrm>
            <a:off x="7765084" y="4307866"/>
            <a:ext cx="1111125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1">
                <a:latin typeface="Calibri" panose="020F0502020204030204"/>
                <a:ea typeface="+mn-lt"/>
                <a:cs typeface="Calibri" panose="020F0502020204030204"/>
              </a:rPr>
              <a:t>Global 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Compli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1">
                <a:latin typeface="Calibri" panose="020F0502020204030204"/>
                <a:ea typeface="+mn-lt"/>
                <a:cs typeface="Calibri" panose="020F0502020204030204"/>
              </a:rPr>
              <a:t>ensured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7ACE0404-F62D-C349-929E-31FBC0E97291}"/>
              </a:ext>
            </a:extLst>
          </p:cNvPr>
          <p:cNvSpPr txBox="1">
            <a:spLocks/>
          </p:cNvSpPr>
          <p:nvPr/>
        </p:nvSpPr>
        <p:spPr>
          <a:xfrm>
            <a:off x="7835649" y="2555786"/>
            <a:ext cx="104056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33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3CF40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09C"/>
              </a:buClr>
              <a:buFont typeface="Calibri" panose="020F0502020204030204" pitchFamily="34" charset="0"/>
              <a:buChar char="–"/>
              <a:defRPr sz="18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6FD34E"/>
              </a:buClr>
              <a:buFont typeface="Calibri" panose="020F0502020204030204" pitchFamily="34" charset="0"/>
              <a:buChar char="◌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2BF"/>
              </a:buClr>
              <a:buFont typeface="Arial" panose="020B0604020202020204" pitchFamily="34" charset="0"/>
              <a:buChar char="•"/>
              <a:defRPr sz="1600" kern="1200">
                <a:solidFill>
                  <a:srgbClr val="34343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100%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3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43433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Quality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07243941-C403-63D9-ABB0-743CF97F8049}"/>
              </a:ext>
            </a:extLst>
          </p:cNvPr>
          <p:cNvCxnSpPr>
            <a:cxnSpLocks/>
          </p:cNvCxnSpPr>
          <p:nvPr/>
        </p:nvCxnSpPr>
        <p:spPr>
          <a:xfrm>
            <a:off x="4993473" y="3140517"/>
            <a:ext cx="1089596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1AB0921-3E9F-FEA8-948C-9B3F2ACF16F6}"/>
              </a:ext>
            </a:extLst>
          </p:cNvPr>
          <p:cNvCxnSpPr>
            <a:cxnSpLocks/>
          </p:cNvCxnSpPr>
          <p:nvPr/>
        </p:nvCxnSpPr>
        <p:spPr>
          <a:xfrm flipV="1">
            <a:off x="4993473" y="3294450"/>
            <a:ext cx="1089596" cy="35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E825036-1714-6C41-4872-A559A587E024}"/>
              </a:ext>
            </a:extLst>
          </p:cNvPr>
          <p:cNvCxnSpPr>
            <a:cxnSpLocks/>
          </p:cNvCxnSpPr>
          <p:nvPr/>
        </p:nvCxnSpPr>
        <p:spPr>
          <a:xfrm flipV="1">
            <a:off x="4631823" y="3716530"/>
            <a:ext cx="0" cy="38105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1ADD477-F9BC-6125-4BE9-3C44A8257F9C}"/>
              </a:ext>
            </a:extLst>
          </p:cNvPr>
          <p:cNvCxnSpPr>
            <a:cxnSpLocks/>
          </p:cNvCxnSpPr>
          <p:nvPr/>
        </p:nvCxnSpPr>
        <p:spPr>
          <a:xfrm>
            <a:off x="4327023" y="3675503"/>
            <a:ext cx="0" cy="42207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70519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9C7C9-062E-4177-998A-F653E2FF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cs typeface="Calibri"/>
              </a:rPr>
              <a:t>Integrated Compliance: e-Invoicing &amp; periodic reporting</a:t>
            </a: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DC143B1-3868-4EF0-8499-8EC92712B072}"/>
              </a:ext>
            </a:extLst>
          </p:cNvPr>
          <p:cNvSpPr txBox="1"/>
          <p:nvPr/>
        </p:nvSpPr>
        <p:spPr>
          <a:xfrm>
            <a:off x="2046432" y="1459015"/>
            <a:ext cx="1206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Data Fabric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9A96548-A865-43F0-9957-19CCAA4B0534}"/>
              </a:ext>
            </a:extLst>
          </p:cNvPr>
          <p:cNvSpPr/>
          <p:nvPr/>
        </p:nvSpPr>
        <p:spPr>
          <a:xfrm>
            <a:off x="2345422" y="1623581"/>
            <a:ext cx="6648949" cy="461643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F0AAECE-3FA2-4BF9-AFD8-85E0046F15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2CA75D">
                <a:shade val="45000"/>
                <a:satMod val="135000"/>
              </a:srgbClr>
              <a:prstClr val="white"/>
            </a:duotone>
            <a:alphaModFix amt="20000"/>
          </a:blip>
          <a:srcRect l="5774" r="4622" b="13650"/>
          <a:stretch/>
        </p:blipFill>
        <p:spPr>
          <a:xfrm>
            <a:off x="2265020" y="2317664"/>
            <a:ext cx="6817489" cy="3284967"/>
          </a:xfrm>
          <a:prstGeom prst="rect">
            <a:avLst/>
          </a:prstGeom>
          <a:ln w="76200">
            <a:noFill/>
          </a:ln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C82FD8BD-195B-4E17-B208-1FD849B92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50" y="3281371"/>
            <a:ext cx="961567" cy="961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08DC15B6-A4FD-41C9-A61A-90C7A3D7B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333" y="3768136"/>
            <a:ext cx="956899" cy="912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55CFB4-CC80-44C3-8145-C5E6B65A8F15}"/>
              </a:ext>
            </a:extLst>
          </p:cNvPr>
          <p:cNvSpPr txBox="1"/>
          <p:nvPr/>
        </p:nvSpPr>
        <p:spPr>
          <a:xfrm>
            <a:off x="2513453" y="2427051"/>
            <a:ext cx="1479203" cy="75405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 Retur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Repor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79A2A3-11F4-4816-860B-5D8891635958}"/>
              </a:ext>
            </a:extLst>
          </p:cNvPr>
          <p:cNvSpPr txBox="1"/>
          <p:nvPr/>
        </p:nvSpPr>
        <p:spPr>
          <a:xfrm>
            <a:off x="-49394" y="2917779"/>
            <a:ext cx="1398253" cy="3798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 System(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E0E5EB-AE1E-4566-9D57-91BCB582B029}"/>
              </a:ext>
            </a:extLst>
          </p:cNvPr>
          <p:cNvSpPr txBox="1"/>
          <p:nvPr/>
        </p:nvSpPr>
        <p:spPr>
          <a:xfrm>
            <a:off x="1044251" y="3239076"/>
            <a:ext cx="1261356" cy="3798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I/SFTP/ Connector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25A8D75-49FD-4B39-B23F-2E16A506056B}"/>
              </a:ext>
            </a:extLst>
          </p:cNvPr>
          <p:cNvCxnSpPr>
            <a:cxnSpLocks/>
          </p:cNvCxnSpPr>
          <p:nvPr/>
        </p:nvCxnSpPr>
        <p:spPr>
          <a:xfrm>
            <a:off x="1130517" y="3686393"/>
            <a:ext cx="1089596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1BB1724-EDC5-49B5-BC33-30866961FF60}"/>
              </a:ext>
            </a:extLst>
          </p:cNvPr>
          <p:cNvSpPr txBox="1"/>
          <p:nvPr/>
        </p:nvSpPr>
        <p:spPr>
          <a:xfrm>
            <a:off x="10837658" y="5681017"/>
            <a:ext cx="104919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Tax Author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387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2A90C4-90F1-4060-9D43-E9E686BE970E}"/>
              </a:ext>
            </a:extLst>
          </p:cNvPr>
          <p:cNvSpPr txBox="1"/>
          <p:nvPr/>
        </p:nvSpPr>
        <p:spPr>
          <a:xfrm>
            <a:off x="10686179" y="2231510"/>
            <a:ext cx="129720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ppol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Network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387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49D2EFA-424F-4350-B74B-5C56A5081B80}"/>
              </a:ext>
            </a:extLst>
          </p:cNvPr>
          <p:cNvSpPr txBox="1"/>
          <p:nvPr/>
        </p:nvSpPr>
        <p:spPr>
          <a:xfrm>
            <a:off x="2779786" y="4240486"/>
            <a:ext cx="124327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low</a:t>
            </a:r>
            <a:endParaRPr lang="en-US" sz="1000">
              <a:solidFill>
                <a:srgbClr val="FFFFFF"/>
              </a:solidFill>
              <a:latin typeface="Calibri" panose="020F0502020204030204"/>
            </a:endParaRPr>
          </a:p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</a:p>
          <a:p>
            <a:pPr marL="111125" lvl="0" indent="-111125"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rgbClr val="FFFFFF"/>
                </a:solidFill>
              </a:rPr>
              <a:t>Consolidated Portal</a:t>
            </a:r>
            <a:endParaRPr kumimoji="0" lang="en-US" sz="10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4D6941E-0423-41F0-B50B-25E8EF2AAE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3997" y="2356788"/>
            <a:ext cx="876760" cy="876760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5F8010D-19B7-49A8-AB38-DC2B2B5392D7}"/>
              </a:ext>
            </a:extLst>
          </p:cNvPr>
          <p:cNvCxnSpPr>
            <a:cxnSpLocks/>
          </p:cNvCxnSpPr>
          <p:nvPr/>
        </p:nvCxnSpPr>
        <p:spPr>
          <a:xfrm flipV="1">
            <a:off x="3875612" y="2817074"/>
            <a:ext cx="1153500" cy="675909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D129121-0CBD-4B84-917F-8FA2D26BAE7F}"/>
              </a:ext>
            </a:extLst>
          </p:cNvPr>
          <p:cNvSpPr txBox="1"/>
          <p:nvPr/>
        </p:nvSpPr>
        <p:spPr>
          <a:xfrm>
            <a:off x="6540636" y="2020327"/>
            <a:ext cx="215763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200" b="1">
                <a:solidFill>
                  <a:srgbClr val="FFFFFF"/>
                </a:solidFill>
                <a:latin typeface="Calibri" panose="020F0502020204030204"/>
              </a:rPr>
              <a:t>e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Invoice </a:t>
            </a:r>
          </a:p>
          <a:p>
            <a:pPr algn="ctr"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mission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0C0C6D-7542-47C7-92B7-52915D097B9D}"/>
              </a:ext>
            </a:extLst>
          </p:cNvPr>
          <p:cNvSpPr txBox="1"/>
          <p:nvPr/>
        </p:nvSpPr>
        <p:spPr>
          <a:xfrm>
            <a:off x="10552377" y="3285183"/>
            <a:ext cx="15732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Certified Provider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387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A1C8781-E745-411A-A0C8-297E74B8AEB1}"/>
              </a:ext>
            </a:extLst>
          </p:cNvPr>
          <p:cNvSpPr txBox="1"/>
          <p:nvPr/>
        </p:nvSpPr>
        <p:spPr>
          <a:xfrm>
            <a:off x="10627827" y="4598314"/>
            <a:ext cx="1413907" cy="3798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2B and B2G 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87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Customer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387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27" name="Bild 34">
            <a:extLst>
              <a:ext uri="{FF2B5EF4-FFF2-40B4-BE49-F238E27FC236}">
                <a16:creationId xmlns:a16="http://schemas.microsoft.com/office/drawing/2014/main" id="{BC6DE2A0-E11A-4514-A671-6EE8462CE3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65205" y="5050403"/>
            <a:ext cx="591014" cy="650974"/>
          </a:xfrm>
          <a:prstGeom prst="rect">
            <a:avLst/>
          </a:prstGeom>
        </p:spPr>
      </p:pic>
      <p:sp>
        <p:nvSpPr>
          <p:cNvPr id="28" name="Båge 53">
            <a:extLst>
              <a:ext uri="{FF2B5EF4-FFF2-40B4-BE49-F238E27FC236}">
                <a16:creationId xmlns:a16="http://schemas.microsoft.com/office/drawing/2014/main" id="{74FD837E-120C-4BFA-B261-52C9FB91EEAA}"/>
              </a:ext>
            </a:extLst>
          </p:cNvPr>
          <p:cNvSpPr/>
          <p:nvPr/>
        </p:nvSpPr>
        <p:spPr>
          <a:xfrm rot="7067440">
            <a:off x="9480985" y="959452"/>
            <a:ext cx="746509" cy="4658884"/>
          </a:xfrm>
          <a:prstGeom prst="arc">
            <a:avLst>
              <a:gd name="adj1" fmla="val 16980825"/>
              <a:gd name="adj2" fmla="val 5065262"/>
            </a:avLst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Båge 53">
            <a:extLst>
              <a:ext uri="{FF2B5EF4-FFF2-40B4-BE49-F238E27FC236}">
                <a16:creationId xmlns:a16="http://schemas.microsoft.com/office/drawing/2014/main" id="{5F4FA2E6-31B2-4108-9FCD-3CF9B204F816}"/>
              </a:ext>
            </a:extLst>
          </p:cNvPr>
          <p:cNvSpPr/>
          <p:nvPr/>
        </p:nvSpPr>
        <p:spPr>
          <a:xfrm rot="21437568">
            <a:off x="7773858" y="3014198"/>
            <a:ext cx="3835842" cy="687517"/>
          </a:xfrm>
          <a:prstGeom prst="arc">
            <a:avLst>
              <a:gd name="adj1" fmla="val 11226283"/>
              <a:gd name="adj2" fmla="val 20940386"/>
            </a:avLst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4E2A36-40DE-4DBE-B4FD-9601BAEE9FBF}"/>
              </a:ext>
            </a:extLst>
          </p:cNvPr>
          <p:cNvSpPr txBox="1"/>
          <p:nvPr/>
        </p:nvSpPr>
        <p:spPr>
          <a:xfrm>
            <a:off x="4822955" y="3192258"/>
            <a:ext cx="2013915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Country-specific</a:t>
            </a:r>
            <a:r>
              <a:rPr kumimoji="0" lang="en-US" sz="110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 </a:t>
            </a:r>
            <a:r>
              <a:rPr lang="en-US" sz="1100">
                <a:solidFill>
                  <a:srgbClr val="FFFFFF"/>
                </a:solidFill>
                <a:latin typeface="+mj-lt"/>
              </a:rPr>
              <a:t>e-Invoice creation &amp; validation</a:t>
            </a:r>
          </a:p>
          <a:p>
            <a:pPr marL="111125" lvl="0" indent="-111125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FFFFFF"/>
                </a:solidFill>
                <a:latin typeface="+mj-lt"/>
              </a:rPr>
              <a:t>Digital signature &amp; archiving</a:t>
            </a:r>
          </a:p>
        </p:txBody>
      </p:sp>
      <p:sp>
        <p:nvSpPr>
          <p:cNvPr id="34" name="Båge 53">
            <a:extLst>
              <a:ext uri="{FF2B5EF4-FFF2-40B4-BE49-F238E27FC236}">
                <a16:creationId xmlns:a16="http://schemas.microsoft.com/office/drawing/2014/main" id="{4E1DAD71-5086-44FD-84DC-E5442E7641E7}"/>
              </a:ext>
            </a:extLst>
          </p:cNvPr>
          <p:cNvSpPr/>
          <p:nvPr/>
        </p:nvSpPr>
        <p:spPr>
          <a:xfrm rot="20265553">
            <a:off x="7971654" y="2381933"/>
            <a:ext cx="3836926" cy="682161"/>
          </a:xfrm>
          <a:prstGeom prst="arc">
            <a:avLst>
              <a:gd name="adj1" fmla="val 11839752"/>
              <a:gd name="adj2" fmla="val 20940386"/>
            </a:avLst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Båge 53">
            <a:extLst>
              <a:ext uri="{FF2B5EF4-FFF2-40B4-BE49-F238E27FC236}">
                <a16:creationId xmlns:a16="http://schemas.microsoft.com/office/drawing/2014/main" id="{BB84DCB5-EC05-4FF9-A4B8-0C6A05A0949F}"/>
              </a:ext>
            </a:extLst>
          </p:cNvPr>
          <p:cNvSpPr/>
          <p:nvPr/>
        </p:nvSpPr>
        <p:spPr>
          <a:xfrm rot="7977538">
            <a:off x="9710662" y="1613265"/>
            <a:ext cx="912758" cy="4912934"/>
          </a:xfrm>
          <a:prstGeom prst="arc">
            <a:avLst>
              <a:gd name="adj1" fmla="val 16983803"/>
              <a:gd name="adj2" fmla="val 4725182"/>
            </a:avLst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45E3A09-452A-448A-B705-E035EF47034F}"/>
              </a:ext>
            </a:extLst>
          </p:cNvPr>
          <p:cNvCxnSpPr>
            <a:cxnSpLocks/>
          </p:cNvCxnSpPr>
          <p:nvPr/>
        </p:nvCxnSpPr>
        <p:spPr>
          <a:xfrm>
            <a:off x="3852469" y="3840361"/>
            <a:ext cx="1152357" cy="881576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637C340C-3323-4CB1-8078-806402611A7E}"/>
              </a:ext>
            </a:extLst>
          </p:cNvPr>
          <p:cNvSpPr txBox="1"/>
          <p:nvPr/>
        </p:nvSpPr>
        <p:spPr>
          <a:xfrm>
            <a:off x="9229218" y="4475576"/>
            <a:ext cx="1499390" cy="37446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B050"/>
                </a:solidFill>
                <a:latin typeface="Calibri" panose="020F0502020204030204"/>
              </a:rPr>
              <a:t>e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Invoice Exchange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(Real-time or Clearance)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9" name="Båge 53">
            <a:extLst>
              <a:ext uri="{FF2B5EF4-FFF2-40B4-BE49-F238E27FC236}">
                <a16:creationId xmlns:a16="http://schemas.microsoft.com/office/drawing/2014/main" id="{6EB71277-0971-438B-B070-92D885915FBA}"/>
              </a:ext>
            </a:extLst>
          </p:cNvPr>
          <p:cNvSpPr/>
          <p:nvPr/>
        </p:nvSpPr>
        <p:spPr>
          <a:xfrm rot="5687806">
            <a:off x="9169436" y="2843935"/>
            <a:ext cx="903305" cy="4431590"/>
          </a:xfrm>
          <a:prstGeom prst="arc">
            <a:avLst>
              <a:gd name="adj1" fmla="val 17045230"/>
              <a:gd name="adj2" fmla="val 5360564"/>
            </a:avLst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434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0453FD4-3009-4CAC-9F2C-2CB320A679F3}"/>
              </a:ext>
            </a:extLst>
          </p:cNvPr>
          <p:cNvSpPr txBox="1"/>
          <p:nvPr/>
        </p:nvSpPr>
        <p:spPr>
          <a:xfrm>
            <a:off x="4826928" y="5375640"/>
            <a:ext cx="2552783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Periodic &amp; near-real-time </a:t>
            </a:r>
            <a:r>
              <a:rPr lang="en-US" sz="1100">
                <a:solidFill>
                  <a:srgbClr val="FFFFFF"/>
                </a:solidFill>
                <a:latin typeface="+mj-lt"/>
              </a:rPr>
              <a:t>r</a:t>
            </a:r>
            <a:r>
              <a:rPr kumimoji="0" lang="en-US" sz="110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eporting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FFFFFF"/>
                </a:solidFill>
                <a:latin typeface="+mj-lt"/>
              </a:rPr>
              <a:t>e-File &amp; PDF return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FFFFFF"/>
                </a:solidFill>
                <a:latin typeface="+mj-lt"/>
              </a:rPr>
              <a:t>Returns archiving</a:t>
            </a:r>
          </a:p>
          <a:p>
            <a:pPr marL="111125" marR="0" lvl="0" indent="-11112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e-Invoicing reconcili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7A1C254-EA70-407A-BABD-68043A6491CE}"/>
              </a:ext>
            </a:extLst>
          </p:cNvPr>
          <p:cNvSpPr txBox="1"/>
          <p:nvPr/>
        </p:nvSpPr>
        <p:spPr>
          <a:xfrm>
            <a:off x="4960170" y="3938495"/>
            <a:ext cx="148549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 VAT Compli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D0DCD77C-E0A7-435B-8434-C177A8F43A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90267" y="2513450"/>
            <a:ext cx="908383" cy="90838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1CB4EBC-91BB-465C-AD83-AFE1A0DB60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80590" y="1468663"/>
            <a:ext cx="908383" cy="908383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FB25329-03ED-41F6-BAF8-88B80A82AAAD}"/>
              </a:ext>
            </a:extLst>
          </p:cNvPr>
          <p:cNvSpPr txBox="1"/>
          <p:nvPr/>
        </p:nvSpPr>
        <p:spPr>
          <a:xfrm>
            <a:off x="9517128" y="3558647"/>
            <a:ext cx="885899" cy="37984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Deliver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B4A068-3599-4670-821A-9C7F060E0F4F}"/>
              </a:ext>
            </a:extLst>
          </p:cNvPr>
          <p:cNvSpPr txBox="1"/>
          <p:nvPr/>
        </p:nvSpPr>
        <p:spPr>
          <a:xfrm>
            <a:off x="9411901" y="2097913"/>
            <a:ext cx="1075738" cy="37984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ppol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Poi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25671A-3BAF-4898-82BA-4A7072DA6137}"/>
              </a:ext>
            </a:extLst>
          </p:cNvPr>
          <p:cNvSpPr txBox="1"/>
          <p:nvPr/>
        </p:nvSpPr>
        <p:spPr>
          <a:xfrm>
            <a:off x="9384466" y="2856997"/>
            <a:ext cx="1301713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operabil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659FC0D-E277-46B2-9552-C08CB56B165C}"/>
              </a:ext>
            </a:extLst>
          </p:cNvPr>
          <p:cNvSpPr txBox="1"/>
          <p:nvPr/>
        </p:nvSpPr>
        <p:spPr>
          <a:xfrm>
            <a:off x="9538780" y="5375890"/>
            <a:ext cx="9359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7BA916AA-8B04-C990-6EB7-305BBF8BF8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5017" y="4559906"/>
            <a:ext cx="876760" cy="87676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A10810EC-3A78-B947-E4B9-7AFE6FC6F845}"/>
              </a:ext>
            </a:extLst>
          </p:cNvPr>
          <p:cNvSpPr txBox="1"/>
          <p:nvPr/>
        </p:nvSpPr>
        <p:spPr>
          <a:xfrm>
            <a:off x="5081144" y="1762880"/>
            <a:ext cx="116541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buClr>
                <a:srgbClr val="00933C"/>
              </a:buClr>
              <a:defRPr/>
            </a:pPr>
            <a:r>
              <a:rPr lang="en-US" sz="1600" b="1">
                <a:solidFill>
                  <a:srgbClr val="FFFFFF"/>
                </a:solidFill>
                <a:latin typeface="Calibri" panose="020F0502020204030204"/>
              </a:rPr>
              <a:t>Vertex e-Invoicing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D659897-2F93-E75E-9701-59EE83B641A4}"/>
              </a:ext>
            </a:extLst>
          </p:cNvPr>
          <p:cNvSpPr txBox="1"/>
          <p:nvPr/>
        </p:nvSpPr>
        <p:spPr>
          <a:xfrm>
            <a:off x="6816293" y="4483130"/>
            <a:ext cx="177497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s submiss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FFFF"/>
                </a:solidFill>
                <a:latin typeface="Calibri" panose="020F0502020204030204"/>
              </a:rPr>
              <a:t>(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file</a:t>
            </a:r>
            <a:r>
              <a:rPr kumimoji="0" lang="en-US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manual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4D9C08D5-EA6F-1442-CF4B-D15EA0E1699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706" y="2998895"/>
            <a:ext cx="1463040" cy="1463040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7B75242-C043-00C0-3CC6-50B2547E4356}"/>
              </a:ext>
            </a:extLst>
          </p:cNvPr>
          <p:cNvCxnSpPr>
            <a:cxnSpLocks/>
          </p:cNvCxnSpPr>
          <p:nvPr/>
        </p:nvCxnSpPr>
        <p:spPr>
          <a:xfrm>
            <a:off x="6588023" y="2910486"/>
            <a:ext cx="216857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E710EF5D-F154-ED07-A37B-EE82C74F0FC8}"/>
              </a:ext>
            </a:extLst>
          </p:cNvPr>
          <p:cNvCxnSpPr>
            <a:cxnSpLocks/>
          </p:cNvCxnSpPr>
          <p:nvPr/>
        </p:nvCxnSpPr>
        <p:spPr>
          <a:xfrm flipH="1">
            <a:off x="6588023" y="3088908"/>
            <a:ext cx="216712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>
            <a:extLst>
              <a:ext uri="{FF2B5EF4-FFF2-40B4-BE49-F238E27FC236}">
                <a16:creationId xmlns:a16="http://schemas.microsoft.com/office/drawing/2014/main" id="{B2FC889D-A9CF-273D-5955-9B19E0222E2E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246" y="2530302"/>
            <a:ext cx="867926" cy="867926"/>
          </a:xfrm>
          <a:prstGeom prst="rect">
            <a:avLst/>
          </a:prstGeom>
          <a:solidFill>
            <a:schemeClr val="accent1"/>
          </a:solidFill>
        </p:spPr>
      </p:pic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5F21A60-1837-6694-7F79-8337EAEF21F2}"/>
              </a:ext>
            </a:extLst>
          </p:cNvPr>
          <p:cNvCxnSpPr>
            <a:cxnSpLocks/>
          </p:cNvCxnSpPr>
          <p:nvPr/>
        </p:nvCxnSpPr>
        <p:spPr>
          <a:xfrm>
            <a:off x="6552364" y="5375890"/>
            <a:ext cx="216857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63" descr="A white line drawing of an envelope with a green paper inside&#10;&#10;Description automatically generated">
            <a:extLst>
              <a:ext uri="{FF2B5EF4-FFF2-40B4-BE49-F238E27FC236}">
                <a16:creationId xmlns:a16="http://schemas.microsoft.com/office/drawing/2014/main" id="{22043F13-2B5D-F768-2E54-CA19C8F71946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116" y="4912219"/>
            <a:ext cx="818477" cy="81847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786B923-7D7C-0343-3076-5C3231F437D9}"/>
              </a:ext>
            </a:extLst>
          </p:cNvPr>
          <p:cNvSpPr txBox="1">
            <a:spLocks/>
          </p:cNvSpPr>
          <p:nvPr/>
        </p:nvSpPr>
        <p:spPr>
          <a:xfrm>
            <a:off x="9092065" y="6583440"/>
            <a:ext cx="18293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© Vertex, Inc. All rights reserved.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D769CE-EAAF-8A88-4AA1-A8C5233F7663}"/>
              </a:ext>
            </a:extLst>
          </p:cNvPr>
          <p:cNvSpPr txBox="1"/>
          <p:nvPr/>
        </p:nvSpPr>
        <p:spPr>
          <a:xfrm>
            <a:off x="1044251" y="3885402"/>
            <a:ext cx="1261356" cy="3798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 Compliance extractor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D908E56-93CD-3D10-FCF5-55F219064FF6}"/>
              </a:ext>
            </a:extLst>
          </p:cNvPr>
          <p:cNvCxnSpPr>
            <a:cxnSpLocks/>
          </p:cNvCxnSpPr>
          <p:nvPr/>
        </p:nvCxnSpPr>
        <p:spPr>
          <a:xfrm flipV="1">
            <a:off x="1130517" y="3840326"/>
            <a:ext cx="1089596" cy="35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CB6DB76C-0A2B-5B0C-0CF5-316DD6C5DFA8}"/>
              </a:ext>
            </a:extLst>
          </p:cNvPr>
          <p:cNvSpPr txBox="1"/>
          <p:nvPr/>
        </p:nvSpPr>
        <p:spPr>
          <a:xfrm>
            <a:off x="6856244" y="3323555"/>
            <a:ext cx="217794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defRPr/>
            </a:pPr>
            <a:r>
              <a:rPr lang="en-US" sz="1100">
                <a:solidFill>
                  <a:srgbClr val="FFFFFF"/>
                </a:solidFill>
                <a:latin typeface="+mj-lt"/>
              </a:rPr>
              <a:t>Vertex Business Network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48662C6-D9F3-A1D7-7898-DE5DC61B96F1}"/>
              </a:ext>
            </a:extLst>
          </p:cNvPr>
          <p:cNvGrpSpPr/>
          <p:nvPr/>
        </p:nvGrpSpPr>
        <p:grpSpPr>
          <a:xfrm>
            <a:off x="211437" y="4698546"/>
            <a:ext cx="885567" cy="790177"/>
            <a:chOff x="2080112" y="4417327"/>
            <a:chExt cx="1111125" cy="111112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CC524E1-FA1D-92F1-039C-2B9FEA0C1289}"/>
                </a:ext>
              </a:extLst>
            </p:cNvPr>
            <p:cNvSpPr/>
            <p:nvPr/>
          </p:nvSpPr>
          <p:spPr>
            <a:xfrm>
              <a:off x="2080112" y="4417327"/>
              <a:ext cx="1111125" cy="111112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3" name="Picture 17">
              <a:extLst>
                <a:ext uri="{FF2B5EF4-FFF2-40B4-BE49-F238E27FC236}">
                  <a16:creationId xmlns:a16="http://schemas.microsoft.com/office/drawing/2014/main" id="{0A15947C-C6B3-5B1F-A775-F8F3BD5E9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29697" y="4566912"/>
              <a:ext cx="811953" cy="811953"/>
            </a:xfrm>
            <a:prstGeom prst="rect">
              <a:avLst/>
            </a:prstGeom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19FC85EF-4FDF-DC5B-A25A-85F799E346DF}"/>
              </a:ext>
            </a:extLst>
          </p:cNvPr>
          <p:cNvSpPr txBox="1"/>
          <p:nvPr/>
        </p:nvSpPr>
        <p:spPr>
          <a:xfrm>
            <a:off x="-56506" y="5541915"/>
            <a:ext cx="1516044" cy="5276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1100"/>
              </a:lnSpc>
              <a:defRPr/>
            </a:pPr>
            <a:r>
              <a:rPr lang="en-US" sz="1200" b="1">
                <a:solidFill>
                  <a:srgbClr val="00B050"/>
                </a:solidFill>
                <a:latin typeface="Calibri" panose="020F0502020204030204"/>
              </a:rPr>
              <a:t>Vertex O Series </a:t>
            </a:r>
          </a:p>
          <a:p>
            <a:pPr algn="ctr">
              <a:lnSpc>
                <a:spcPts val="1100"/>
              </a:lnSpc>
              <a:defRPr/>
            </a:pPr>
            <a:r>
              <a:rPr lang="en-US" sz="1200" b="1">
                <a:solidFill>
                  <a:srgbClr val="00B050"/>
                </a:solidFill>
                <a:latin typeface="Calibri" panose="020F0502020204030204"/>
              </a:rPr>
              <a:t>Tax Calculation Engine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3E4B7CB-7FF6-05B2-0E99-4856B7C396DD}"/>
              </a:ext>
            </a:extLst>
          </p:cNvPr>
          <p:cNvCxnSpPr>
            <a:cxnSpLocks/>
          </p:cNvCxnSpPr>
          <p:nvPr/>
        </p:nvCxnSpPr>
        <p:spPr>
          <a:xfrm flipV="1">
            <a:off x="768867" y="4262406"/>
            <a:ext cx="0" cy="38105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979A0A1A-8004-670E-101F-CC7E1A5159BC}"/>
              </a:ext>
            </a:extLst>
          </p:cNvPr>
          <p:cNvCxnSpPr>
            <a:cxnSpLocks/>
          </p:cNvCxnSpPr>
          <p:nvPr/>
        </p:nvCxnSpPr>
        <p:spPr>
          <a:xfrm>
            <a:off x="464067" y="4221379"/>
            <a:ext cx="0" cy="42207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C75B63B-A364-FD29-4C03-463D1F7B32A7}"/>
              </a:ext>
            </a:extLst>
          </p:cNvPr>
          <p:cNvSpPr txBox="1"/>
          <p:nvPr/>
        </p:nvSpPr>
        <p:spPr>
          <a:xfrm>
            <a:off x="2587624" y="3297627"/>
            <a:ext cx="12240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voice reconciliation</a:t>
            </a:r>
            <a:endParaRPr lang="en-US" sz="14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940343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500"/>
                            </p:stCondLst>
                            <p:childTnLst>
                              <p:par>
                                <p:cTn id="6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4" grpId="0"/>
      <p:bldP spid="25" grpId="0"/>
      <p:bldP spid="26" grpId="0"/>
      <p:bldP spid="28" grpId="0" animBg="1"/>
      <p:bldP spid="29" grpId="0" animBg="1"/>
      <p:bldP spid="30" grpId="0"/>
      <p:bldP spid="34" grpId="0" animBg="1"/>
      <p:bldP spid="35" grpId="0" animBg="1"/>
      <p:bldP spid="38" grpId="0" animBg="1"/>
      <p:bldP spid="39" grpId="0" animBg="1"/>
      <p:bldP spid="40" grpId="0"/>
      <p:bldP spid="47" grpId="0" animBg="1"/>
      <p:bldP spid="7" grpId="0" animBg="1"/>
      <p:bldP spid="6" grpId="0" animBg="1"/>
      <p:bldP spid="36" grpId="0" animBg="1"/>
      <p:bldP spid="54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7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26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7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26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7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TEXTLENGTH" val="26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1 Vertex Theme">
  <a:themeElements>
    <a:clrScheme name="Vertex1">
      <a:dk1>
        <a:srgbClr val="343433"/>
      </a:dk1>
      <a:lt1>
        <a:srgbClr val="FFFFFF"/>
      </a:lt1>
      <a:dk2>
        <a:srgbClr val="003870"/>
      </a:dk2>
      <a:lt2>
        <a:srgbClr val="E7E6E6"/>
      </a:lt2>
      <a:accent1>
        <a:srgbClr val="00609C"/>
      </a:accent1>
      <a:accent2>
        <a:srgbClr val="008FDC"/>
      </a:accent2>
      <a:accent3>
        <a:srgbClr val="00933C"/>
      </a:accent3>
      <a:accent4>
        <a:srgbClr val="6FD34E"/>
      </a:accent4>
      <a:accent5>
        <a:srgbClr val="00A2BF"/>
      </a:accent5>
      <a:accent6>
        <a:srgbClr val="F3CF40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ERTEX_INTERNAL_PPT_TEMPLATE_2023_F" id="{3E136BB4-94E3-9D47-93E7-E53E92BEA82D}" vid="{CB8DF2B8-5202-B94F-82FB-B8E9E58E926F}"/>
    </a:ext>
  </a:extLst>
</a:theme>
</file>

<file path=ppt/theme/theme2.xml><?xml version="1.0" encoding="utf-8"?>
<a:theme xmlns:a="http://schemas.openxmlformats.org/drawingml/2006/main" name="11_2021 Vertex Theme">
  <a:themeElements>
    <a:clrScheme name="Vertex1">
      <a:dk1>
        <a:srgbClr val="343433"/>
      </a:dk1>
      <a:lt1>
        <a:srgbClr val="FFFFFF"/>
      </a:lt1>
      <a:dk2>
        <a:srgbClr val="003870"/>
      </a:dk2>
      <a:lt2>
        <a:srgbClr val="E7E6E6"/>
      </a:lt2>
      <a:accent1>
        <a:srgbClr val="00609C"/>
      </a:accent1>
      <a:accent2>
        <a:srgbClr val="008FDC"/>
      </a:accent2>
      <a:accent3>
        <a:srgbClr val="00933C"/>
      </a:accent3>
      <a:accent4>
        <a:srgbClr val="6FD34E"/>
      </a:accent4>
      <a:accent5>
        <a:srgbClr val="00A2BF"/>
      </a:accent5>
      <a:accent6>
        <a:srgbClr val="F3CF40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ERTEX_EXTERNAL_PPT_TEMPLATE_2023_F" id="{2B2DF391-EC55-7947-92A5-6AD34F05DB38}" vid="{6899F3B7-DD83-3F4E-9D93-AB34B5AE01D2}"/>
    </a:ext>
  </a:extLst>
</a:theme>
</file>

<file path=ppt/theme/theme3.xml><?xml version="1.0" encoding="utf-8"?>
<a:theme xmlns:a="http://schemas.openxmlformats.org/drawingml/2006/main" name="1_2021 Vertex Theme">
  <a:themeElements>
    <a:clrScheme name="Vertex1">
      <a:dk1>
        <a:srgbClr val="343433"/>
      </a:dk1>
      <a:lt1>
        <a:srgbClr val="FFFFFF"/>
      </a:lt1>
      <a:dk2>
        <a:srgbClr val="003870"/>
      </a:dk2>
      <a:lt2>
        <a:srgbClr val="E7E6E6"/>
      </a:lt2>
      <a:accent1>
        <a:srgbClr val="00609C"/>
      </a:accent1>
      <a:accent2>
        <a:srgbClr val="008FDC"/>
      </a:accent2>
      <a:accent3>
        <a:srgbClr val="00933C"/>
      </a:accent3>
      <a:accent4>
        <a:srgbClr val="6FD34E"/>
      </a:accent4>
      <a:accent5>
        <a:srgbClr val="00A2BF"/>
      </a:accent5>
      <a:accent6>
        <a:srgbClr val="F3CF40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ERTEX_EXTERNAL_PPT_TEMPLATE_1121_F" id="{45F68746-3297-B043-8BB3-DE78AA87A8D9}" vid="{BDA3B37D-BF77-DC48-BD80-FB3F23A7D723}"/>
    </a:ext>
  </a:extLst>
</a:theme>
</file>

<file path=ppt/theme/theme4.xml><?xml version="1.0" encoding="utf-8"?>
<a:theme xmlns:a="http://schemas.openxmlformats.org/drawingml/2006/main" name="2_2021 Vertex Theme">
  <a:themeElements>
    <a:clrScheme name="Vertex1">
      <a:dk1>
        <a:srgbClr val="343433"/>
      </a:dk1>
      <a:lt1>
        <a:srgbClr val="FFFFFF"/>
      </a:lt1>
      <a:dk2>
        <a:srgbClr val="003870"/>
      </a:dk2>
      <a:lt2>
        <a:srgbClr val="E7E6E6"/>
      </a:lt2>
      <a:accent1>
        <a:srgbClr val="00609C"/>
      </a:accent1>
      <a:accent2>
        <a:srgbClr val="008FDC"/>
      </a:accent2>
      <a:accent3>
        <a:srgbClr val="00933C"/>
      </a:accent3>
      <a:accent4>
        <a:srgbClr val="6FD34E"/>
      </a:accent4>
      <a:accent5>
        <a:srgbClr val="00A2BF"/>
      </a:accent5>
      <a:accent6>
        <a:srgbClr val="F3CF40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strike="noStrike" kern="1200" cap="none" spc="0" normalizeH="0" baseline="0" noProof="0" dirty="0">
            <a:ln>
              <a:noFill/>
            </a:ln>
            <a:solidFill>
              <a:srgbClr val="FFFFFF"/>
            </a:solidFill>
            <a:effectLst/>
            <a:uLnTx/>
            <a:uFillTx/>
            <a:ea typeface="+mn-ea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ERTEX_EXTERNAL_PPT_TEMPLATE_0122_F" id="{1DAA49DB-6586-8D4F-98D9-632DCC68BF54}" vid="{C03AD233-8BB4-444E-85C7-5240D3F1804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cb18588-2c1c-4102-ab34-b2ea237cdf23" xsi:nil="true"/>
    <lcf76f155ced4ddcb4097134ff3c332f xmlns="11cdb03d-dba2-4230-ab18-289080fd366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9668360654C84FBB5983465A32D974" ma:contentTypeVersion="24" ma:contentTypeDescription="Create a new document." ma:contentTypeScope="" ma:versionID="177674774e9f108cf71091396c51385d">
  <xsd:schema xmlns:xsd="http://www.w3.org/2001/XMLSchema" xmlns:xs="http://www.w3.org/2001/XMLSchema" xmlns:p="http://schemas.microsoft.com/office/2006/metadata/properties" xmlns:ns2="11cdb03d-dba2-4230-ab18-289080fd3661" xmlns:ns3="ccb18588-2c1c-4102-ab34-b2ea237cdf23" targetNamespace="http://schemas.microsoft.com/office/2006/metadata/properties" ma:root="true" ma:fieldsID="77491cedf379e3c4a05e6d1a1f13fec2" ns2:_="" ns3:_="">
    <xsd:import namespace="11cdb03d-dba2-4230-ab18-289080fd3661"/>
    <xsd:import namespace="ccb18588-2c1c-4102-ab34-b2ea237cdf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cdb03d-dba2-4230-ab18-289080fd36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36df0748-9e8a-4f1e-b484-ffdd4a6311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b18588-2c1c-4102-ab34-b2ea237cdf2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c140ee0f-1cc4-41bd-a259-3eed75fc92a5}" ma:internalName="TaxCatchAll" ma:showField="CatchAllData" ma:web="ccb18588-2c1c-4102-ab34-b2ea237cdf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7C2DAF-6C31-47B0-8627-8125EB1B51D0}">
  <ds:schemaRefs>
    <ds:schemaRef ds:uri="11cdb03d-dba2-4230-ab18-289080fd3661"/>
    <ds:schemaRef ds:uri="ccb18588-2c1c-4102-ab34-b2ea237cdf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876AA18-FE2A-4BE1-8C05-599E4E5A62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770ADA-B6C9-4073-B501-13775B4E2410}">
  <ds:schemaRefs>
    <ds:schemaRef ds:uri="11cdb03d-dba2-4230-ab18-289080fd3661"/>
    <ds:schemaRef ds:uri="ccb18588-2c1c-4102-ab34-b2ea237cdf2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5</Slides>
  <Notes>6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2021 Vertex Theme</vt:lpstr>
      <vt:lpstr>11_2021 Vertex Theme</vt:lpstr>
      <vt:lpstr>1_2021 Vertex Theme</vt:lpstr>
      <vt:lpstr>2_2021 Vertex Theme</vt:lpstr>
      <vt:lpstr>Accounting Summit - e-Invoicing and tax determination:  How the changed tax regulations affect the AP process    04 September 2025</vt:lpstr>
      <vt:lpstr>Agenda</vt:lpstr>
      <vt:lpstr>How different invoice formats impact VAT-reporting</vt:lpstr>
      <vt:lpstr>How poor data impact AP-Automation and VAT-reporting</vt:lpstr>
      <vt:lpstr>Ongoing &amp; upcoming changes – Wachstumschancengesetz &amp; ViDA</vt:lpstr>
      <vt:lpstr>Mandatory e-Invoicing and VAT-reporting  are on the rise in EU and beyond</vt:lpstr>
      <vt:lpstr>PowerPoint Presentation</vt:lpstr>
      <vt:lpstr>How can Vertex help?</vt:lpstr>
      <vt:lpstr>Integrated Compliance: e-Invoicing &amp; periodic reporting</vt:lpstr>
      <vt:lpstr>Automated tax code determination with Vertex </vt:lpstr>
      <vt:lpstr>PowerPoint Presentation</vt:lpstr>
      <vt:lpstr>What are the advantages for AP and Tax departments?</vt:lpstr>
      <vt:lpstr>Enterprise-wide impact of e-Invoicing requirements</vt:lpstr>
      <vt:lpstr>Your Vertex Team - Meet us at our booth H5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lian Pauli</dc:creator>
  <cp:revision>1</cp:revision>
  <dcterms:created xsi:type="dcterms:W3CDTF">2025-07-15T11:02:27Z</dcterms:created>
  <dcterms:modified xsi:type="dcterms:W3CDTF">2025-08-27T10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9668360654C84FBB5983465A32D974</vt:lpwstr>
  </property>
  <property fmtid="{D5CDD505-2E9C-101B-9397-08002B2CF9AE}" pid="3" name="MediaServiceImageTags">
    <vt:lpwstr/>
  </property>
</Properties>
</file>